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56" r:id="rId2"/>
    <p:sldMasterId id="2147484332" r:id="rId3"/>
  </p:sldMasterIdLst>
  <p:notesMasterIdLst>
    <p:notesMasterId r:id="rId13"/>
  </p:notesMasterIdLst>
  <p:handoutMasterIdLst>
    <p:handoutMasterId r:id="rId14"/>
  </p:handoutMasterIdLst>
  <p:sldIdLst>
    <p:sldId id="394" r:id="rId4"/>
    <p:sldId id="410" r:id="rId5"/>
    <p:sldId id="411" r:id="rId6"/>
    <p:sldId id="412" r:id="rId7"/>
    <p:sldId id="413" r:id="rId8"/>
    <p:sldId id="414" r:id="rId9"/>
    <p:sldId id="415" r:id="rId10"/>
    <p:sldId id="417" r:id="rId11"/>
    <p:sldId id="293" r:id="rId12"/>
  </p:sldIdLst>
  <p:sldSz cx="17068800" cy="9601200"/>
  <p:notesSz cx="6797675" cy="9926638"/>
  <p:defaultTextStyle>
    <a:defPPr>
      <a:defRPr lang="en-US"/>
    </a:defPPr>
    <a:lvl1pPr marL="0" algn="l" defTabSz="4572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енис А. Ковалев" initials="ДАК" lastIdx="1" clrIdx="0">
    <p:extLst>
      <p:ext uri="{19B8F6BF-5375-455C-9EA6-DF929625EA0E}">
        <p15:presenceInfo xmlns:p15="http://schemas.microsoft.com/office/powerpoint/2012/main" userId="S-1-5-21-3712582597-2276695691-1274382727-11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E8FF"/>
    <a:srgbClr val="7F7F7F"/>
    <a:srgbClr val="BFBFBF"/>
    <a:srgbClr val="FFFFC5"/>
    <a:srgbClr val="008000"/>
    <a:srgbClr val="FF8B8B"/>
    <a:srgbClr val="9DE7AB"/>
    <a:srgbClr val="FF7C80"/>
    <a:srgbClr val="873B71"/>
    <a:srgbClr val="236B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929F9F4-4A8F-4326-A1B4-22849713DDAB}" styleName="Темный стиль 1 -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145" autoAdjust="0"/>
    <p:restoredTop sz="96953" autoAdjust="0"/>
  </p:normalViewPr>
  <p:slideViewPr>
    <p:cSldViewPr>
      <p:cViewPr varScale="1">
        <p:scale>
          <a:sx n="62" d="100"/>
          <a:sy n="62" d="100"/>
        </p:scale>
        <p:origin x="324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99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072" cy="498008"/>
          </a:xfrm>
          <a:prstGeom prst="rect">
            <a:avLst/>
          </a:prstGeom>
        </p:spPr>
        <p:txBody>
          <a:bodyPr vert="horz" lIns="91997" tIns="45998" rIns="91997" bIns="4599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002" y="0"/>
            <a:ext cx="2945072" cy="498008"/>
          </a:xfrm>
          <a:prstGeom prst="rect">
            <a:avLst/>
          </a:prstGeom>
        </p:spPr>
        <p:txBody>
          <a:bodyPr vert="horz" lIns="91997" tIns="45998" rIns="91997" bIns="45998" rtlCol="0"/>
          <a:lstStyle>
            <a:lvl1pPr algn="r">
              <a:defRPr sz="1200"/>
            </a:lvl1pPr>
          </a:lstStyle>
          <a:p>
            <a:fld id="{A8B0B1DA-1DE6-4CA1-884F-3C088FF07386}" type="datetimeFigureOut">
              <a:rPr lang="ru-RU" smtClean="0"/>
              <a:pPr/>
              <a:t>08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631"/>
            <a:ext cx="2945072" cy="498008"/>
          </a:xfrm>
          <a:prstGeom prst="rect">
            <a:avLst/>
          </a:prstGeom>
        </p:spPr>
        <p:txBody>
          <a:bodyPr vert="horz" lIns="91997" tIns="45998" rIns="91997" bIns="4599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002" y="9428631"/>
            <a:ext cx="2945072" cy="498008"/>
          </a:xfrm>
          <a:prstGeom prst="rect">
            <a:avLst/>
          </a:prstGeom>
        </p:spPr>
        <p:txBody>
          <a:bodyPr vert="horz" lIns="91997" tIns="45998" rIns="91997" bIns="45998" rtlCol="0" anchor="b"/>
          <a:lstStyle>
            <a:lvl1pPr algn="r">
              <a:defRPr sz="1200"/>
            </a:lvl1pPr>
          </a:lstStyle>
          <a:p>
            <a:fld id="{7D67BB9E-65CD-4131-9A8F-DC9670CA34B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398064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1"/>
            <a:ext cx="2104042" cy="266816"/>
          </a:xfrm>
          <a:prstGeom prst="rect">
            <a:avLst/>
          </a:prstGeom>
        </p:spPr>
        <p:txBody>
          <a:bodyPr vert="horz" lIns="57302" tIns="28651" rIns="57302" bIns="28651" rtlCol="0" anchor="ctr"/>
          <a:lstStyle>
            <a:lvl1pPr algn="l">
              <a:defRPr sz="800"/>
            </a:lvl1pPr>
          </a:lstStyle>
          <a:p>
            <a:pPr>
              <a:defRPr/>
            </a:pPr>
            <a:endParaRPr/>
          </a:p>
        </p:txBody>
      </p:sp>
      <p:sp>
        <p:nvSpPr>
          <p:cNvPr id="5" name="Date Placeholder 2"/>
          <p:cNvSpPr>
            <a:spLocks noGrp="1"/>
          </p:cNvSpPr>
          <p:nvPr>
            <p:ph type="dt" idx="2"/>
          </p:nvPr>
        </p:nvSpPr>
        <p:spPr bwMode="auto">
          <a:xfrm>
            <a:off x="2750316" y="1"/>
            <a:ext cx="2104042" cy="266816"/>
          </a:xfrm>
          <a:prstGeom prst="rect">
            <a:avLst/>
          </a:prstGeom>
        </p:spPr>
        <p:txBody>
          <a:bodyPr vert="horz" lIns="57302" tIns="28651" rIns="57302" bIns="28651" rtlCol="0" anchor="ctr"/>
          <a:lstStyle>
            <a:lvl1pPr algn="r">
              <a:defRPr sz="800"/>
            </a:lvl1pPr>
          </a:lstStyle>
          <a:p>
            <a:pPr>
              <a:defRPr/>
            </a:pPr>
            <a:endParaRPr/>
          </a:p>
        </p:txBody>
      </p:sp>
      <p:sp>
        <p:nvSpPr>
          <p:cNvPr id="6" name="Date Placeholder 2"/>
          <p:cNvSpPr>
            <a:spLocks noGrp="1"/>
          </p:cNvSpPr>
          <p:nvPr>
            <p:ph type="dt" idx="3"/>
          </p:nvPr>
        </p:nvSpPr>
        <p:spPr bwMode="auto">
          <a:xfrm>
            <a:off x="2750316" y="1"/>
            <a:ext cx="2104042" cy="266816"/>
          </a:xfrm>
          <a:prstGeom prst="rect">
            <a:avLst/>
          </a:prstGeom>
        </p:spPr>
        <p:txBody>
          <a:bodyPr vert="horz" lIns="57302" tIns="28651" rIns="57302" bIns="28651" rtlCol="0" anchor="ctr"/>
          <a:lstStyle>
            <a:lvl1pPr algn="r">
              <a:defRPr sz="800"/>
            </a:lvl1pPr>
          </a:lstStyle>
          <a:p>
            <a:pPr>
              <a:defRPr/>
            </a:pPr>
            <a:endParaRPr/>
          </a:p>
        </p:txBody>
      </p:sp>
      <p:sp>
        <p:nvSpPr>
          <p:cNvPr id="7" name="Notes Placeholder 4"/>
          <p:cNvSpPr>
            <a:spLocks noGrp="1"/>
          </p:cNvSpPr>
          <p:nvPr>
            <p:ph type="body" sz="quarter" idx="1"/>
          </p:nvPr>
        </p:nvSpPr>
        <p:spPr bwMode="auto">
          <a:xfrm>
            <a:off x="1148194" y="5035723"/>
            <a:ext cx="3884386" cy="2093900"/>
          </a:xfrm>
          <a:prstGeom prst="rect">
            <a:avLst/>
          </a:prstGeom>
        </p:spPr>
        <p:txBody>
          <a:bodyPr vert="horz" lIns="57302" tIns="28651" rIns="57302" bIns="28651" rtlCol="0" anchor="ctr"/>
          <a:lstStyle/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6191177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5983287" cy="33670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AC8743-F540-46D8-8C39-21699F54C310}" type="slidenum">
              <a:rPr kumimoji="0" lang="ru-RU" sz="1400" b="0" i="0" u="none" strike="noStrike" kern="1200" cap="none" spc="-1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4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93653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31800" y="284163"/>
            <a:ext cx="5988050" cy="3368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439219" y="4027215"/>
            <a:ext cx="5980631" cy="295232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085089" y="9597029"/>
            <a:ext cx="2104042" cy="266815"/>
          </a:xfrm>
          <a:prstGeom prst="rect">
            <a:avLst/>
          </a:prstGeom>
        </p:spPr>
        <p:txBody>
          <a:bodyPr lIns="91997" tIns="45998" rIns="91997" bIns="45998"/>
          <a:lstStyle/>
          <a:p>
            <a:fld id="{9DBE7309-15B6-4C4E-BC7A-E3EC5604D3F6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9891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NUL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NUL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DA0FD9F-EC22-495A-A3DA-B7FBA520E3E9}" type="datetime1">
              <a:rPr lang="ru-RU" smtClean="0"/>
              <a:pPr>
                <a:defRPr/>
              </a:pPr>
              <a:t>08.09.2023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5231144" y="8944751"/>
            <a:ext cx="1650658" cy="511174"/>
          </a:xfrm>
        </p:spPr>
        <p:txBody>
          <a:bodyPr/>
          <a:lstStyle/>
          <a:p>
            <a:pPr>
              <a:defRPr/>
            </a:pPr>
            <a:fld id="{E7264718-516D-4284-812E-2FE0C1302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2941" y="475313"/>
            <a:ext cx="16202476" cy="101394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756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7090885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ic Layou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39047"/>
            <a:ext cx="17068800" cy="10753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720" b="0" baseline="0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MAGES &amp; CONTENT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414366"/>
            <a:ext cx="17068800" cy="53766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613" b="0" baseline="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864924" y="2784376"/>
            <a:ext cx="4753534" cy="57798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240" baseline="0">
                <a:latin typeface="+mn-lt"/>
                <a:cs typeface="Arial" pitchFamily="34" charset="0"/>
              </a:defRPr>
            </a:lvl1pPr>
            <a:lvl2pPr marL="853455" indent="0">
              <a:buNone/>
              <a:defRPr sz="5227"/>
            </a:lvl2pPr>
            <a:lvl3pPr marL="1706910" indent="0">
              <a:buNone/>
              <a:defRPr sz="4480"/>
            </a:lvl3pPr>
            <a:lvl4pPr marL="2560366" indent="0">
              <a:buNone/>
              <a:defRPr sz="3733"/>
            </a:lvl4pPr>
            <a:lvl5pPr marL="3413821" indent="0">
              <a:buNone/>
              <a:defRPr sz="3733"/>
            </a:lvl5pPr>
            <a:lvl6pPr marL="4267276" indent="0">
              <a:buNone/>
              <a:defRPr sz="3733"/>
            </a:lvl6pPr>
            <a:lvl7pPr marL="5120731" indent="0">
              <a:buNone/>
              <a:defRPr sz="3733"/>
            </a:lvl7pPr>
            <a:lvl8pPr marL="5974187" indent="0">
              <a:buNone/>
              <a:defRPr sz="3733"/>
            </a:lvl8pPr>
            <a:lvl9pPr marL="6827642" indent="0">
              <a:buNone/>
              <a:defRPr sz="3733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156117" y="2784376"/>
            <a:ext cx="4753534" cy="57798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240" baseline="0">
                <a:latin typeface="+mn-lt"/>
                <a:cs typeface="Arial" pitchFamily="34" charset="0"/>
              </a:defRPr>
            </a:lvl1pPr>
            <a:lvl2pPr marL="853455" indent="0">
              <a:buNone/>
              <a:defRPr sz="5227"/>
            </a:lvl2pPr>
            <a:lvl3pPr marL="1706910" indent="0">
              <a:buNone/>
              <a:defRPr sz="4480"/>
            </a:lvl3pPr>
            <a:lvl4pPr marL="2560366" indent="0">
              <a:buNone/>
              <a:defRPr sz="3733"/>
            </a:lvl4pPr>
            <a:lvl5pPr marL="3413821" indent="0">
              <a:buNone/>
              <a:defRPr sz="3733"/>
            </a:lvl5pPr>
            <a:lvl6pPr marL="4267276" indent="0">
              <a:buNone/>
              <a:defRPr sz="3733"/>
            </a:lvl6pPr>
            <a:lvl7pPr marL="5120731" indent="0">
              <a:buNone/>
              <a:defRPr sz="3733"/>
            </a:lvl7pPr>
            <a:lvl8pPr marL="5974187" indent="0">
              <a:buNone/>
              <a:defRPr sz="3733"/>
            </a:lvl8pPr>
            <a:lvl9pPr marL="6827642" indent="0">
              <a:buNone/>
              <a:defRPr sz="3733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11447311" y="2784376"/>
            <a:ext cx="4753534" cy="57798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240" baseline="0">
                <a:latin typeface="+mn-lt"/>
                <a:cs typeface="Arial" pitchFamily="34" charset="0"/>
              </a:defRPr>
            </a:lvl1pPr>
            <a:lvl2pPr marL="853455" indent="0">
              <a:buNone/>
              <a:defRPr sz="5227"/>
            </a:lvl2pPr>
            <a:lvl3pPr marL="1706910" indent="0">
              <a:buNone/>
              <a:defRPr sz="4480"/>
            </a:lvl3pPr>
            <a:lvl4pPr marL="2560366" indent="0">
              <a:buNone/>
              <a:defRPr sz="3733"/>
            </a:lvl4pPr>
            <a:lvl5pPr marL="3413821" indent="0">
              <a:buNone/>
              <a:defRPr sz="3733"/>
            </a:lvl5pPr>
            <a:lvl6pPr marL="4267276" indent="0">
              <a:buNone/>
              <a:defRPr sz="3733"/>
            </a:lvl6pPr>
            <a:lvl7pPr marL="5120731" indent="0">
              <a:buNone/>
              <a:defRPr sz="3733"/>
            </a:lvl7pPr>
            <a:lvl8pPr marL="5974187" indent="0">
              <a:buNone/>
              <a:defRPr sz="3733"/>
            </a:lvl8pPr>
            <a:lvl9pPr marL="6827642" indent="0">
              <a:buNone/>
              <a:defRPr sz="3733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037148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sic Layou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 flipH="1">
            <a:off x="0" y="0"/>
            <a:ext cx="17068800" cy="9601200"/>
          </a:xfrm>
          <a:custGeom>
            <a:avLst/>
            <a:gdLst/>
            <a:ahLst/>
            <a:cxnLst/>
            <a:rect l="l" t="t" r="r" b="b"/>
            <a:pathLst>
              <a:path w="9153539" h="5143500">
                <a:moveTo>
                  <a:pt x="8820472" y="267494"/>
                </a:moveTo>
                <a:lnTo>
                  <a:pt x="8820472" y="4948014"/>
                </a:lnTo>
                <a:lnTo>
                  <a:pt x="5553076" y="4948014"/>
                </a:lnTo>
                <a:lnTo>
                  <a:pt x="5553076" y="267494"/>
                </a:lnTo>
                <a:close/>
                <a:moveTo>
                  <a:pt x="9153539" y="0"/>
                </a:moveTo>
                <a:lnTo>
                  <a:pt x="0" y="0"/>
                </a:lnTo>
                <a:lnTo>
                  <a:pt x="0" y="5143500"/>
                </a:lnTo>
                <a:lnTo>
                  <a:pt x="9153539" y="5143500"/>
                </a:lnTo>
                <a:close/>
              </a:path>
            </a:pathLst>
          </a:cu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3360"/>
          </a:p>
        </p:txBody>
      </p:sp>
      <p:sp>
        <p:nvSpPr>
          <p:cNvPr id="9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7392821" y="499322"/>
            <a:ext cx="6149009" cy="28227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24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853455" indent="0">
              <a:buNone/>
              <a:defRPr sz="5227"/>
            </a:lvl2pPr>
            <a:lvl3pPr marL="1706910" indent="0">
              <a:buNone/>
              <a:defRPr sz="4480"/>
            </a:lvl3pPr>
            <a:lvl4pPr marL="2560366" indent="0">
              <a:buNone/>
              <a:defRPr sz="3733"/>
            </a:lvl4pPr>
            <a:lvl5pPr marL="3413821" indent="0">
              <a:buNone/>
              <a:defRPr sz="3733"/>
            </a:lvl5pPr>
            <a:lvl6pPr marL="4267276" indent="0">
              <a:buNone/>
              <a:defRPr sz="3733"/>
            </a:lvl6pPr>
            <a:lvl7pPr marL="5120731" indent="0">
              <a:buNone/>
              <a:defRPr sz="3733"/>
            </a:lvl7pPr>
            <a:lvl8pPr marL="5974187" indent="0">
              <a:buNone/>
              <a:defRPr sz="3733"/>
            </a:lvl8pPr>
            <a:lvl9pPr marL="6827642" indent="0">
              <a:buNone/>
              <a:defRPr sz="3733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13642481" y="3456450"/>
            <a:ext cx="2822400" cy="28227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24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853455" indent="0">
              <a:buNone/>
              <a:defRPr sz="5227"/>
            </a:lvl2pPr>
            <a:lvl3pPr marL="1706910" indent="0">
              <a:buNone/>
              <a:defRPr sz="4480"/>
            </a:lvl3pPr>
            <a:lvl4pPr marL="2560366" indent="0">
              <a:buNone/>
              <a:defRPr sz="3733"/>
            </a:lvl4pPr>
            <a:lvl5pPr marL="3413821" indent="0">
              <a:buNone/>
              <a:defRPr sz="3733"/>
            </a:lvl5pPr>
            <a:lvl6pPr marL="4267276" indent="0">
              <a:buNone/>
              <a:defRPr sz="3733"/>
            </a:lvl6pPr>
            <a:lvl7pPr marL="5120731" indent="0">
              <a:buNone/>
              <a:defRPr sz="3733"/>
            </a:lvl7pPr>
            <a:lvl8pPr marL="5974187" indent="0">
              <a:buNone/>
              <a:defRPr sz="3733"/>
            </a:lvl8pPr>
            <a:lvl9pPr marL="6827642" indent="0">
              <a:buNone/>
              <a:defRPr sz="3733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10719430" y="6413579"/>
            <a:ext cx="5745451" cy="28227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24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853455" indent="0">
              <a:buNone/>
              <a:defRPr sz="5227"/>
            </a:lvl2pPr>
            <a:lvl3pPr marL="1706910" indent="0">
              <a:buNone/>
              <a:defRPr sz="4480"/>
            </a:lvl3pPr>
            <a:lvl4pPr marL="2560366" indent="0">
              <a:buNone/>
              <a:defRPr sz="3733"/>
            </a:lvl4pPr>
            <a:lvl5pPr marL="3413821" indent="0">
              <a:buNone/>
              <a:defRPr sz="3733"/>
            </a:lvl5pPr>
            <a:lvl6pPr marL="4267276" indent="0">
              <a:buNone/>
              <a:defRPr sz="3733"/>
            </a:lvl6pPr>
            <a:lvl7pPr marL="5120731" indent="0">
              <a:buNone/>
              <a:defRPr sz="3733"/>
            </a:lvl7pPr>
            <a:lvl8pPr marL="5974187" indent="0">
              <a:buNone/>
              <a:defRPr sz="3733"/>
            </a:lvl8pPr>
            <a:lvl9pPr marL="6827642" indent="0">
              <a:buNone/>
              <a:defRPr sz="3733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7392822" y="3456451"/>
            <a:ext cx="3225958" cy="57798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24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853455" indent="0">
              <a:buNone/>
              <a:defRPr sz="5227"/>
            </a:lvl2pPr>
            <a:lvl3pPr marL="1706910" indent="0">
              <a:buNone/>
              <a:defRPr sz="4480"/>
            </a:lvl3pPr>
            <a:lvl4pPr marL="2560366" indent="0">
              <a:buNone/>
              <a:defRPr sz="3733"/>
            </a:lvl4pPr>
            <a:lvl5pPr marL="3413821" indent="0">
              <a:buNone/>
              <a:defRPr sz="3733"/>
            </a:lvl5pPr>
            <a:lvl6pPr marL="4267276" indent="0">
              <a:buNone/>
              <a:defRPr sz="3733"/>
            </a:lvl6pPr>
            <a:lvl7pPr marL="5120731" indent="0">
              <a:buNone/>
              <a:defRPr sz="3733"/>
            </a:lvl7pPr>
            <a:lvl8pPr marL="5974187" indent="0">
              <a:buNone/>
              <a:defRPr sz="3733"/>
            </a:lvl8pPr>
            <a:lvl9pPr marL="6827642" indent="0">
              <a:buNone/>
              <a:defRPr sz="3733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10719430" y="3455385"/>
            <a:ext cx="2822400" cy="28227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24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853455" indent="0">
              <a:buNone/>
              <a:defRPr sz="5227"/>
            </a:lvl2pPr>
            <a:lvl3pPr marL="1706910" indent="0">
              <a:buNone/>
              <a:defRPr sz="4480"/>
            </a:lvl3pPr>
            <a:lvl4pPr marL="2560366" indent="0">
              <a:buNone/>
              <a:defRPr sz="3733"/>
            </a:lvl4pPr>
            <a:lvl5pPr marL="3413821" indent="0">
              <a:buNone/>
              <a:defRPr sz="3733"/>
            </a:lvl5pPr>
            <a:lvl6pPr marL="4267276" indent="0">
              <a:buNone/>
              <a:defRPr sz="3733"/>
            </a:lvl6pPr>
            <a:lvl7pPr marL="5120731" indent="0">
              <a:buNone/>
              <a:defRPr sz="3733"/>
            </a:lvl7pPr>
            <a:lvl8pPr marL="5974187" indent="0">
              <a:buNone/>
              <a:defRPr sz="3733"/>
            </a:lvl8pPr>
            <a:lvl9pPr marL="6827642" indent="0">
              <a:buNone/>
              <a:defRPr sz="3733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idx="18" hasCustomPrompt="1"/>
          </p:nvPr>
        </p:nvSpPr>
        <p:spPr>
          <a:xfrm>
            <a:off x="13642481" y="499322"/>
            <a:ext cx="2822400" cy="28227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24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853455" indent="0">
              <a:buNone/>
              <a:defRPr sz="5227"/>
            </a:lvl2pPr>
            <a:lvl3pPr marL="1706910" indent="0">
              <a:buNone/>
              <a:defRPr sz="4480"/>
            </a:lvl3pPr>
            <a:lvl4pPr marL="2560366" indent="0">
              <a:buNone/>
              <a:defRPr sz="3733"/>
            </a:lvl4pPr>
            <a:lvl5pPr marL="3413821" indent="0">
              <a:buNone/>
              <a:defRPr sz="3733"/>
            </a:lvl5pPr>
            <a:lvl6pPr marL="4267276" indent="0">
              <a:buNone/>
              <a:defRPr sz="3733"/>
            </a:lvl6pPr>
            <a:lvl7pPr marL="5120731" indent="0">
              <a:buNone/>
              <a:defRPr sz="3733"/>
            </a:lvl7pPr>
            <a:lvl8pPr marL="5974187" indent="0">
              <a:buNone/>
              <a:defRPr sz="3733"/>
            </a:lvl8pPr>
            <a:lvl9pPr marL="6827642" indent="0">
              <a:buNone/>
              <a:defRPr sz="3733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49718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360" b="0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F69DA470-DBEB-4C2C-8D03-C961A912FB4F}" type="datetime1">
              <a:rPr lang="ru-RU" smtClean="0"/>
              <a:pPr/>
              <a:t>08.09.2023</a:t>
            </a:fld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3281662" y="5491492"/>
            <a:ext cx="7187565" cy="1357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840"/>
              </a:spcAft>
            </a:pPr>
            <a:r>
              <a:rPr lang="en-US" sz="98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82000" y="871921"/>
            <a:ext cx="15306690" cy="46535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797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Layou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30493"/>
            <a:ext cx="17068800" cy="107531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672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305812"/>
            <a:ext cx="17068800" cy="53766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613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211866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6F186C2C-37F7-435D-B39A-1F0D3A9843DC}" type="datetime1">
              <a:rPr lang="ru-RU" smtClean="0"/>
              <a:pPr>
                <a:defRPr/>
              </a:pPr>
              <a:t>08.09.2023</a:t>
            </a:fld>
            <a:endParaRPr lang="en-US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5231144" y="8944751"/>
            <a:ext cx="1650658" cy="511174"/>
          </a:xfrm>
        </p:spPr>
        <p:txBody>
          <a:bodyPr/>
          <a:lstStyle/>
          <a:p>
            <a:pPr>
              <a:defRPr/>
            </a:pPr>
            <a:fld id="{E7264718-516D-4284-812E-2FE0C1302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649807" y="1123490"/>
            <a:ext cx="7312435" cy="7742246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0605" y="137017"/>
            <a:ext cx="12324275" cy="781566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 bwMode="auto">
          <a:xfrm flipH="1">
            <a:off x="552189" y="1044474"/>
            <a:ext cx="151200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1224" y="109643"/>
            <a:ext cx="930578" cy="1106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2159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Заголовок и объект" userDrawn="1">
  <p:cSld name="3_Заголовок и объект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6EA40BF-0B42-4950-9DE8-7D13D067AB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15"/>
          <p:cNvSpPr txBox="1">
            <a:spLocks noGrp="1"/>
          </p:cNvSpPr>
          <p:nvPr>
            <p:ph type="title"/>
          </p:nvPr>
        </p:nvSpPr>
        <p:spPr>
          <a:xfrm>
            <a:off x="267128" y="68774"/>
            <a:ext cx="14029191" cy="110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425" tIns="60700" rIns="121425" bIns="60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B5B5B"/>
              </a:buClr>
              <a:buSzPts val="2700"/>
              <a:buFont typeface="Helvetica Neue"/>
              <a:buNone/>
              <a:defRPr sz="2700" b="1">
                <a:solidFill>
                  <a:srgbClr val="5B5B5B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73" name="Google Shape;73;p15"/>
          <p:cNvSpPr txBox="1">
            <a:spLocks noGrp="1"/>
          </p:cNvSpPr>
          <p:nvPr>
            <p:ph type="dt" idx="10"/>
          </p:nvPr>
        </p:nvSpPr>
        <p:spPr>
          <a:xfrm>
            <a:off x="1173481" y="8982645"/>
            <a:ext cx="3840400" cy="5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425" tIns="60700" rIns="121425" bIns="60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fld id="{D01BD733-8E65-46A1-91B3-E3AAB902224C}" type="datetime1">
              <a:rPr kumimoji="0" lang="ru-RU" sz="16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t>08.09.2023</a:t>
            </a:fld>
            <a:endParaRPr kumimoji="0" lang="en-GB" sz="16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ova"/>
              <a:ea typeface="+mn-ea"/>
              <a:cs typeface="+mn-cs"/>
            </a:endParaRPr>
          </a:p>
        </p:txBody>
      </p:sp>
      <p:sp>
        <p:nvSpPr>
          <p:cNvPr id="74" name="Google Shape;74;p15"/>
          <p:cNvSpPr txBox="1">
            <a:spLocks noGrp="1"/>
          </p:cNvSpPr>
          <p:nvPr>
            <p:ph type="ftr" idx="11"/>
          </p:nvPr>
        </p:nvSpPr>
        <p:spPr>
          <a:xfrm>
            <a:off x="5654043" y="8982645"/>
            <a:ext cx="5760800" cy="5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425" tIns="60700" rIns="121425" bIns="60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en-GB" sz="16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ova"/>
              <a:ea typeface="+mn-ea"/>
              <a:cs typeface="+mn-cs"/>
            </a:endParaRPr>
          </a:p>
        </p:txBody>
      </p:sp>
      <p:cxnSp>
        <p:nvCxnSpPr>
          <p:cNvPr id="76" name="Google Shape;76;p15"/>
          <p:cNvCxnSpPr/>
          <p:nvPr/>
        </p:nvCxnSpPr>
        <p:spPr>
          <a:xfrm flipH="1" flipV="1">
            <a:off x="397496" y="1175474"/>
            <a:ext cx="16354776" cy="0"/>
          </a:xfrm>
          <a:prstGeom prst="straightConnector1">
            <a:avLst/>
          </a:prstGeom>
          <a:noFill/>
          <a:ln w="9525" cap="flat" cmpd="sng">
            <a:solidFill>
              <a:srgbClr val="83005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8304" y="79522"/>
            <a:ext cx="882000" cy="1048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Google Shape;75;p15"/>
          <p:cNvSpPr txBox="1">
            <a:spLocks noGrp="1"/>
          </p:cNvSpPr>
          <p:nvPr>
            <p:ph type="sldNum" idx="12"/>
          </p:nvPr>
        </p:nvSpPr>
        <p:spPr>
          <a:xfrm>
            <a:off x="16527287" y="9175341"/>
            <a:ext cx="533823" cy="398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425" tIns="60700" rIns="121425" bIns="60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68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8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ov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79403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6136B76-E255-4CC1-84B3-DB7279227A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5553" y="0"/>
            <a:ext cx="14410806" cy="96012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76D887F-C9AB-426A-A5C8-33A941A4AF67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1"/>
            <a:ext cx="13433664" cy="9601200"/>
          </a:xfrm>
          <a:custGeom>
            <a:avLst/>
            <a:gdLst>
              <a:gd name="connsiteX0" fmla="*/ 3290660 w 9595474"/>
              <a:gd name="connsiteY0" fmla="*/ 372828 h 6858001"/>
              <a:gd name="connsiteX1" fmla="*/ 4164742 w 9595474"/>
              <a:gd name="connsiteY1" fmla="*/ 1238610 h 6858001"/>
              <a:gd name="connsiteX2" fmla="*/ 4160187 w 9595474"/>
              <a:gd name="connsiteY2" fmla="*/ 1235076 h 6858001"/>
              <a:gd name="connsiteX3" fmla="*/ 4155162 w 9595474"/>
              <a:gd name="connsiteY3" fmla="*/ 1229996 h 6858001"/>
              <a:gd name="connsiteX4" fmla="*/ 3525497 w 9595474"/>
              <a:gd name="connsiteY4" fmla="*/ 0 h 6858001"/>
              <a:gd name="connsiteX5" fmla="*/ 2914258 w 9595474"/>
              <a:gd name="connsiteY5" fmla="*/ 0 h 6858001"/>
              <a:gd name="connsiteX6" fmla="*/ 2914259 w 9595474"/>
              <a:gd name="connsiteY6" fmla="*/ 1 h 6858001"/>
              <a:gd name="connsiteX7" fmla="*/ 0 w 9595474"/>
              <a:gd name="connsiteY7" fmla="*/ 1 h 6858001"/>
              <a:gd name="connsiteX8" fmla="*/ 692823 w 9595474"/>
              <a:gd name="connsiteY8" fmla="*/ 691199 h 6858001"/>
              <a:gd name="connsiteX9" fmla="*/ 691345 w 9595474"/>
              <a:gd name="connsiteY9" fmla="*/ 683896 h 6858001"/>
              <a:gd name="connsiteX10" fmla="*/ 690754 w 9595474"/>
              <a:gd name="connsiteY10" fmla="*/ 676276 h 6858001"/>
              <a:gd name="connsiteX11" fmla="*/ 690754 w 9595474"/>
              <a:gd name="connsiteY11" fmla="*/ 669291 h 6858001"/>
              <a:gd name="connsiteX12" fmla="*/ 690754 w 9595474"/>
              <a:gd name="connsiteY12" fmla="*/ 661989 h 6858001"/>
              <a:gd name="connsiteX13" fmla="*/ 691345 w 9595474"/>
              <a:gd name="connsiteY13" fmla="*/ 654369 h 6858001"/>
              <a:gd name="connsiteX14" fmla="*/ 692527 w 9595474"/>
              <a:gd name="connsiteY14" fmla="*/ 647384 h 6858001"/>
              <a:gd name="connsiteX15" fmla="*/ 694005 w 9595474"/>
              <a:gd name="connsiteY15" fmla="*/ 640081 h 6858001"/>
              <a:gd name="connsiteX16" fmla="*/ 695778 w 9595474"/>
              <a:gd name="connsiteY16" fmla="*/ 633096 h 6858001"/>
              <a:gd name="connsiteX17" fmla="*/ 698143 w 9595474"/>
              <a:gd name="connsiteY17" fmla="*/ 625794 h 6858001"/>
              <a:gd name="connsiteX18" fmla="*/ 700803 w 9595474"/>
              <a:gd name="connsiteY18" fmla="*/ 618809 h 6858001"/>
              <a:gd name="connsiteX19" fmla="*/ 704054 w 9595474"/>
              <a:gd name="connsiteY19" fmla="*/ 612141 h 6858001"/>
              <a:gd name="connsiteX20" fmla="*/ 707601 w 9595474"/>
              <a:gd name="connsiteY20" fmla="*/ 605791 h 6858001"/>
              <a:gd name="connsiteX21" fmla="*/ 712035 w 9595474"/>
              <a:gd name="connsiteY21" fmla="*/ 599124 h 6858001"/>
              <a:gd name="connsiteX22" fmla="*/ 716173 w 9595474"/>
              <a:gd name="connsiteY22" fmla="*/ 592774 h 6858001"/>
              <a:gd name="connsiteX23" fmla="*/ 721198 w 9595474"/>
              <a:gd name="connsiteY23" fmla="*/ 587059 h 6858001"/>
              <a:gd name="connsiteX24" fmla="*/ 726518 w 9595474"/>
              <a:gd name="connsiteY24" fmla="*/ 581344 h 6858001"/>
              <a:gd name="connsiteX25" fmla="*/ 731247 w 9595474"/>
              <a:gd name="connsiteY25" fmla="*/ 576899 h 6858001"/>
              <a:gd name="connsiteX26" fmla="*/ 735976 w 9595474"/>
              <a:gd name="connsiteY26" fmla="*/ 572454 h 6858001"/>
              <a:gd name="connsiteX27" fmla="*/ 741001 w 9595474"/>
              <a:gd name="connsiteY27" fmla="*/ 568961 h 6858001"/>
              <a:gd name="connsiteX28" fmla="*/ 746026 w 9595474"/>
              <a:gd name="connsiteY28" fmla="*/ 565469 h 6858001"/>
              <a:gd name="connsiteX29" fmla="*/ 751050 w 9595474"/>
              <a:gd name="connsiteY29" fmla="*/ 562294 h 6858001"/>
              <a:gd name="connsiteX30" fmla="*/ 756371 w 9595474"/>
              <a:gd name="connsiteY30" fmla="*/ 558801 h 6858001"/>
              <a:gd name="connsiteX31" fmla="*/ 761691 w 9595474"/>
              <a:gd name="connsiteY31" fmla="*/ 556579 h 6858001"/>
              <a:gd name="connsiteX32" fmla="*/ 767602 w 9595474"/>
              <a:gd name="connsiteY32" fmla="*/ 554039 h 6858001"/>
              <a:gd name="connsiteX33" fmla="*/ 772923 w 9595474"/>
              <a:gd name="connsiteY33" fmla="*/ 551816 h 6858001"/>
              <a:gd name="connsiteX34" fmla="*/ 778834 w 9595474"/>
              <a:gd name="connsiteY34" fmla="*/ 549911 h 6858001"/>
              <a:gd name="connsiteX35" fmla="*/ 784450 w 9595474"/>
              <a:gd name="connsiteY35" fmla="*/ 548641 h 6858001"/>
              <a:gd name="connsiteX36" fmla="*/ 790066 w 9595474"/>
              <a:gd name="connsiteY36" fmla="*/ 547371 h 6858001"/>
              <a:gd name="connsiteX37" fmla="*/ 795977 w 9595474"/>
              <a:gd name="connsiteY37" fmla="*/ 546419 h 6858001"/>
              <a:gd name="connsiteX38" fmla="*/ 802184 w 9595474"/>
              <a:gd name="connsiteY38" fmla="*/ 545784 h 6858001"/>
              <a:gd name="connsiteX39" fmla="*/ 807800 w 9595474"/>
              <a:gd name="connsiteY39" fmla="*/ 545466 h 6858001"/>
              <a:gd name="connsiteX40" fmla="*/ 814007 w 9595474"/>
              <a:gd name="connsiteY40" fmla="*/ 544831 h 6858001"/>
              <a:gd name="connsiteX41" fmla="*/ 819623 w 9595474"/>
              <a:gd name="connsiteY41" fmla="*/ 545466 h 6858001"/>
              <a:gd name="connsiteX42" fmla="*/ 825830 w 9595474"/>
              <a:gd name="connsiteY42" fmla="*/ 545784 h 6858001"/>
              <a:gd name="connsiteX43" fmla="*/ 831446 w 9595474"/>
              <a:gd name="connsiteY43" fmla="*/ 546419 h 6858001"/>
              <a:gd name="connsiteX44" fmla="*/ 837358 w 9595474"/>
              <a:gd name="connsiteY44" fmla="*/ 547371 h 6858001"/>
              <a:gd name="connsiteX45" fmla="*/ 842974 w 9595474"/>
              <a:gd name="connsiteY45" fmla="*/ 548641 h 6858001"/>
              <a:gd name="connsiteX46" fmla="*/ 848885 w 9595474"/>
              <a:gd name="connsiteY46" fmla="*/ 549911 h 6858001"/>
              <a:gd name="connsiteX47" fmla="*/ 854501 w 9595474"/>
              <a:gd name="connsiteY47" fmla="*/ 551816 h 6858001"/>
              <a:gd name="connsiteX48" fmla="*/ 860117 w 9595474"/>
              <a:gd name="connsiteY48" fmla="*/ 554039 h 6858001"/>
              <a:gd name="connsiteX49" fmla="*/ 865733 w 9595474"/>
              <a:gd name="connsiteY49" fmla="*/ 556579 h 6858001"/>
              <a:gd name="connsiteX50" fmla="*/ 871053 w 9595474"/>
              <a:gd name="connsiteY50" fmla="*/ 558801 h 6858001"/>
              <a:gd name="connsiteX51" fmla="*/ 876373 w 9595474"/>
              <a:gd name="connsiteY51" fmla="*/ 562294 h 6858001"/>
              <a:gd name="connsiteX52" fmla="*/ 881398 w 9595474"/>
              <a:gd name="connsiteY52" fmla="*/ 565469 h 6858001"/>
              <a:gd name="connsiteX53" fmla="*/ 886718 w 9595474"/>
              <a:gd name="connsiteY53" fmla="*/ 568961 h 6858001"/>
              <a:gd name="connsiteX54" fmla="*/ 891447 w 9595474"/>
              <a:gd name="connsiteY54" fmla="*/ 572454 h 6858001"/>
              <a:gd name="connsiteX55" fmla="*/ 896177 w 9595474"/>
              <a:gd name="connsiteY55" fmla="*/ 576899 h 6858001"/>
              <a:gd name="connsiteX56" fmla="*/ 900906 w 9595474"/>
              <a:gd name="connsiteY56" fmla="*/ 581344 h 6858001"/>
              <a:gd name="connsiteX57" fmla="*/ 1431459 w 9595474"/>
              <a:gd name="connsiteY57" fmla="*/ 1111569 h 6858001"/>
              <a:gd name="connsiteX58" fmla="*/ 2394731 w 9595474"/>
              <a:gd name="connsiteY58" fmla="*/ 2074864 h 6858001"/>
              <a:gd name="connsiteX59" fmla="*/ 2399164 w 9595474"/>
              <a:gd name="connsiteY59" fmla="*/ 2079309 h 6858001"/>
              <a:gd name="connsiteX60" fmla="*/ 2404189 w 9595474"/>
              <a:gd name="connsiteY60" fmla="*/ 2083436 h 6858001"/>
              <a:gd name="connsiteX61" fmla="*/ 2408918 w 9595474"/>
              <a:gd name="connsiteY61" fmla="*/ 2087246 h 6858001"/>
              <a:gd name="connsiteX62" fmla="*/ 2413943 w 9595474"/>
              <a:gd name="connsiteY62" fmla="*/ 2090739 h 6858001"/>
              <a:gd name="connsiteX63" fmla="*/ 2419263 w 9595474"/>
              <a:gd name="connsiteY63" fmla="*/ 2093914 h 6858001"/>
              <a:gd name="connsiteX64" fmla="*/ 2424583 w 9595474"/>
              <a:gd name="connsiteY64" fmla="*/ 2096771 h 6858001"/>
              <a:gd name="connsiteX65" fmla="*/ 2430199 w 9595474"/>
              <a:gd name="connsiteY65" fmla="*/ 2099629 h 6858001"/>
              <a:gd name="connsiteX66" fmla="*/ 2435520 w 9595474"/>
              <a:gd name="connsiteY66" fmla="*/ 2101851 h 6858001"/>
              <a:gd name="connsiteX67" fmla="*/ 2441136 w 9595474"/>
              <a:gd name="connsiteY67" fmla="*/ 2104074 h 6858001"/>
              <a:gd name="connsiteX68" fmla="*/ 2447047 w 9595474"/>
              <a:gd name="connsiteY68" fmla="*/ 2105661 h 6858001"/>
              <a:gd name="connsiteX69" fmla="*/ 2452663 w 9595474"/>
              <a:gd name="connsiteY69" fmla="*/ 2107566 h 6858001"/>
              <a:gd name="connsiteX70" fmla="*/ 2458574 w 9595474"/>
              <a:gd name="connsiteY70" fmla="*/ 2108519 h 6858001"/>
              <a:gd name="connsiteX71" fmla="*/ 2464190 w 9595474"/>
              <a:gd name="connsiteY71" fmla="*/ 2109789 h 6858001"/>
              <a:gd name="connsiteX72" fmla="*/ 2469806 w 9595474"/>
              <a:gd name="connsiteY72" fmla="*/ 2110424 h 6858001"/>
              <a:gd name="connsiteX73" fmla="*/ 2476013 w 9595474"/>
              <a:gd name="connsiteY73" fmla="*/ 2110741 h 6858001"/>
              <a:gd name="connsiteX74" fmla="*/ 2481925 w 9595474"/>
              <a:gd name="connsiteY74" fmla="*/ 2111059 h 6858001"/>
              <a:gd name="connsiteX75" fmla="*/ 2487836 w 9595474"/>
              <a:gd name="connsiteY75" fmla="*/ 2110741 h 6858001"/>
              <a:gd name="connsiteX76" fmla="*/ 2493747 w 9595474"/>
              <a:gd name="connsiteY76" fmla="*/ 2110424 h 6858001"/>
              <a:gd name="connsiteX77" fmla="*/ 2499363 w 9595474"/>
              <a:gd name="connsiteY77" fmla="*/ 2109789 h 6858001"/>
              <a:gd name="connsiteX78" fmla="*/ 2505570 w 9595474"/>
              <a:gd name="connsiteY78" fmla="*/ 2108519 h 6858001"/>
              <a:gd name="connsiteX79" fmla="*/ 2511186 w 9595474"/>
              <a:gd name="connsiteY79" fmla="*/ 2107566 h 6858001"/>
              <a:gd name="connsiteX80" fmla="*/ 2517098 w 9595474"/>
              <a:gd name="connsiteY80" fmla="*/ 2105661 h 6858001"/>
              <a:gd name="connsiteX81" fmla="*/ 2522714 w 9595474"/>
              <a:gd name="connsiteY81" fmla="*/ 2104074 h 6858001"/>
              <a:gd name="connsiteX82" fmla="*/ 2528034 w 9595474"/>
              <a:gd name="connsiteY82" fmla="*/ 2101851 h 6858001"/>
              <a:gd name="connsiteX83" fmla="*/ 2533945 w 9595474"/>
              <a:gd name="connsiteY83" fmla="*/ 2099629 h 6858001"/>
              <a:gd name="connsiteX84" fmla="*/ 2539266 w 9595474"/>
              <a:gd name="connsiteY84" fmla="*/ 2096771 h 6858001"/>
              <a:gd name="connsiteX85" fmla="*/ 2544290 w 9595474"/>
              <a:gd name="connsiteY85" fmla="*/ 2093914 h 6858001"/>
              <a:gd name="connsiteX86" fmla="*/ 2549611 w 9595474"/>
              <a:gd name="connsiteY86" fmla="*/ 2090739 h 6858001"/>
              <a:gd name="connsiteX87" fmla="*/ 2554635 w 9595474"/>
              <a:gd name="connsiteY87" fmla="*/ 2087246 h 6858001"/>
              <a:gd name="connsiteX88" fmla="*/ 2559660 w 9595474"/>
              <a:gd name="connsiteY88" fmla="*/ 2083436 h 6858001"/>
              <a:gd name="connsiteX89" fmla="*/ 2564389 w 9595474"/>
              <a:gd name="connsiteY89" fmla="*/ 2079309 h 6858001"/>
              <a:gd name="connsiteX90" fmla="*/ 2569119 w 9595474"/>
              <a:gd name="connsiteY90" fmla="*/ 2074864 h 6858001"/>
              <a:gd name="connsiteX91" fmla="*/ 2573257 w 9595474"/>
              <a:gd name="connsiteY91" fmla="*/ 2070101 h 6858001"/>
              <a:gd name="connsiteX92" fmla="*/ 2577395 w 9595474"/>
              <a:gd name="connsiteY92" fmla="*/ 2065656 h 6858001"/>
              <a:gd name="connsiteX93" fmla="*/ 2581237 w 9595474"/>
              <a:gd name="connsiteY93" fmla="*/ 2060576 h 6858001"/>
              <a:gd name="connsiteX94" fmla="*/ 2584784 w 9595474"/>
              <a:gd name="connsiteY94" fmla="*/ 2055496 h 6858001"/>
              <a:gd name="connsiteX95" fmla="*/ 2588035 w 9595474"/>
              <a:gd name="connsiteY95" fmla="*/ 2050416 h 6858001"/>
              <a:gd name="connsiteX96" fmla="*/ 2590991 w 9595474"/>
              <a:gd name="connsiteY96" fmla="*/ 2045019 h 6858001"/>
              <a:gd name="connsiteX97" fmla="*/ 2593651 w 9595474"/>
              <a:gd name="connsiteY97" fmla="*/ 2039621 h 6858001"/>
              <a:gd name="connsiteX98" fmla="*/ 2596016 w 9595474"/>
              <a:gd name="connsiteY98" fmla="*/ 2034224 h 6858001"/>
              <a:gd name="connsiteX99" fmla="*/ 2598085 w 9595474"/>
              <a:gd name="connsiteY99" fmla="*/ 2028509 h 6858001"/>
              <a:gd name="connsiteX100" fmla="*/ 2599858 w 9595474"/>
              <a:gd name="connsiteY100" fmla="*/ 2022794 h 6858001"/>
              <a:gd name="connsiteX101" fmla="*/ 2601336 w 9595474"/>
              <a:gd name="connsiteY101" fmla="*/ 2017079 h 6858001"/>
              <a:gd name="connsiteX102" fmla="*/ 2602814 w 9595474"/>
              <a:gd name="connsiteY102" fmla="*/ 2011364 h 6858001"/>
              <a:gd name="connsiteX103" fmla="*/ 2603996 w 9595474"/>
              <a:gd name="connsiteY103" fmla="*/ 2005649 h 6858001"/>
              <a:gd name="connsiteX104" fmla="*/ 2604587 w 9595474"/>
              <a:gd name="connsiteY104" fmla="*/ 1999616 h 6858001"/>
              <a:gd name="connsiteX105" fmla="*/ 2604883 w 9595474"/>
              <a:gd name="connsiteY105" fmla="*/ 1993584 h 6858001"/>
              <a:gd name="connsiteX106" fmla="*/ 2604883 w 9595474"/>
              <a:gd name="connsiteY106" fmla="*/ 1987551 h 6858001"/>
              <a:gd name="connsiteX107" fmla="*/ 2604883 w 9595474"/>
              <a:gd name="connsiteY107" fmla="*/ 1981836 h 6858001"/>
              <a:gd name="connsiteX108" fmla="*/ 2604587 w 9595474"/>
              <a:gd name="connsiteY108" fmla="*/ 1976121 h 6858001"/>
              <a:gd name="connsiteX109" fmla="*/ 2603996 w 9595474"/>
              <a:gd name="connsiteY109" fmla="*/ 1970089 h 6858001"/>
              <a:gd name="connsiteX110" fmla="*/ 2602814 w 9595474"/>
              <a:gd name="connsiteY110" fmla="*/ 1964374 h 6858001"/>
              <a:gd name="connsiteX111" fmla="*/ 2601336 w 9595474"/>
              <a:gd name="connsiteY111" fmla="*/ 1958659 h 6858001"/>
              <a:gd name="connsiteX112" fmla="*/ 2599858 w 9595474"/>
              <a:gd name="connsiteY112" fmla="*/ 1952626 h 6858001"/>
              <a:gd name="connsiteX113" fmla="*/ 2598085 w 9595474"/>
              <a:gd name="connsiteY113" fmla="*/ 1946911 h 6858001"/>
              <a:gd name="connsiteX114" fmla="*/ 2596016 w 9595474"/>
              <a:gd name="connsiteY114" fmla="*/ 1941196 h 6858001"/>
              <a:gd name="connsiteX115" fmla="*/ 2593651 w 9595474"/>
              <a:gd name="connsiteY115" fmla="*/ 1935799 h 6858001"/>
              <a:gd name="connsiteX116" fmla="*/ 2590991 w 9595474"/>
              <a:gd name="connsiteY116" fmla="*/ 1930401 h 6858001"/>
              <a:gd name="connsiteX117" fmla="*/ 2588035 w 9595474"/>
              <a:gd name="connsiteY117" fmla="*/ 1925004 h 6858001"/>
              <a:gd name="connsiteX118" fmla="*/ 2584784 w 9595474"/>
              <a:gd name="connsiteY118" fmla="*/ 1919924 h 6858001"/>
              <a:gd name="connsiteX119" fmla="*/ 2581237 w 9595474"/>
              <a:gd name="connsiteY119" fmla="*/ 1915161 h 6858001"/>
              <a:gd name="connsiteX120" fmla="*/ 2577395 w 9595474"/>
              <a:gd name="connsiteY120" fmla="*/ 1910081 h 6858001"/>
              <a:gd name="connsiteX121" fmla="*/ 2573257 w 9595474"/>
              <a:gd name="connsiteY121" fmla="*/ 1905319 h 6858001"/>
              <a:gd name="connsiteX122" fmla="*/ 2569119 w 9595474"/>
              <a:gd name="connsiteY122" fmla="*/ 1900556 h 6858001"/>
              <a:gd name="connsiteX123" fmla="*/ 1590477 w 9595474"/>
              <a:gd name="connsiteY123" fmla="*/ 922021 h 6858001"/>
              <a:gd name="connsiteX124" fmla="*/ 1272736 w 9595474"/>
              <a:gd name="connsiteY124" fmla="*/ 604204 h 6858001"/>
              <a:gd name="connsiteX125" fmla="*/ 1268303 w 9595474"/>
              <a:gd name="connsiteY125" fmla="*/ 599441 h 6858001"/>
              <a:gd name="connsiteX126" fmla="*/ 1264165 w 9595474"/>
              <a:gd name="connsiteY126" fmla="*/ 594996 h 6858001"/>
              <a:gd name="connsiteX127" fmla="*/ 1260322 w 9595474"/>
              <a:gd name="connsiteY127" fmla="*/ 589916 h 6858001"/>
              <a:gd name="connsiteX128" fmla="*/ 1256776 w 9595474"/>
              <a:gd name="connsiteY128" fmla="*/ 584836 h 6858001"/>
              <a:gd name="connsiteX129" fmla="*/ 1253524 w 9595474"/>
              <a:gd name="connsiteY129" fmla="*/ 579756 h 6858001"/>
              <a:gd name="connsiteX130" fmla="*/ 1250864 w 9595474"/>
              <a:gd name="connsiteY130" fmla="*/ 574359 h 6858001"/>
              <a:gd name="connsiteX131" fmla="*/ 1247908 w 9595474"/>
              <a:gd name="connsiteY131" fmla="*/ 568961 h 6858001"/>
              <a:gd name="connsiteX132" fmla="*/ 1245839 w 9595474"/>
              <a:gd name="connsiteY132" fmla="*/ 563564 h 6858001"/>
              <a:gd name="connsiteX133" fmla="*/ 1243475 w 9595474"/>
              <a:gd name="connsiteY133" fmla="*/ 557849 h 6858001"/>
              <a:gd name="connsiteX134" fmla="*/ 1241701 w 9595474"/>
              <a:gd name="connsiteY134" fmla="*/ 552134 h 6858001"/>
              <a:gd name="connsiteX135" fmla="*/ 1239928 w 9595474"/>
              <a:gd name="connsiteY135" fmla="*/ 546419 h 6858001"/>
              <a:gd name="connsiteX136" fmla="*/ 1238746 w 9595474"/>
              <a:gd name="connsiteY136" fmla="*/ 540704 h 6858001"/>
              <a:gd name="connsiteX137" fmla="*/ 1237859 w 9595474"/>
              <a:gd name="connsiteY137" fmla="*/ 534989 h 6858001"/>
              <a:gd name="connsiteX138" fmla="*/ 1236972 w 9595474"/>
              <a:gd name="connsiteY138" fmla="*/ 528639 h 6858001"/>
              <a:gd name="connsiteX139" fmla="*/ 1236677 w 9595474"/>
              <a:gd name="connsiteY139" fmla="*/ 522924 h 6858001"/>
              <a:gd name="connsiteX140" fmla="*/ 1236381 w 9595474"/>
              <a:gd name="connsiteY140" fmla="*/ 516891 h 6858001"/>
              <a:gd name="connsiteX141" fmla="*/ 1236677 w 9595474"/>
              <a:gd name="connsiteY141" fmla="*/ 511176 h 6858001"/>
              <a:gd name="connsiteX142" fmla="*/ 1236972 w 9595474"/>
              <a:gd name="connsiteY142" fmla="*/ 505461 h 6858001"/>
              <a:gd name="connsiteX143" fmla="*/ 1237859 w 9595474"/>
              <a:gd name="connsiteY143" fmla="*/ 499429 h 6858001"/>
              <a:gd name="connsiteX144" fmla="*/ 1238746 w 9595474"/>
              <a:gd name="connsiteY144" fmla="*/ 493714 h 6858001"/>
              <a:gd name="connsiteX145" fmla="*/ 1239928 w 9595474"/>
              <a:gd name="connsiteY145" fmla="*/ 487681 h 6858001"/>
              <a:gd name="connsiteX146" fmla="*/ 1241701 w 9595474"/>
              <a:gd name="connsiteY146" fmla="*/ 481966 h 6858001"/>
              <a:gd name="connsiteX147" fmla="*/ 1243475 w 9595474"/>
              <a:gd name="connsiteY147" fmla="*/ 476251 h 6858001"/>
              <a:gd name="connsiteX148" fmla="*/ 1245839 w 9595474"/>
              <a:gd name="connsiteY148" fmla="*/ 470536 h 6858001"/>
              <a:gd name="connsiteX149" fmla="*/ 1247908 w 9595474"/>
              <a:gd name="connsiteY149" fmla="*/ 465139 h 6858001"/>
              <a:gd name="connsiteX150" fmla="*/ 1250864 w 9595474"/>
              <a:gd name="connsiteY150" fmla="*/ 459741 h 6858001"/>
              <a:gd name="connsiteX151" fmla="*/ 1253524 w 9595474"/>
              <a:gd name="connsiteY151" fmla="*/ 454344 h 6858001"/>
              <a:gd name="connsiteX152" fmla="*/ 1256776 w 9595474"/>
              <a:gd name="connsiteY152" fmla="*/ 449264 h 6858001"/>
              <a:gd name="connsiteX153" fmla="*/ 1260322 w 9595474"/>
              <a:gd name="connsiteY153" fmla="*/ 444501 h 6858001"/>
              <a:gd name="connsiteX154" fmla="*/ 1264165 w 9595474"/>
              <a:gd name="connsiteY154" fmla="*/ 439421 h 6858001"/>
              <a:gd name="connsiteX155" fmla="*/ 1268303 w 9595474"/>
              <a:gd name="connsiteY155" fmla="*/ 434659 h 6858001"/>
              <a:gd name="connsiteX156" fmla="*/ 1272736 w 9595474"/>
              <a:gd name="connsiteY156" fmla="*/ 429896 h 6858001"/>
              <a:gd name="connsiteX157" fmla="*/ 1277466 w 9595474"/>
              <a:gd name="connsiteY157" fmla="*/ 425769 h 6858001"/>
              <a:gd name="connsiteX158" fmla="*/ 1281899 w 9595474"/>
              <a:gd name="connsiteY158" fmla="*/ 421324 h 6858001"/>
              <a:gd name="connsiteX159" fmla="*/ 1286924 w 9595474"/>
              <a:gd name="connsiteY159" fmla="*/ 417831 h 6858001"/>
              <a:gd name="connsiteX160" fmla="*/ 1291949 w 9595474"/>
              <a:gd name="connsiteY160" fmla="*/ 414339 h 6858001"/>
              <a:gd name="connsiteX161" fmla="*/ 1296973 w 9595474"/>
              <a:gd name="connsiteY161" fmla="*/ 410846 h 6858001"/>
              <a:gd name="connsiteX162" fmla="*/ 1302589 w 9595474"/>
              <a:gd name="connsiteY162" fmla="*/ 407989 h 6858001"/>
              <a:gd name="connsiteX163" fmla="*/ 1307910 w 9595474"/>
              <a:gd name="connsiteY163" fmla="*/ 405131 h 6858001"/>
              <a:gd name="connsiteX164" fmla="*/ 1313230 w 9595474"/>
              <a:gd name="connsiteY164" fmla="*/ 402909 h 6858001"/>
              <a:gd name="connsiteX165" fmla="*/ 1318846 w 9595474"/>
              <a:gd name="connsiteY165" fmla="*/ 401004 h 6858001"/>
              <a:gd name="connsiteX166" fmla="*/ 1324757 w 9595474"/>
              <a:gd name="connsiteY166" fmla="*/ 399099 h 6858001"/>
              <a:gd name="connsiteX167" fmla="*/ 1330373 w 9595474"/>
              <a:gd name="connsiteY167" fmla="*/ 397194 h 6858001"/>
              <a:gd name="connsiteX168" fmla="*/ 1336285 w 9595474"/>
              <a:gd name="connsiteY168" fmla="*/ 396241 h 6858001"/>
              <a:gd name="connsiteX169" fmla="*/ 1341901 w 9595474"/>
              <a:gd name="connsiteY169" fmla="*/ 395289 h 6858001"/>
              <a:gd name="connsiteX170" fmla="*/ 1348108 w 9595474"/>
              <a:gd name="connsiteY170" fmla="*/ 394336 h 6858001"/>
              <a:gd name="connsiteX171" fmla="*/ 1353723 w 9595474"/>
              <a:gd name="connsiteY171" fmla="*/ 394019 h 6858001"/>
              <a:gd name="connsiteX172" fmla="*/ 1359930 w 9595474"/>
              <a:gd name="connsiteY172" fmla="*/ 393701 h 6858001"/>
              <a:gd name="connsiteX173" fmla="*/ 1365546 w 9595474"/>
              <a:gd name="connsiteY173" fmla="*/ 394019 h 6858001"/>
              <a:gd name="connsiteX174" fmla="*/ 1371458 w 9595474"/>
              <a:gd name="connsiteY174" fmla="*/ 394336 h 6858001"/>
              <a:gd name="connsiteX175" fmla="*/ 1377665 w 9595474"/>
              <a:gd name="connsiteY175" fmla="*/ 395289 h 6858001"/>
              <a:gd name="connsiteX176" fmla="*/ 1383281 w 9595474"/>
              <a:gd name="connsiteY176" fmla="*/ 396241 h 6858001"/>
              <a:gd name="connsiteX177" fmla="*/ 1388897 w 9595474"/>
              <a:gd name="connsiteY177" fmla="*/ 397194 h 6858001"/>
              <a:gd name="connsiteX178" fmla="*/ 1394808 w 9595474"/>
              <a:gd name="connsiteY178" fmla="*/ 399099 h 6858001"/>
              <a:gd name="connsiteX179" fmla="*/ 1400424 w 9595474"/>
              <a:gd name="connsiteY179" fmla="*/ 401004 h 6858001"/>
              <a:gd name="connsiteX180" fmla="*/ 1406335 w 9595474"/>
              <a:gd name="connsiteY180" fmla="*/ 402909 h 6858001"/>
              <a:gd name="connsiteX181" fmla="*/ 1411656 w 9595474"/>
              <a:gd name="connsiteY181" fmla="*/ 405131 h 6858001"/>
              <a:gd name="connsiteX182" fmla="*/ 1416976 w 9595474"/>
              <a:gd name="connsiteY182" fmla="*/ 407989 h 6858001"/>
              <a:gd name="connsiteX183" fmla="*/ 1422296 w 9595474"/>
              <a:gd name="connsiteY183" fmla="*/ 410846 h 6858001"/>
              <a:gd name="connsiteX184" fmla="*/ 1427617 w 9595474"/>
              <a:gd name="connsiteY184" fmla="*/ 414339 h 6858001"/>
              <a:gd name="connsiteX185" fmla="*/ 1432641 w 9595474"/>
              <a:gd name="connsiteY185" fmla="*/ 417831 h 6858001"/>
              <a:gd name="connsiteX186" fmla="*/ 1437666 w 9595474"/>
              <a:gd name="connsiteY186" fmla="*/ 421324 h 6858001"/>
              <a:gd name="connsiteX187" fmla="*/ 1442100 w 9595474"/>
              <a:gd name="connsiteY187" fmla="*/ 425769 h 6858001"/>
              <a:gd name="connsiteX188" fmla="*/ 1446829 w 9595474"/>
              <a:gd name="connsiteY188" fmla="*/ 429896 h 6858001"/>
              <a:gd name="connsiteX189" fmla="*/ 1907036 w 9595474"/>
              <a:gd name="connsiteY189" fmla="*/ 890271 h 6858001"/>
              <a:gd name="connsiteX190" fmla="*/ 2165662 w 9595474"/>
              <a:gd name="connsiteY190" fmla="*/ 1148716 h 6858001"/>
              <a:gd name="connsiteX191" fmla="*/ 2170391 w 9595474"/>
              <a:gd name="connsiteY191" fmla="*/ 1153161 h 6858001"/>
              <a:gd name="connsiteX192" fmla="*/ 2175416 w 9595474"/>
              <a:gd name="connsiteY192" fmla="*/ 1157289 h 6858001"/>
              <a:gd name="connsiteX193" fmla="*/ 2180145 w 9595474"/>
              <a:gd name="connsiteY193" fmla="*/ 1161099 h 6858001"/>
              <a:gd name="connsiteX194" fmla="*/ 2185170 w 9595474"/>
              <a:gd name="connsiteY194" fmla="*/ 1164591 h 6858001"/>
              <a:gd name="connsiteX195" fmla="*/ 2190490 w 9595474"/>
              <a:gd name="connsiteY195" fmla="*/ 1167766 h 6858001"/>
              <a:gd name="connsiteX196" fmla="*/ 2195810 w 9595474"/>
              <a:gd name="connsiteY196" fmla="*/ 1170624 h 6858001"/>
              <a:gd name="connsiteX197" fmla="*/ 2201130 w 9595474"/>
              <a:gd name="connsiteY197" fmla="*/ 1173481 h 6858001"/>
              <a:gd name="connsiteX198" fmla="*/ 2206746 w 9595474"/>
              <a:gd name="connsiteY198" fmla="*/ 1176021 h 6858001"/>
              <a:gd name="connsiteX199" fmla="*/ 2212362 w 9595474"/>
              <a:gd name="connsiteY199" fmla="*/ 1177926 h 6858001"/>
              <a:gd name="connsiteX200" fmla="*/ 2217683 w 9595474"/>
              <a:gd name="connsiteY200" fmla="*/ 1180149 h 6858001"/>
              <a:gd name="connsiteX201" fmla="*/ 2223594 w 9595474"/>
              <a:gd name="connsiteY201" fmla="*/ 1181419 h 6858001"/>
              <a:gd name="connsiteX202" fmla="*/ 2229505 w 9595474"/>
              <a:gd name="connsiteY202" fmla="*/ 1182689 h 6858001"/>
              <a:gd name="connsiteX203" fmla="*/ 2235417 w 9595474"/>
              <a:gd name="connsiteY203" fmla="*/ 1183641 h 6858001"/>
              <a:gd name="connsiteX204" fmla="*/ 2241033 w 9595474"/>
              <a:gd name="connsiteY204" fmla="*/ 1184276 h 6858001"/>
              <a:gd name="connsiteX205" fmla="*/ 2247240 w 9595474"/>
              <a:gd name="connsiteY205" fmla="*/ 1184594 h 6858001"/>
              <a:gd name="connsiteX206" fmla="*/ 2252856 w 9595474"/>
              <a:gd name="connsiteY206" fmla="*/ 1185229 h 6858001"/>
              <a:gd name="connsiteX207" fmla="*/ 2259063 w 9595474"/>
              <a:gd name="connsiteY207" fmla="*/ 1184594 h 6858001"/>
              <a:gd name="connsiteX208" fmla="*/ 2264679 w 9595474"/>
              <a:gd name="connsiteY208" fmla="*/ 1184276 h 6858001"/>
              <a:gd name="connsiteX209" fmla="*/ 2270590 w 9595474"/>
              <a:gd name="connsiteY209" fmla="*/ 1183641 h 6858001"/>
              <a:gd name="connsiteX210" fmla="*/ 2276797 w 9595474"/>
              <a:gd name="connsiteY210" fmla="*/ 1182689 h 6858001"/>
              <a:gd name="connsiteX211" fmla="*/ 2282413 w 9595474"/>
              <a:gd name="connsiteY211" fmla="*/ 1181419 h 6858001"/>
              <a:gd name="connsiteX212" fmla="*/ 2288029 w 9595474"/>
              <a:gd name="connsiteY212" fmla="*/ 1180149 h 6858001"/>
              <a:gd name="connsiteX213" fmla="*/ 2293940 w 9595474"/>
              <a:gd name="connsiteY213" fmla="*/ 1177926 h 6858001"/>
              <a:gd name="connsiteX214" fmla="*/ 2299261 w 9595474"/>
              <a:gd name="connsiteY214" fmla="*/ 1176021 h 6858001"/>
              <a:gd name="connsiteX215" fmla="*/ 2304581 w 9595474"/>
              <a:gd name="connsiteY215" fmla="*/ 1173481 h 6858001"/>
              <a:gd name="connsiteX216" fmla="*/ 2310492 w 9595474"/>
              <a:gd name="connsiteY216" fmla="*/ 1170624 h 6858001"/>
              <a:gd name="connsiteX217" fmla="*/ 2315517 w 9595474"/>
              <a:gd name="connsiteY217" fmla="*/ 1167766 h 6858001"/>
              <a:gd name="connsiteX218" fmla="*/ 2320837 w 9595474"/>
              <a:gd name="connsiteY218" fmla="*/ 1164591 h 6858001"/>
              <a:gd name="connsiteX219" fmla="*/ 2325862 w 9595474"/>
              <a:gd name="connsiteY219" fmla="*/ 1161099 h 6858001"/>
              <a:gd name="connsiteX220" fmla="*/ 2330887 w 9595474"/>
              <a:gd name="connsiteY220" fmla="*/ 1157289 h 6858001"/>
              <a:gd name="connsiteX221" fmla="*/ 2335616 w 9595474"/>
              <a:gd name="connsiteY221" fmla="*/ 1153161 h 6858001"/>
              <a:gd name="connsiteX222" fmla="*/ 2340345 w 9595474"/>
              <a:gd name="connsiteY222" fmla="*/ 1148716 h 6858001"/>
              <a:gd name="connsiteX223" fmla="*/ 2344483 w 9595474"/>
              <a:gd name="connsiteY223" fmla="*/ 1144271 h 6858001"/>
              <a:gd name="connsiteX224" fmla="*/ 2348621 w 9595474"/>
              <a:gd name="connsiteY224" fmla="*/ 1139509 h 6858001"/>
              <a:gd name="connsiteX225" fmla="*/ 2352464 w 9595474"/>
              <a:gd name="connsiteY225" fmla="*/ 1134429 h 6858001"/>
              <a:gd name="connsiteX226" fmla="*/ 2356011 w 9595474"/>
              <a:gd name="connsiteY226" fmla="*/ 1129349 h 6858001"/>
              <a:gd name="connsiteX227" fmla="*/ 2359262 w 9595474"/>
              <a:gd name="connsiteY227" fmla="*/ 1124269 h 6858001"/>
              <a:gd name="connsiteX228" fmla="*/ 2362218 w 9595474"/>
              <a:gd name="connsiteY228" fmla="*/ 1118871 h 6858001"/>
              <a:gd name="connsiteX229" fmla="*/ 2364582 w 9595474"/>
              <a:gd name="connsiteY229" fmla="*/ 1113474 h 6858001"/>
              <a:gd name="connsiteX230" fmla="*/ 2367242 w 9595474"/>
              <a:gd name="connsiteY230" fmla="*/ 1108076 h 6858001"/>
              <a:gd name="connsiteX231" fmla="*/ 2369311 w 9595474"/>
              <a:gd name="connsiteY231" fmla="*/ 1102361 h 6858001"/>
              <a:gd name="connsiteX232" fmla="*/ 2371085 w 9595474"/>
              <a:gd name="connsiteY232" fmla="*/ 1096646 h 6858001"/>
              <a:gd name="connsiteX233" fmla="*/ 2372563 w 9595474"/>
              <a:gd name="connsiteY233" fmla="*/ 1090931 h 6858001"/>
              <a:gd name="connsiteX234" fmla="*/ 2374041 w 9595474"/>
              <a:gd name="connsiteY234" fmla="*/ 1085216 h 6858001"/>
              <a:gd name="connsiteX235" fmla="*/ 2375223 w 9595474"/>
              <a:gd name="connsiteY235" fmla="*/ 1079501 h 6858001"/>
              <a:gd name="connsiteX236" fmla="*/ 2375814 w 9595474"/>
              <a:gd name="connsiteY236" fmla="*/ 1073786 h 6858001"/>
              <a:gd name="connsiteX237" fmla="*/ 2376110 w 9595474"/>
              <a:gd name="connsiteY237" fmla="*/ 1067754 h 6858001"/>
              <a:gd name="connsiteX238" fmla="*/ 2376110 w 9595474"/>
              <a:gd name="connsiteY238" fmla="*/ 1061721 h 6858001"/>
              <a:gd name="connsiteX239" fmla="*/ 2376110 w 9595474"/>
              <a:gd name="connsiteY239" fmla="*/ 1055689 h 6858001"/>
              <a:gd name="connsiteX240" fmla="*/ 2375814 w 9595474"/>
              <a:gd name="connsiteY240" fmla="*/ 1049974 h 6858001"/>
              <a:gd name="connsiteX241" fmla="*/ 2375223 w 9595474"/>
              <a:gd name="connsiteY241" fmla="*/ 1043941 h 6858001"/>
              <a:gd name="connsiteX242" fmla="*/ 2374041 w 9595474"/>
              <a:gd name="connsiteY242" fmla="*/ 1038226 h 6858001"/>
              <a:gd name="connsiteX243" fmla="*/ 2372563 w 9595474"/>
              <a:gd name="connsiteY243" fmla="*/ 1032511 h 6858001"/>
              <a:gd name="connsiteX244" fmla="*/ 2371085 w 9595474"/>
              <a:gd name="connsiteY244" fmla="*/ 1026796 h 6858001"/>
              <a:gd name="connsiteX245" fmla="*/ 2369311 w 9595474"/>
              <a:gd name="connsiteY245" fmla="*/ 1021081 h 6858001"/>
              <a:gd name="connsiteX246" fmla="*/ 2367242 w 9595474"/>
              <a:gd name="connsiteY246" fmla="*/ 1015684 h 6858001"/>
              <a:gd name="connsiteX247" fmla="*/ 2364582 w 9595474"/>
              <a:gd name="connsiteY247" fmla="*/ 1009651 h 6858001"/>
              <a:gd name="connsiteX248" fmla="*/ 2362218 w 9595474"/>
              <a:gd name="connsiteY248" fmla="*/ 1004254 h 6858001"/>
              <a:gd name="connsiteX249" fmla="*/ 2359262 w 9595474"/>
              <a:gd name="connsiteY249" fmla="*/ 998856 h 6858001"/>
              <a:gd name="connsiteX250" fmla="*/ 2356011 w 9595474"/>
              <a:gd name="connsiteY250" fmla="*/ 994094 h 6858001"/>
              <a:gd name="connsiteX251" fmla="*/ 2352464 w 9595474"/>
              <a:gd name="connsiteY251" fmla="*/ 989014 h 6858001"/>
              <a:gd name="connsiteX252" fmla="*/ 2348621 w 9595474"/>
              <a:gd name="connsiteY252" fmla="*/ 983934 h 6858001"/>
              <a:gd name="connsiteX253" fmla="*/ 2344483 w 9595474"/>
              <a:gd name="connsiteY253" fmla="*/ 979171 h 6858001"/>
              <a:gd name="connsiteX254" fmla="*/ 2340345 w 9595474"/>
              <a:gd name="connsiteY254" fmla="*/ 974726 h 6858001"/>
              <a:gd name="connsiteX255" fmla="*/ 2240737 w 9595474"/>
              <a:gd name="connsiteY255" fmla="*/ 875031 h 6858001"/>
              <a:gd name="connsiteX256" fmla="*/ 1991865 w 9595474"/>
              <a:gd name="connsiteY256" fmla="*/ 626429 h 6858001"/>
              <a:gd name="connsiteX257" fmla="*/ 1987431 w 9595474"/>
              <a:gd name="connsiteY257" fmla="*/ 621666 h 6858001"/>
              <a:gd name="connsiteX258" fmla="*/ 1983589 w 9595474"/>
              <a:gd name="connsiteY258" fmla="*/ 616904 h 6858001"/>
              <a:gd name="connsiteX259" fmla="*/ 1979451 w 9595474"/>
              <a:gd name="connsiteY259" fmla="*/ 612141 h 6858001"/>
              <a:gd name="connsiteX260" fmla="*/ 1975904 w 9595474"/>
              <a:gd name="connsiteY260" fmla="*/ 607061 h 6858001"/>
              <a:gd name="connsiteX261" fmla="*/ 1972653 w 9595474"/>
              <a:gd name="connsiteY261" fmla="*/ 601664 h 6858001"/>
              <a:gd name="connsiteX262" fmla="*/ 1969993 w 9595474"/>
              <a:gd name="connsiteY262" fmla="*/ 596266 h 6858001"/>
              <a:gd name="connsiteX263" fmla="*/ 1967037 w 9595474"/>
              <a:gd name="connsiteY263" fmla="*/ 590869 h 6858001"/>
              <a:gd name="connsiteX264" fmla="*/ 1964968 w 9595474"/>
              <a:gd name="connsiteY264" fmla="*/ 585471 h 6858001"/>
              <a:gd name="connsiteX265" fmla="*/ 1962603 w 9595474"/>
              <a:gd name="connsiteY265" fmla="*/ 579756 h 6858001"/>
              <a:gd name="connsiteX266" fmla="*/ 1960830 w 9595474"/>
              <a:gd name="connsiteY266" fmla="*/ 574359 h 6858001"/>
              <a:gd name="connsiteX267" fmla="*/ 1959056 w 9595474"/>
              <a:gd name="connsiteY267" fmla="*/ 568644 h 6858001"/>
              <a:gd name="connsiteX268" fmla="*/ 1958170 w 9595474"/>
              <a:gd name="connsiteY268" fmla="*/ 562611 h 6858001"/>
              <a:gd name="connsiteX269" fmla="*/ 1956987 w 9595474"/>
              <a:gd name="connsiteY269" fmla="*/ 556896 h 6858001"/>
              <a:gd name="connsiteX270" fmla="*/ 1956396 w 9595474"/>
              <a:gd name="connsiteY270" fmla="*/ 551181 h 6858001"/>
              <a:gd name="connsiteX271" fmla="*/ 1955805 w 9595474"/>
              <a:gd name="connsiteY271" fmla="*/ 544831 h 6858001"/>
              <a:gd name="connsiteX272" fmla="*/ 1955805 w 9595474"/>
              <a:gd name="connsiteY272" fmla="*/ 539116 h 6858001"/>
              <a:gd name="connsiteX273" fmla="*/ 1955805 w 9595474"/>
              <a:gd name="connsiteY273" fmla="*/ 533084 h 6858001"/>
              <a:gd name="connsiteX274" fmla="*/ 1956396 w 9595474"/>
              <a:gd name="connsiteY274" fmla="*/ 527369 h 6858001"/>
              <a:gd name="connsiteX275" fmla="*/ 1956987 w 9595474"/>
              <a:gd name="connsiteY275" fmla="*/ 521654 h 6858001"/>
              <a:gd name="connsiteX276" fmla="*/ 1958170 w 9595474"/>
              <a:gd name="connsiteY276" fmla="*/ 515621 h 6858001"/>
              <a:gd name="connsiteX277" fmla="*/ 1959056 w 9595474"/>
              <a:gd name="connsiteY277" fmla="*/ 509589 h 6858001"/>
              <a:gd name="connsiteX278" fmla="*/ 1960830 w 9595474"/>
              <a:gd name="connsiteY278" fmla="*/ 503874 h 6858001"/>
              <a:gd name="connsiteX279" fmla="*/ 1962603 w 9595474"/>
              <a:gd name="connsiteY279" fmla="*/ 498159 h 6858001"/>
              <a:gd name="connsiteX280" fmla="*/ 1964968 w 9595474"/>
              <a:gd name="connsiteY280" fmla="*/ 492761 h 6858001"/>
              <a:gd name="connsiteX281" fmla="*/ 1967037 w 9595474"/>
              <a:gd name="connsiteY281" fmla="*/ 487364 h 6858001"/>
              <a:gd name="connsiteX282" fmla="*/ 1969993 w 9595474"/>
              <a:gd name="connsiteY282" fmla="*/ 481649 h 6858001"/>
              <a:gd name="connsiteX283" fmla="*/ 1972653 w 9595474"/>
              <a:gd name="connsiteY283" fmla="*/ 476569 h 6858001"/>
              <a:gd name="connsiteX284" fmla="*/ 1975904 w 9595474"/>
              <a:gd name="connsiteY284" fmla="*/ 471171 h 6858001"/>
              <a:gd name="connsiteX285" fmla="*/ 1979451 w 9595474"/>
              <a:gd name="connsiteY285" fmla="*/ 466409 h 6858001"/>
              <a:gd name="connsiteX286" fmla="*/ 1983589 w 9595474"/>
              <a:gd name="connsiteY286" fmla="*/ 461329 h 6858001"/>
              <a:gd name="connsiteX287" fmla="*/ 1987431 w 9595474"/>
              <a:gd name="connsiteY287" fmla="*/ 456566 h 6858001"/>
              <a:gd name="connsiteX288" fmla="*/ 1991865 w 9595474"/>
              <a:gd name="connsiteY288" fmla="*/ 451804 h 6858001"/>
              <a:gd name="connsiteX289" fmla="*/ 1996594 w 9595474"/>
              <a:gd name="connsiteY289" fmla="*/ 447676 h 6858001"/>
              <a:gd name="connsiteX290" fmla="*/ 2001028 w 9595474"/>
              <a:gd name="connsiteY290" fmla="*/ 443549 h 6858001"/>
              <a:gd name="connsiteX291" fmla="*/ 2006052 w 9595474"/>
              <a:gd name="connsiteY291" fmla="*/ 439739 h 6858001"/>
              <a:gd name="connsiteX292" fmla="*/ 2011077 w 9595474"/>
              <a:gd name="connsiteY292" fmla="*/ 436246 h 6858001"/>
              <a:gd name="connsiteX293" fmla="*/ 2016102 w 9595474"/>
              <a:gd name="connsiteY293" fmla="*/ 432754 h 6858001"/>
              <a:gd name="connsiteX294" fmla="*/ 2021718 w 9595474"/>
              <a:gd name="connsiteY294" fmla="*/ 429896 h 6858001"/>
              <a:gd name="connsiteX295" fmla="*/ 2027038 w 9595474"/>
              <a:gd name="connsiteY295" fmla="*/ 427356 h 6858001"/>
              <a:gd name="connsiteX296" fmla="*/ 2032654 w 9595474"/>
              <a:gd name="connsiteY296" fmla="*/ 424816 h 6858001"/>
              <a:gd name="connsiteX297" fmla="*/ 2038270 w 9595474"/>
              <a:gd name="connsiteY297" fmla="*/ 422911 h 6858001"/>
              <a:gd name="connsiteX298" fmla="*/ 2043886 w 9595474"/>
              <a:gd name="connsiteY298" fmla="*/ 421006 h 6858001"/>
              <a:gd name="connsiteX299" fmla="*/ 2049502 w 9595474"/>
              <a:gd name="connsiteY299" fmla="*/ 419736 h 6858001"/>
              <a:gd name="connsiteX300" fmla="*/ 2055413 w 9595474"/>
              <a:gd name="connsiteY300" fmla="*/ 418149 h 6858001"/>
              <a:gd name="connsiteX301" fmla="*/ 2061029 w 9595474"/>
              <a:gd name="connsiteY301" fmla="*/ 417196 h 6858001"/>
              <a:gd name="connsiteX302" fmla="*/ 2067236 w 9595474"/>
              <a:gd name="connsiteY302" fmla="*/ 416244 h 6858001"/>
              <a:gd name="connsiteX303" fmla="*/ 2072852 w 9595474"/>
              <a:gd name="connsiteY303" fmla="*/ 415926 h 6858001"/>
              <a:gd name="connsiteX304" fmla="*/ 2079059 w 9595474"/>
              <a:gd name="connsiteY304" fmla="*/ 415926 h 6858001"/>
              <a:gd name="connsiteX305" fmla="*/ 2084970 w 9595474"/>
              <a:gd name="connsiteY305" fmla="*/ 415926 h 6858001"/>
              <a:gd name="connsiteX306" fmla="*/ 2090882 w 9595474"/>
              <a:gd name="connsiteY306" fmla="*/ 416244 h 6858001"/>
              <a:gd name="connsiteX307" fmla="*/ 2096793 w 9595474"/>
              <a:gd name="connsiteY307" fmla="*/ 417196 h 6858001"/>
              <a:gd name="connsiteX308" fmla="*/ 2102409 w 9595474"/>
              <a:gd name="connsiteY308" fmla="*/ 418149 h 6858001"/>
              <a:gd name="connsiteX309" fmla="*/ 2108321 w 9595474"/>
              <a:gd name="connsiteY309" fmla="*/ 419736 h 6858001"/>
              <a:gd name="connsiteX310" fmla="*/ 2113936 w 9595474"/>
              <a:gd name="connsiteY310" fmla="*/ 421006 h 6858001"/>
              <a:gd name="connsiteX311" fmla="*/ 2119552 w 9595474"/>
              <a:gd name="connsiteY311" fmla="*/ 422911 h 6858001"/>
              <a:gd name="connsiteX312" fmla="*/ 2125464 w 9595474"/>
              <a:gd name="connsiteY312" fmla="*/ 424816 h 6858001"/>
              <a:gd name="connsiteX313" fmla="*/ 2130784 w 9595474"/>
              <a:gd name="connsiteY313" fmla="*/ 427356 h 6858001"/>
              <a:gd name="connsiteX314" fmla="*/ 2136104 w 9595474"/>
              <a:gd name="connsiteY314" fmla="*/ 429896 h 6858001"/>
              <a:gd name="connsiteX315" fmla="*/ 2141720 w 9595474"/>
              <a:gd name="connsiteY315" fmla="*/ 432754 h 6858001"/>
              <a:gd name="connsiteX316" fmla="*/ 2146745 w 9595474"/>
              <a:gd name="connsiteY316" fmla="*/ 436246 h 6858001"/>
              <a:gd name="connsiteX317" fmla="*/ 2152065 w 9595474"/>
              <a:gd name="connsiteY317" fmla="*/ 439739 h 6858001"/>
              <a:gd name="connsiteX318" fmla="*/ 2156795 w 9595474"/>
              <a:gd name="connsiteY318" fmla="*/ 443549 h 6858001"/>
              <a:gd name="connsiteX319" fmla="*/ 2161819 w 9595474"/>
              <a:gd name="connsiteY319" fmla="*/ 447676 h 6858001"/>
              <a:gd name="connsiteX320" fmla="*/ 2165957 w 9595474"/>
              <a:gd name="connsiteY320" fmla="*/ 451804 h 6858001"/>
              <a:gd name="connsiteX321" fmla="*/ 2966073 w 9595474"/>
              <a:gd name="connsiteY321" fmla="*/ 1251904 h 6858001"/>
              <a:gd name="connsiteX322" fmla="*/ 5612631 w 9595474"/>
              <a:gd name="connsiteY322" fmla="*/ 3898584 h 6858001"/>
              <a:gd name="connsiteX323" fmla="*/ 5617360 w 9595474"/>
              <a:gd name="connsiteY323" fmla="*/ 3903346 h 6858001"/>
              <a:gd name="connsiteX324" fmla="*/ 5621498 w 9595474"/>
              <a:gd name="connsiteY324" fmla="*/ 3908426 h 6858001"/>
              <a:gd name="connsiteX325" fmla="*/ 5625341 w 9595474"/>
              <a:gd name="connsiteY325" fmla="*/ 3913506 h 6858001"/>
              <a:gd name="connsiteX326" fmla="*/ 5628888 w 9595474"/>
              <a:gd name="connsiteY326" fmla="*/ 3918586 h 6858001"/>
              <a:gd name="connsiteX327" fmla="*/ 5632139 w 9595474"/>
              <a:gd name="connsiteY327" fmla="*/ 3923349 h 6858001"/>
              <a:gd name="connsiteX328" fmla="*/ 5635094 w 9595474"/>
              <a:gd name="connsiteY328" fmla="*/ 3928746 h 6858001"/>
              <a:gd name="connsiteX329" fmla="*/ 5638050 w 9595474"/>
              <a:gd name="connsiteY329" fmla="*/ 3934461 h 6858001"/>
              <a:gd name="connsiteX330" fmla="*/ 5640415 w 9595474"/>
              <a:gd name="connsiteY330" fmla="*/ 3939859 h 6858001"/>
              <a:gd name="connsiteX331" fmla="*/ 5642484 w 9595474"/>
              <a:gd name="connsiteY331" fmla="*/ 3945891 h 6858001"/>
              <a:gd name="connsiteX332" fmla="*/ 5644257 w 9595474"/>
              <a:gd name="connsiteY332" fmla="*/ 3951606 h 6858001"/>
              <a:gd name="connsiteX333" fmla="*/ 5645735 w 9595474"/>
              <a:gd name="connsiteY333" fmla="*/ 3957321 h 6858001"/>
              <a:gd name="connsiteX334" fmla="*/ 5647213 w 9595474"/>
              <a:gd name="connsiteY334" fmla="*/ 3963354 h 6858001"/>
              <a:gd name="connsiteX335" fmla="*/ 5648100 w 9595474"/>
              <a:gd name="connsiteY335" fmla="*/ 3969069 h 6858001"/>
              <a:gd name="connsiteX336" fmla="*/ 5648691 w 9595474"/>
              <a:gd name="connsiteY336" fmla="*/ 3975101 h 6858001"/>
              <a:gd name="connsiteX337" fmla="*/ 5649282 w 9595474"/>
              <a:gd name="connsiteY337" fmla="*/ 3980816 h 6858001"/>
              <a:gd name="connsiteX338" fmla="*/ 5649282 w 9595474"/>
              <a:gd name="connsiteY338" fmla="*/ 3987166 h 6858001"/>
              <a:gd name="connsiteX339" fmla="*/ 5649282 w 9595474"/>
              <a:gd name="connsiteY339" fmla="*/ 3992881 h 6858001"/>
              <a:gd name="connsiteX340" fmla="*/ 5648691 w 9595474"/>
              <a:gd name="connsiteY340" fmla="*/ 3998914 h 6858001"/>
              <a:gd name="connsiteX341" fmla="*/ 5648100 w 9595474"/>
              <a:gd name="connsiteY341" fmla="*/ 4004946 h 6858001"/>
              <a:gd name="connsiteX342" fmla="*/ 5647213 w 9595474"/>
              <a:gd name="connsiteY342" fmla="*/ 4010661 h 6858001"/>
              <a:gd name="connsiteX343" fmla="*/ 5645735 w 9595474"/>
              <a:gd name="connsiteY343" fmla="*/ 4016376 h 6858001"/>
              <a:gd name="connsiteX344" fmla="*/ 5644257 w 9595474"/>
              <a:gd name="connsiteY344" fmla="*/ 4022726 h 6858001"/>
              <a:gd name="connsiteX345" fmla="*/ 5642484 w 9595474"/>
              <a:gd name="connsiteY345" fmla="*/ 4028441 h 6858001"/>
              <a:gd name="connsiteX346" fmla="*/ 5640415 w 9595474"/>
              <a:gd name="connsiteY346" fmla="*/ 4033839 h 6858001"/>
              <a:gd name="connsiteX347" fmla="*/ 5638050 w 9595474"/>
              <a:gd name="connsiteY347" fmla="*/ 4039554 h 6858001"/>
              <a:gd name="connsiteX348" fmla="*/ 5635094 w 9595474"/>
              <a:gd name="connsiteY348" fmla="*/ 4044951 h 6858001"/>
              <a:gd name="connsiteX349" fmla="*/ 5632139 w 9595474"/>
              <a:gd name="connsiteY349" fmla="*/ 4050349 h 6858001"/>
              <a:gd name="connsiteX350" fmla="*/ 5628888 w 9595474"/>
              <a:gd name="connsiteY350" fmla="*/ 4055746 h 6858001"/>
              <a:gd name="connsiteX351" fmla="*/ 5625341 w 9595474"/>
              <a:gd name="connsiteY351" fmla="*/ 4060826 h 6858001"/>
              <a:gd name="connsiteX352" fmla="*/ 5621498 w 9595474"/>
              <a:gd name="connsiteY352" fmla="*/ 4065589 h 6858001"/>
              <a:gd name="connsiteX353" fmla="*/ 5617360 w 9595474"/>
              <a:gd name="connsiteY353" fmla="*/ 4070351 h 6858001"/>
              <a:gd name="connsiteX354" fmla="*/ 5612631 w 9595474"/>
              <a:gd name="connsiteY354" fmla="*/ 4075114 h 6858001"/>
              <a:gd name="connsiteX355" fmla="*/ 5608198 w 9595474"/>
              <a:gd name="connsiteY355" fmla="*/ 4079876 h 6858001"/>
              <a:gd name="connsiteX356" fmla="*/ 5603468 w 9595474"/>
              <a:gd name="connsiteY356" fmla="*/ 4083686 h 6858001"/>
              <a:gd name="connsiteX357" fmla="*/ 5598443 w 9595474"/>
              <a:gd name="connsiteY357" fmla="*/ 4087496 h 6858001"/>
              <a:gd name="connsiteX358" fmla="*/ 5593419 w 9595474"/>
              <a:gd name="connsiteY358" fmla="*/ 4091306 h 6858001"/>
              <a:gd name="connsiteX359" fmla="*/ 5588098 w 9595474"/>
              <a:gd name="connsiteY359" fmla="*/ 4094481 h 6858001"/>
              <a:gd name="connsiteX360" fmla="*/ 5582482 w 9595474"/>
              <a:gd name="connsiteY360" fmla="*/ 4097339 h 6858001"/>
              <a:gd name="connsiteX361" fmla="*/ 5577162 w 9595474"/>
              <a:gd name="connsiteY361" fmla="*/ 4100196 h 6858001"/>
              <a:gd name="connsiteX362" fmla="*/ 5571842 w 9595474"/>
              <a:gd name="connsiteY362" fmla="*/ 4102419 h 6858001"/>
              <a:gd name="connsiteX363" fmla="*/ 5565931 w 9595474"/>
              <a:gd name="connsiteY363" fmla="*/ 4104641 h 6858001"/>
              <a:gd name="connsiteX364" fmla="*/ 5560315 w 9595474"/>
              <a:gd name="connsiteY364" fmla="*/ 4106546 h 6858001"/>
              <a:gd name="connsiteX365" fmla="*/ 5554699 w 9595474"/>
              <a:gd name="connsiteY365" fmla="*/ 4108134 h 6858001"/>
              <a:gd name="connsiteX366" fmla="*/ 5548492 w 9595474"/>
              <a:gd name="connsiteY366" fmla="*/ 4109404 h 6858001"/>
              <a:gd name="connsiteX367" fmla="*/ 5542580 w 9595474"/>
              <a:gd name="connsiteY367" fmla="*/ 4110356 h 6858001"/>
              <a:gd name="connsiteX368" fmla="*/ 5536669 w 9595474"/>
              <a:gd name="connsiteY368" fmla="*/ 4110991 h 6858001"/>
              <a:gd name="connsiteX369" fmla="*/ 5530758 w 9595474"/>
              <a:gd name="connsiteY369" fmla="*/ 4111309 h 6858001"/>
              <a:gd name="connsiteX370" fmla="*/ 5524846 w 9595474"/>
              <a:gd name="connsiteY370" fmla="*/ 4111626 h 6858001"/>
              <a:gd name="connsiteX371" fmla="*/ 5518639 w 9595474"/>
              <a:gd name="connsiteY371" fmla="*/ 4111309 h 6858001"/>
              <a:gd name="connsiteX372" fmla="*/ 5513023 w 9595474"/>
              <a:gd name="connsiteY372" fmla="*/ 4110991 h 6858001"/>
              <a:gd name="connsiteX373" fmla="*/ 5506816 w 9595474"/>
              <a:gd name="connsiteY373" fmla="*/ 4110356 h 6858001"/>
              <a:gd name="connsiteX374" fmla="*/ 5501200 w 9595474"/>
              <a:gd name="connsiteY374" fmla="*/ 4109404 h 6858001"/>
              <a:gd name="connsiteX375" fmla="*/ 5494993 w 9595474"/>
              <a:gd name="connsiteY375" fmla="*/ 4108134 h 6858001"/>
              <a:gd name="connsiteX376" fmla="*/ 5489081 w 9595474"/>
              <a:gd name="connsiteY376" fmla="*/ 4106546 h 6858001"/>
              <a:gd name="connsiteX377" fmla="*/ 5483466 w 9595474"/>
              <a:gd name="connsiteY377" fmla="*/ 4104641 h 6858001"/>
              <a:gd name="connsiteX378" fmla="*/ 5477850 w 9595474"/>
              <a:gd name="connsiteY378" fmla="*/ 4102419 h 6858001"/>
              <a:gd name="connsiteX379" fmla="*/ 5472234 w 9595474"/>
              <a:gd name="connsiteY379" fmla="*/ 4100196 h 6858001"/>
              <a:gd name="connsiteX380" fmla="*/ 5466913 w 9595474"/>
              <a:gd name="connsiteY380" fmla="*/ 4097339 h 6858001"/>
              <a:gd name="connsiteX381" fmla="*/ 5461593 w 9595474"/>
              <a:gd name="connsiteY381" fmla="*/ 4094481 h 6858001"/>
              <a:gd name="connsiteX382" fmla="*/ 5456273 w 9595474"/>
              <a:gd name="connsiteY382" fmla="*/ 4091306 h 6858001"/>
              <a:gd name="connsiteX383" fmla="*/ 5451248 w 9595474"/>
              <a:gd name="connsiteY383" fmla="*/ 4087496 h 6858001"/>
              <a:gd name="connsiteX384" fmla="*/ 5446223 w 9595474"/>
              <a:gd name="connsiteY384" fmla="*/ 4083686 h 6858001"/>
              <a:gd name="connsiteX385" fmla="*/ 5441495 w 9595474"/>
              <a:gd name="connsiteY385" fmla="*/ 4079876 h 6858001"/>
              <a:gd name="connsiteX386" fmla="*/ 5436765 w 9595474"/>
              <a:gd name="connsiteY386" fmla="*/ 4075114 h 6858001"/>
              <a:gd name="connsiteX387" fmla="*/ 5322379 w 9595474"/>
              <a:gd name="connsiteY387" fmla="*/ 3960814 h 6858001"/>
              <a:gd name="connsiteX388" fmla="*/ 5317945 w 9595474"/>
              <a:gd name="connsiteY388" fmla="*/ 3956369 h 6858001"/>
              <a:gd name="connsiteX389" fmla="*/ 5312921 w 9595474"/>
              <a:gd name="connsiteY389" fmla="*/ 3952241 h 6858001"/>
              <a:gd name="connsiteX390" fmla="*/ 5307896 w 9595474"/>
              <a:gd name="connsiteY390" fmla="*/ 3948749 h 6858001"/>
              <a:gd name="connsiteX391" fmla="*/ 5302871 w 9595474"/>
              <a:gd name="connsiteY391" fmla="*/ 3944939 h 6858001"/>
              <a:gd name="connsiteX392" fmla="*/ 5297255 w 9595474"/>
              <a:gd name="connsiteY392" fmla="*/ 3941764 h 6858001"/>
              <a:gd name="connsiteX393" fmla="*/ 5292230 w 9595474"/>
              <a:gd name="connsiteY393" fmla="*/ 3938589 h 6858001"/>
              <a:gd name="connsiteX394" fmla="*/ 5286615 w 9595474"/>
              <a:gd name="connsiteY394" fmla="*/ 3936049 h 6858001"/>
              <a:gd name="connsiteX395" fmla="*/ 5281294 w 9595474"/>
              <a:gd name="connsiteY395" fmla="*/ 3933509 h 6858001"/>
              <a:gd name="connsiteX396" fmla="*/ 5275383 w 9595474"/>
              <a:gd name="connsiteY396" fmla="*/ 3931286 h 6858001"/>
              <a:gd name="connsiteX397" fmla="*/ 5269767 w 9595474"/>
              <a:gd name="connsiteY397" fmla="*/ 3929699 h 6858001"/>
              <a:gd name="connsiteX398" fmla="*/ 5263855 w 9595474"/>
              <a:gd name="connsiteY398" fmla="*/ 3927794 h 6858001"/>
              <a:gd name="connsiteX399" fmla="*/ 5257944 w 9595474"/>
              <a:gd name="connsiteY399" fmla="*/ 3926841 h 6858001"/>
              <a:gd name="connsiteX400" fmla="*/ 5252033 w 9595474"/>
              <a:gd name="connsiteY400" fmla="*/ 3925571 h 6858001"/>
              <a:gd name="connsiteX401" fmla="*/ 5246121 w 9595474"/>
              <a:gd name="connsiteY401" fmla="*/ 3924936 h 6858001"/>
              <a:gd name="connsiteX402" fmla="*/ 5240210 w 9595474"/>
              <a:gd name="connsiteY402" fmla="*/ 3924619 h 6858001"/>
              <a:gd name="connsiteX403" fmla="*/ 5234298 w 9595474"/>
              <a:gd name="connsiteY403" fmla="*/ 3924619 h 6858001"/>
              <a:gd name="connsiteX404" fmla="*/ 5228091 w 9595474"/>
              <a:gd name="connsiteY404" fmla="*/ 3924619 h 6858001"/>
              <a:gd name="connsiteX405" fmla="*/ 5222180 w 9595474"/>
              <a:gd name="connsiteY405" fmla="*/ 3924936 h 6858001"/>
              <a:gd name="connsiteX406" fmla="*/ 5216268 w 9595474"/>
              <a:gd name="connsiteY406" fmla="*/ 3925571 h 6858001"/>
              <a:gd name="connsiteX407" fmla="*/ 5210357 w 9595474"/>
              <a:gd name="connsiteY407" fmla="*/ 3926841 h 6858001"/>
              <a:gd name="connsiteX408" fmla="*/ 5204741 w 9595474"/>
              <a:gd name="connsiteY408" fmla="*/ 3927794 h 6858001"/>
              <a:gd name="connsiteX409" fmla="*/ 5198534 w 9595474"/>
              <a:gd name="connsiteY409" fmla="*/ 3929699 h 6858001"/>
              <a:gd name="connsiteX410" fmla="*/ 5192918 w 9595474"/>
              <a:gd name="connsiteY410" fmla="*/ 3931286 h 6858001"/>
              <a:gd name="connsiteX411" fmla="*/ 5187598 w 9595474"/>
              <a:gd name="connsiteY411" fmla="*/ 3933509 h 6858001"/>
              <a:gd name="connsiteX412" fmla="*/ 5181686 w 9595474"/>
              <a:gd name="connsiteY412" fmla="*/ 3936049 h 6858001"/>
              <a:gd name="connsiteX413" fmla="*/ 5176366 w 9595474"/>
              <a:gd name="connsiteY413" fmla="*/ 3938589 h 6858001"/>
              <a:gd name="connsiteX414" fmla="*/ 5171046 w 9595474"/>
              <a:gd name="connsiteY414" fmla="*/ 3941764 h 6858001"/>
              <a:gd name="connsiteX415" fmla="*/ 5165430 w 9595474"/>
              <a:gd name="connsiteY415" fmla="*/ 3944939 h 6858001"/>
              <a:gd name="connsiteX416" fmla="*/ 5160405 w 9595474"/>
              <a:gd name="connsiteY416" fmla="*/ 3948749 h 6858001"/>
              <a:gd name="connsiteX417" fmla="*/ 5155380 w 9595474"/>
              <a:gd name="connsiteY417" fmla="*/ 3952241 h 6858001"/>
              <a:gd name="connsiteX418" fmla="*/ 5150947 w 9595474"/>
              <a:gd name="connsiteY418" fmla="*/ 3956369 h 6858001"/>
              <a:gd name="connsiteX419" fmla="*/ 5146218 w 9595474"/>
              <a:gd name="connsiteY419" fmla="*/ 3960814 h 6858001"/>
              <a:gd name="connsiteX420" fmla="*/ 5141488 w 9595474"/>
              <a:gd name="connsiteY420" fmla="*/ 3965576 h 6858001"/>
              <a:gd name="connsiteX421" fmla="*/ 5137646 w 9595474"/>
              <a:gd name="connsiteY421" fmla="*/ 3970656 h 6858001"/>
              <a:gd name="connsiteX422" fmla="*/ 5133508 w 9595474"/>
              <a:gd name="connsiteY422" fmla="*/ 3975101 h 6858001"/>
              <a:gd name="connsiteX423" fmla="*/ 5129961 w 9595474"/>
              <a:gd name="connsiteY423" fmla="*/ 3980499 h 6858001"/>
              <a:gd name="connsiteX424" fmla="*/ 5126710 w 9595474"/>
              <a:gd name="connsiteY424" fmla="*/ 3985579 h 6858001"/>
              <a:gd name="connsiteX425" fmla="*/ 5123754 w 9595474"/>
              <a:gd name="connsiteY425" fmla="*/ 3990976 h 6858001"/>
              <a:gd name="connsiteX426" fmla="*/ 5121094 w 9595474"/>
              <a:gd name="connsiteY426" fmla="*/ 3996374 h 6858001"/>
              <a:gd name="connsiteX427" fmla="*/ 5118729 w 9595474"/>
              <a:gd name="connsiteY427" fmla="*/ 4002089 h 6858001"/>
              <a:gd name="connsiteX428" fmla="*/ 5116660 w 9595474"/>
              <a:gd name="connsiteY428" fmla="*/ 4007804 h 6858001"/>
              <a:gd name="connsiteX429" fmla="*/ 5114591 w 9595474"/>
              <a:gd name="connsiteY429" fmla="*/ 4013519 h 6858001"/>
              <a:gd name="connsiteX430" fmla="*/ 5113113 w 9595474"/>
              <a:gd name="connsiteY430" fmla="*/ 4019234 h 6858001"/>
              <a:gd name="connsiteX431" fmla="*/ 5111636 w 9595474"/>
              <a:gd name="connsiteY431" fmla="*/ 4025266 h 6858001"/>
              <a:gd name="connsiteX432" fmla="*/ 5111044 w 9595474"/>
              <a:gd name="connsiteY432" fmla="*/ 4031299 h 6858001"/>
              <a:gd name="connsiteX433" fmla="*/ 5110158 w 9595474"/>
              <a:gd name="connsiteY433" fmla="*/ 4037014 h 6858001"/>
              <a:gd name="connsiteX434" fmla="*/ 5109862 w 9595474"/>
              <a:gd name="connsiteY434" fmla="*/ 4043046 h 6858001"/>
              <a:gd name="connsiteX435" fmla="*/ 5109567 w 9595474"/>
              <a:gd name="connsiteY435" fmla="*/ 4049079 h 6858001"/>
              <a:gd name="connsiteX436" fmla="*/ 5109862 w 9595474"/>
              <a:gd name="connsiteY436" fmla="*/ 4055111 h 6858001"/>
              <a:gd name="connsiteX437" fmla="*/ 5110158 w 9595474"/>
              <a:gd name="connsiteY437" fmla="*/ 4061144 h 6858001"/>
              <a:gd name="connsiteX438" fmla="*/ 5111044 w 9595474"/>
              <a:gd name="connsiteY438" fmla="*/ 4066859 h 6858001"/>
              <a:gd name="connsiteX439" fmla="*/ 5111636 w 9595474"/>
              <a:gd name="connsiteY439" fmla="*/ 4072891 h 6858001"/>
              <a:gd name="connsiteX440" fmla="*/ 5113113 w 9595474"/>
              <a:gd name="connsiteY440" fmla="*/ 4078606 h 6858001"/>
              <a:gd name="connsiteX441" fmla="*/ 5114591 w 9595474"/>
              <a:gd name="connsiteY441" fmla="*/ 4084321 h 6858001"/>
              <a:gd name="connsiteX442" fmla="*/ 5116660 w 9595474"/>
              <a:gd name="connsiteY442" fmla="*/ 4090036 h 6858001"/>
              <a:gd name="connsiteX443" fmla="*/ 5118729 w 9595474"/>
              <a:gd name="connsiteY443" fmla="*/ 4095751 h 6858001"/>
              <a:gd name="connsiteX444" fmla="*/ 5121094 w 9595474"/>
              <a:gd name="connsiteY444" fmla="*/ 4101784 h 6858001"/>
              <a:gd name="connsiteX445" fmla="*/ 5123754 w 9595474"/>
              <a:gd name="connsiteY445" fmla="*/ 4107181 h 6858001"/>
              <a:gd name="connsiteX446" fmla="*/ 5126710 w 9595474"/>
              <a:gd name="connsiteY446" fmla="*/ 4112579 h 6858001"/>
              <a:gd name="connsiteX447" fmla="*/ 5129961 w 9595474"/>
              <a:gd name="connsiteY447" fmla="*/ 4117976 h 6858001"/>
              <a:gd name="connsiteX448" fmla="*/ 5133508 w 9595474"/>
              <a:gd name="connsiteY448" fmla="*/ 4122739 h 6858001"/>
              <a:gd name="connsiteX449" fmla="*/ 5137646 w 9595474"/>
              <a:gd name="connsiteY449" fmla="*/ 4127819 h 6858001"/>
              <a:gd name="connsiteX450" fmla="*/ 5141488 w 9595474"/>
              <a:gd name="connsiteY450" fmla="*/ 4132581 h 6858001"/>
              <a:gd name="connsiteX451" fmla="*/ 5146218 w 9595474"/>
              <a:gd name="connsiteY451" fmla="*/ 4137344 h 6858001"/>
              <a:gd name="connsiteX452" fmla="*/ 5870075 w 9595474"/>
              <a:gd name="connsiteY452" fmla="*/ 4860926 h 6858001"/>
              <a:gd name="connsiteX453" fmla="*/ 5874509 w 9595474"/>
              <a:gd name="connsiteY453" fmla="*/ 4865689 h 6858001"/>
              <a:gd name="connsiteX454" fmla="*/ 5878646 w 9595474"/>
              <a:gd name="connsiteY454" fmla="*/ 4870769 h 6858001"/>
              <a:gd name="connsiteX455" fmla="*/ 5882489 w 9595474"/>
              <a:gd name="connsiteY455" fmla="*/ 4875849 h 6858001"/>
              <a:gd name="connsiteX456" fmla="*/ 5886036 w 9595474"/>
              <a:gd name="connsiteY456" fmla="*/ 4880929 h 6858001"/>
              <a:gd name="connsiteX457" fmla="*/ 5889287 w 9595474"/>
              <a:gd name="connsiteY457" fmla="*/ 4885691 h 6858001"/>
              <a:gd name="connsiteX458" fmla="*/ 5892243 w 9595474"/>
              <a:gd name="connsiteY458" fmla="*/ 4891089 h 6858001"/>
              <a:gd name="connsiteX459" fmla="*/ 5895199 w 9595474"/>
              <a:gd name="connsiteY459" fmla="*/ 4897121 h 6858001"/>
              <a:gd name="connsiteX460" fmla="*/ 5897268 w 9595474"/>
              <a:gd name="connsiteY460" fmla="*/ 4902519 h 6858001"/>
              <a:gd name="connsiteX461" fmla="*/ 5899336 w 9595474"/>
              <a:gd name="connsiteY461" fmla="*/ 4908234 h 6858001"/>
              <a:gd name="connsiteX462" fmla="*/ 5901701 w 9595474"/>
              <a:gd name="connsiteY462" fmla="*/ 4913949 h 6858001"/>
              <a:gd name="connsiteX463" fmla="*/ 5902883 w 9595474"/>
              <a:gd name="connsiteY463" fmla="*/ 4919664 h 6858001"/>
              <a:gd name="connsiteX464" fmla="*/ 5904066 w 9595474"/>
              <a:gd name="connsiteY464" fmla="*/ 4925696 h 6858001"/>
              <a:gd name="connsiteX465" fmla="*/ 5905248 w 9595474"/>
              <a:gd name="connsiteY465" fmla="*/ 4931411 h 6858001"/>
              <a:gd name="connsiteX466" fmla="*/ 5905840 w 9595474"/>
              <a:gd name="connsiteY466" fmla="*/ 4937444 h 6858001"/>
              <a:gd name="connsiteX467" fmla="*/ 5906135 w 9595474"/>
              <a:gd name="connsiteY467" fmla="*/ 4943476 h 6858001"/>
              <a:gd name="connsiteX468" fmla="*/ 5906726 w 9595474"/>
              <a:gd name="connsiteY468" fmla="*/ 4949509 h 6858001"/>
              <a:gd name="connsiteX469" fmla="*/ 5906135 w 9595474"/>
              <a:gd name="connsiteY469" fmla="*/ 4955224 h 6858001"/>
              <a:gd name="connsiteX470" fmla="*/ 5905840 w 9595474"/>
              <a:gd name="connsiteY470" fmla="*/ 4961256 h 6858001"/>
              <a:gd name="connsiteX471" fmla="*/ 5905248 w 9595474"/>
              <a:gd name="connsiteY471" fmla="*/ 4967289 h 6858001"/>
              <a:gd name="connsiteX472" fmla="*/ 5904066 w 9595474"/>
              <a:gd name="connsiteY472" fmla="*/ 4973004 h 6858001"/>
              <a:gd name="connsiteX473" fmla="*/ 5902883 w 9595474"/>
              <a:gd name="connsiteY473" fmla="*/ 4979036 h 6858001"/>
              <a:gd name="connsiteX474" fmla="*/ 5901701 w 9595474"/>
              <a:gd name="connsiteY474" fmla="*/ 4985069 h 6858001"/>
              <a:gd name="connsiteX475" fmla="*/ 5899336 w 9595474"/>
              <a:gd name="connsiteY475" fmla="*/ 4990784 h 6858001"/>
              <a:gd name="connsiteX476" fmla="*/ 5897268 w 9595474"/>
              <a:gd name="connsiteY476" fmla="*/ 4996181 h 6858001"/>
              <a:gd name="connsiteX477" fmla="*/ 5895199 w 9595474"/>
              <a:gd name="connsiteY477" fmla="*/ 5001896 h 6858001"/>
              <a:gd name="connsiteX478" fmla="*/ 5892243 w 9595474"/>
              <a:gd name="connsiteY478" fmla="*/ 5007294 h 6858001"/>
              <a:gd name="connsiteX479" fmla="*/ 5889287 w 9595474"/>
              <a:gd name="connsiteY479" fmla="*/ 5012691 h 6858001"/>
              <a:gd name="connsiteX480" fmla="*/ 5886036 w 9595474"/>
              <a:gd name="connsiteY480" fmla="*/ 5018089 h 6858001"/>
              <a:gd name="connsiteX481" fmla="*/ 5882489 w 9595474"/>
              <a:gd name="connsiteY481" fmla="*/ 5023169 h 6858001"/>
              <a:gd name="connsiteX482" fmla="*/ 5878646 w 9595474"/>
              <a:gd name="connsiteY482" fmla="*/ 5028249 h 6858001"/>
              <a:gd name="connsiteX483" fmla="*/ 5874509 w 9595474"/>
              <a:gd name="connsiteY483" fmla="*/ 5032694 h 6858001"/>
              <a:gd name="connsiteX484" fmla="*/ 5870075 w 9595474"/>
              <a:gd name="connsiteY484" fmla="*/ 5037456 h 6858001"/>
              <a:gd name="connsiteX485" fmla="*/ 5865346 w 9595474"/>
              <a:gd name="connsiteY485" fmla="*/ 5041901 h 6858001"/>
              <a:gd name="connsiteX486" fmla="*/ 5860617 w 9595474"/>
              <a:gd name="connsiteY486" fmla="*/ 5046029 h 6858001"/>
              <a:gd name="connsiteX487" fmla="*/ 5855592 w 9595474"/>
              <a:gd name="connsiteY487" fmla="*/ 5050156 h 6858001"/>
              <a:gd name="connsiteX488" fmla="*/ 5850567 w 9595474"/>
              <a:gd name="connsiteY488" fmla="*/ 5053649 h 6858001"/>
              <a:gd name="connsiteX489" fmla="*/ 5845247 w 9595474"/>
              <a:gd name="connsiteY489" fmla="*/ 5056824 h 6858001"/>
              <a:gd name="connsiteX490" fmla="*/ 5839926 w 9595474"/>
              <a:gd name="connsiteY490" fmla="*/ 5059681 h 6858001"/>
              <a:gd name="connsiteX491" fmla="*/ 5834311 w 9595474"/>
              <a:gd name="connsiteY491" fmla="*/ 5062539 h 6858001"/>
              <a:gd name="connsiteX492" fmla="*/ 5828695 w 9595474"/>
              <a:gd name="connsiteY492" fmla="*/ 5064761 h 6858001"/>
              <a:gd name="connsiteX493" fmla="*/ 5823375 w 9595474"/>
              <a:gd name="connsiteY493" fmla="*/ 5066984 h 6858001"/>
              <a:gd name="connsiteX494" fmla="*/ 5817463 w 9595474"/>
              <a:gd name="connsiteY494" fmla="*/ 5069206 h 6858001"/>
              <a:gd name="connsiteX495" fmla="*/ 5811552 w 9595474"/>
              <a:gd name="connsiteY495" fmla="*/ 5070476 h 6858001"/>
              <a:gd name="connsiteX496" fmla="*/ 5805640 w 9595474"/>
              <a:gd name="connsiteY496" fmla="*/ 5071429 h 6858001"/>
              <a:gd name="connsiteX497" fmla="*/ 5800024 w 9595474"/>
              <a:gd name="connsiteY497" fmla="*/ 5072699 h 6858001"/>
              <a:gd name="connsiteX498" fmla="*/ 5793817 w 9595474"/>
              <a:gd name="connsiteY498" fmla="*/ 5073334 h 6858001"/>
              <a:gd name="connsiteX499" fmla="*/ 5787610 w 9595474"/>
              <a:gd name="connsiteY499" fmla="*/ 5073651 h 6858001"/>
              <a:gd name="connsiteX500" fmla="*/ 5781994 w 9595474"/>
              <a:gd name="connsiteY500" fmla="*/ 5073969 h 6858001"/>
              <a:gd name="connsiteX501" fmla="*/ 5775787 w 9595474"/>
              <a:gd name="connsiteY501" fmla="*/ 5073651 h 6858001"/>
              <a:gd name="connsiteX502" fmla="*/ 5770171 w 9595474"/>
              <a:gd name="connsiteY502" fmla="*/ 5073334 h 6858001"/>
              <a:gd name="connsiteX503" fmla="*/ 5763965 w 9595474"/>
              <a:gd name="connsiteY503" fmla="*/ 5072699 h 6858001"/>
              <a:gd name="connsiteX504" fmla="*/ 5758349 w 9595474"/>
              <a:gd name="connsiteY504" fmla="*/ 5071429 h 6858001"/>
              <a:gd name="connsiteX505" fmla="*/ 5752141 w 9595474"/>
              <a:gd name="connsiteY505" fmla="*/ 5070476 h 6858001"/>
              <a:gd name="connsiteX506" fmla="*/ 5746526 w 9595474"/>
              <a:gd name="connsiteY506" fmla="*/ 5069206 h 6858001"/>
              <a:gd name="connsiteX507" fmla="*/ 5740614 w 9595474"/>
              <a:gd name="connsiteY507" fmla="*/ 5066984 h 6858001"/>
              <a:gd name="connsiteX508" fmla="*/ 5734998 w 9595474"/>
              <a:gd name="connsiteY508" fmla="*/ 5064761 h 6858001"/>
              <a:gd name="connsiteX509" fmla="*/ 5729382 w 9595474"/>
              <a:gd name="connsiteY509" fmla="*/ 5062539 h 6858001"/>
              <a:gd name="connsiteX510" fmla="*/ 5723767 w 9595474"/>
              <a:gd name="connsiteY510" fmla="*/ 5059681 h 6858001"/>
              <a:gd name="connsiteX511" fmla="*/ 5718446 w 9595474"/>
              <a:gd name="connsiteY511" fmla="*/ 5056824 h 6858001"/>
              <a:gd name="connsiteX512" fmla="*/ 5713421 w 9595474"/>
              <a:gd name="connsiteY512" fmla="*/ 5053649 h 6858001"/>
              <a:gd name="connsiteX513" fmla="*/ 5708396 w 9595474"/>
              <a:gd name="connsiteY513" fmla="*/ 5050156 h 6858001"/>
              <a:gd name="connsiteX514" fmla="*/ 5703372 w 9595474"/>
              <a:gd name="connsiteY514" fmla="*/ 5046029 h 6858001"/>
              <a:gd name="connsiteX515" fmla="*/ 5698347 w 9595474"/>
              <a:gd name="connsiteY515" fmla="*/ 5041901 h 6858001"/>
              <a:gd name="connsiteX516" fmla="*/ 5693618 w 9595474"/>
              <a:gd name="connsiteY516" fmla="*/ 5037456 h 6858001"/>
              <a:gd name="connsiteX517" fmla="*/ 5598148 w 9595474"/>
              <a:gd name="connsiteY517" fmla="*/ 4941889 h 6858001"/>
              <a:gd name="connsiteX518" fmla="*/ 5490560 w 9595474"/>
              <a:gd name="connsiteY518" fmla="*/ 4834574 h 6858001"/>
              <a:gd name="connsiteX519" fmla="*/ 5485830 w 9595474"/>
              <a:gd name="connsiteY519" fmla="*/ 4830129 h 6858001"/>
              <a:gd name="connsiteX520" fmla="*/ 5481397 w 9595474"/>
              <a:gd name="connsiteY520" fmla="*/ 4826001 h 6858001"/>
              <a:gd name="connsiteX521" fmla="*/ 5476372 w 9595474"/>
              <a:gd name="connsiteY521" fmla="*/ 4821874 h 6858001"/>
              <a:gd name="connsiteX522" fmla="*/ 5471348 w 9595474"/>
              <a:gd name="connsiteY522" fmla="*/ 4818381 h 6858001"/>
              <a:gd name="connsiteX523" fmla="*/ 5465732 w 9595474"/>
              <a:gd name="connsiteY523" fmla="*/ 4815206 h 6858001"/>
              <a:gd name="connsiteX524" fmla="*/ 5460411 w 9595474"/>
              <a:gd name="connsiteY524" fmla="*/ 4812349 h 6858001"/>
              <a:gd name="connsiteX525" fmla="*/ 5455091 w 9595474"/>
              <a:gd name="connsiteY525" fmla="*/ 4809174 h 6858001"/>
              <a:gd name="connsiteX526" fmla="*/ 5449475 w 9595474"/>
              <a:gd name="connsiteY526" fmla="*/ 4807269 h 6858001"/>
              <a:gd name="connsiteX527" fmla="*/ 5443563 w 9595474"/>
              <a:gd name="connsiteY527" fmla="*/ 4805046 h 6858001"/>
              <a:gd name="connsiteX528" fmla="*/ 5437948 w 9595474"/>
              <a:gd name="connsiteY528" fmla="*/ 4802824 h 6858001"/>
              <a:gd name="connsiteX529" fmla="*/ 5432036 w 9595474"/>
              <a:gd name="connsiteY529" fmla="*/ 4801554 h 6858001"/>
              <a:gd name="connsiteX530" fmla="*/ 5426420 w 9595474"/>
              <a:gd name="connsiteY530" fmla="*/ 4800284 h 6858001"/>
              <a:gd name="connsiteX531" fmla="*/ 5420509 w 9595474"/>
              <a:gd name="connsiteY531" fmla="*/ 4799331 h 6858001"/>
              <a:gd name="connsiteX532" fmla="*/ 5414597 w 9595474"/>
              <a:gd name="connsiteY532" fmla="*/ 4798696 h 6858001"/>
              <a:gd name="connsiteX533" fmla="*/ 5408391 w 9595474"/>
              <a:gd name="connsiteY533" fmla="*/ 4798061 h 6858001"/>
              <a:gd name="connsiteX534" fmla="*/ 5402775 w 9595474"/>
              <a:gd name="connsiteY534" fmla="*/ 4797744 h 6858001"/>
              <a:gd name="connsiteX535" fmla="*/ 5396568 w 9595474"/>
              <a:gd name="connsiteY535" fmla="*/ 4798061 h 6858001"/>
              <a:gd name="connsiteX536" fmla="*/ 5390361 w 9595474"/>
              <a:gd name="connsiteY536" fmla="*/ 4798696 h 6858001"/>
              <a:gd name="connsiteX537" fmla="*/ 5384745 w 9595474"/>
              <a:gd name="connsiteY537" fmla="*/ 4799331 h 6858001"/>
              <a:gd name="connsiteX538" fmla="*/ 5378538 w 9595474"/>
              <a:gd name="connsiteY538" fmla="*/ 4800284 h 6858001"/>
              <a:gd name="connsiteX539" fmla="*/ 5372922 w 9595474"/>
              <a:gd name="connsiteY539" fmla="*/ 4801554 h 6858001"/>
              <a:gd name="connsiteX540" fmla="*/ 5367010 w 9595474"/>
              <a:gd name="connsiteY540" fmla="*/ 4802824 h 6858001"/>
              <a:gd name="connsiteX541" fmla="*/ 5361394 w 9595474"/>
              <a:gd name="connsiteY541" fmla="*/ 4805046 h 6858001"/>
              <a:gd name="connsiteX542" fmla="*/ 5355483 w 9595474"/>
              <a:gd name="connsiteY542" fmla="*/ 4807269 h 6858001"/>
              <a:gd name="connsiteX543" fmla="*/ 5350163 w 9595474"/>
              <a:gd name="connsiteY543" fmla="*/ 4809174 h 6858001"/>
              <a:gd name="connsiteX544" fmla="*/ 5344547 w 9595474"/>
              <a:gd name="connsiteY544" fmla="*/ 4812349 h 6858001"/>
              <a:gd name="connsiteX545" fmla="*/ 5338931 w 9595474"/>
              <a:gd name="connsiteY545" fmla="*/ 4815206 h 6858001"/>
              <a:gd name="connsiteX546" fmla="*/ 5333906 w 9595474"/>
              <a:gd name="connsiteY546" fmla="*/ 4818381 h 6858001"/>
              <a:gd name="connsiteX547" fmla="*/ 5328881 w 9595474"/>
              <a:gd name="connsiteY547" fmla="*/ 4821874 h 6858001"/>
              <a:gd name="connsiteX548" fmla="*/ 5323857 w 9595474"/>
              <a:gd name="connsiteY548" fmla="*/ 4826001 h 6858001"/>
              <a:gd name="connsiteX549" fmla="*/ 5318832 w 9595474"/>
              <a:gd name="connsiteY549" fmla="*/ 4830129 h 6858001"/>
              <a:gd name="connsiteX550" fmla="*/ 5314398 w 9595474"/>
              <a:gd name="connsiteY550" fmla="*/ 4834574 h 6858001"/>
              <a:gd name="connsiteX551" fmla="*/ 5307305 w 9595474"/>
              <a:gd name="connsiteY551" fmla="*/ 4841876 h 6858001"/>
              <a:gd name="connsiteX552" fmla="*/ 5301393 w 9595474"/>
              <a:gd name="connsiteY552" fmla="*/ 4849814 h 6858001"/>
              <a:gd name="connsiteX553" fmla="*/ 5295482 w 9595474"/>
              <a:gd name="connsiteY553" fmla="*/ 4858069 h 6858001"/>
              <a:gd name="connsiteX554" fmla="*/ 5291048 w 9595474"/>
              <a:gd name="connsiteY554" fmla="*/ 4867276 h 6858001"/>
              <a:gd name="connsiteX555" fmla="*/ 5286910 w 9595474"/>
              <a:gd name="connsiteY555" fmla="*/ 4875849 h 6858001"/>
              <a:gd name="connsiteX556" fmla="*/ 5283659 w 9595474"/>
              <a:gd name="connsiteY556" fmla="*/ 4885056 h 6858001"/>
              <a:gd name="connsiteX557" fmla="*/ 5281294 w 9595474"/>
              <a:gd name="connsiteY557" fmla="*/ 4894581 h 6858001"/>
              <a:gd name="connsiteX558" fmla="*/ 5279521 w 9595474"/>
              <a:gd name="connsiteY558" fmla="*/ 4903789 h 6858001"/>
              <a:gd name="connsiteX559" fmla="*/ 5278339 w 9595474"/>
              <a:gd name="connsiteY559" fmla="*/ 4913631 h 6858001"/>
              <a:gd name="connsiteX560" fmla="*/ 5278339 w 9595474"/>
              <a:gd name="connsiteY560" fmla="*/ 4923156 h 6858001"/>
              <a:gd name="connsiteX561" fmla="*/ 5278634 w 9595474"/>
              <a:gd name="connsiteY561" fmla="*/ 4932999 h 6858001"/>
              <a:gd name="connsiteX562" fmla="*/ 5279816 w 9595474"/>
              <a:gd name="connsiteY562" fmla="*/ 4942206 h 6858001"/>
              <a:gd name="connsiteX563" fmla="*/ 5281885 w 9595474"/>
              <a:gd name="connsiteY563" fmla="*/ 4952049 h 6858001"/>
              <a:gd name="connsiteX564" fmla="*/ 5284546 w 9595474"/>
              <a:gd name="connsiteY564" fmla="*/ 4960939 h 6858001"/>
              <a:gd name="connsiteX565" fmla="*/ 5288092 w 9595474"/>
              <a:gd name="connsiteY565" fmla="*/ 4970146 h 6858001"/>
              <a:gd name="connsiteX566" fmla="*/ 5291935 w 9595474"/>
              <a:gd name="connsiteY566" fmla="*/ 4979354 h 6858001"/>
              <a:gd name="connsiteX567" fmla="*/ 5583665 w 9595474"/>
              <a:gd name="connsiteY567" fmla="*/ 5270501 h 6858001"/>
              <a:gd name="connsiteX568" fmla="*/ 5588098 w 9595474"/>
              <a:gd name="connsiteY568" fmla="*/ 5275264 h 6858001"/>
              <a:gd name="connsiteX569" fmla="*/ 5592237 w 9595474"/>
              <a:gd name="connsiteY569" fmla="*/ 5280344 h 6858001"/>
              <a:gd name="connsiteX570" fmla="*/ 5595784 w 9595474"/>
              <a:gd name="connsiteY570" fmla="*/ 5284789 h 6858001"/>
              <a:gd name="connsiteX571" fmla="*/ 5599626 w 9595474"/>
              <a:gd name="connsiteY571" fmla="*/ 5290186 h 6858001"/>
              <a:gd name="connsiteX572" fmla="*/ 5602582 w 9595474"/>
              <a:gd name="connsiteY572" fmla="*/ 5295266 h 6858001"/>
              <a:gd name="connsiteX573" fmla="*/ 5605833 w 9595474"/>
              <a:gd name="connsiteY573" fmla="*/ 5300664 h 6858001"/>
              <a:gd name="connsiteX574" fmla="*/ 5608493 w 9595474"/>
              <a:gd name="connsiteY574" fmla="*/ 5306061 h 6858001"/>
              <a:gd name="connsiteX575" fmla="*/ 5610857 w 9595474"/>
              <a:gd name="connsiteY575" fmla="*/ 5311776 h 6858001"/>
              <a:gd name="connsiteX576" fmla="*/ 5613222 w 9595474"/>
              <a:gd name="connsiteY576" fmla="*/ 5317491 h 6858001"/>
              <a:gd name="connsiteX577" fmla="*/ 5614996 w 9595474"/>
              <a:gd name="connsiteY577" fmla="*/ 5323524 h 6858001"/>
              <a:gd name="connsiteX578" fmla="*/ 5616474 w 9595474"/>
              <a:gd name="connsiteY578" fmla="*/ 5329239 h 6858001"/>
              <a:gd name="connsiteX579" fmla="*/ 5617656 w 9595474"/>
              <a:gd name="connsiteY579" fmla="*/ 5334954 h 6858001"/>
              <a:gd name="connsiteX580" fmla="*/ 5618838 w 9595474"/>
              <a:gd name="connsiteY580" fmla="*/ 5340986 h 6858001"/>
              <a:gd name="connsiteX581" fmla="*/ 5619725 w 9595474"/>
              <a:gd name="connsiteY581" fmla="*/ 5346701 h 6858001"/>
              <a:gd name="connsiteX582" fmla="*/ 5620021 w 9595474"/>
              <a:gd name="connsiteY582" fmla="*/ 5352734 h 6858001"/>
              <a:gd name="connsiteX583" fmla="*/ 5620021 w 9595474"/>
              <a:gd name="connsiteY583" fmla="*/ 5359084 h 6858001"/>
              <a:gd name="connsiteX584" fmla="*/ 5620021 w 9595474"/>
              <a:gd name="connsiteY584" fmla="*/ 5364799 h 6858001"/>
              <a:gd name="connsiteX585" fmla="*/ 5619725 w 9595474"/>
              <a:gd name="connsiteY585" fmla="*/ 5370831 h 6858001"/>
              <a:gd name="connsiteX586" fmla="*/ 5618838 w 9595474"/>
              <a:gd name="connsiteY586" fmla="*/ 5376546 h 6858001"/>
              <a:gd name="connsiteX587" fmla="*/ 5617656 w 9595474"/>
              <a:gd name="connsiteY587" fmla="*/ 5382579 h 6858001"/>
              <a:gd name="connsiteX588" fmla="*/ 5616474 w 9595474"/>
              <a:gd name="connsiteY588" fmla="*/ 5388294 h 6858001"/>
              <a:gd name="connsiteX589" fmla="*/ 5614996 w 9595474"/>
              <a:gd name="connsiteY589" fmla="*/ 5394009 h 6858001"/>
              <a:gd name="connsiteX590" fmla="*/ 5613222 w 9595474"/>
              <a:gd name="connsiteY590" fmla="*/ 5400041 h 6858001"/>
              <a:gd name="connsiteX591" fmla="*/ 5610857 w 9595474"/>
              <a:gd name="connsiteY591" fmla="*/ 5405756 h 6858001"/>
              <a:gd name="connsiteX592" fmla="*/ 5608493 w 9595474"/>
              <a:gd name="connsiteY592" fmla="*/ 5411471 h 6858001"/>
              <a:gd name="connsiteX593" fmla="*/ 5605833 w 9595474"/>
              <a:gd name="connsiteY593" fmla="*/ 5416869 h 6858001"/>
              <a:gd name="connsiteX594" fmla="*/ 5602582 w 9595474"/>
              <a:gd name="connsiteY594" fmla="*/ 5422266 h 6858001"/>
              <a:gd name="connsiteX595" fmla="*/ 5599626 w 9595474"/>
              <a:gd name="connsiteY595" fmla="*/ 5427664 h 6858001"/>
              <a:gd name="connsiteX596" fmla="*/ 5595784 w 9595474"/>
              <a:gd name="connsiteY596" fmla="*/ 5432744 h 6858001"/>
              <a:gd name="connsiteX597" fmla="*/ 5592237 w 9595474"/>
              <a:gd name="connsiteY597" fmla="*/ 5437506 h 6858001"/>
              <a:gd name="connsiteX598" fmla="*/ 5588098 w 9595474"/>
              <a:gd name="connsiteY598" fmla="*/ 5442269 h 6858001"/>
              <a:gd name="connsiteX599" fmla="*/ 5583665 w 9595474"/>
              <a:gd name="connsiteY599" fmla="*/ 5447031 h 6858001"/>
              <a:gd name="connsiteX600" fmla="*/ 5578936 w 9595474"/>
              <a:gd name="connsiteY600" fmla="*/ 5451159 h 6858001"/>
              <a:gd name="connsiteX601" fmla="*/ 5573911 w 9595474"/>
              <a:gd name="connsiteY601" fmla="*/ 5455604 h 6858001"/>
              <a:gd name="connsiteX602" fmla="*/ 5569182 w 9595474"/>
              <a:gd name="connsiteY602" fmla="*/ 5459096 h 6858001"/>
              <a:gd name="connsiteX603" fmla="*/ 5563862 w 9595474"/>
              <a:gd name="connsiteY603" fmla="*/ 5462906 h 6858001"/>
              <a:gd name="connsiteX604" fmla="*/ 5558837 w 9595474"/>
              <a:gd name="connsiteY604" fmla="*/ 5466081 h 6858001"/>
              <a:gd name="connsiteX605" fmla="*/ 5553517 w 9595474"/>
              <a:gd name="connsiteY605" fmla="*/ 5469256 h 6858001"/>
              <a:gd name="connsiteX606" fmla="*/ 5548196 w 9595474"/>
              <a:gd name="connsiteY606" fmla="*/ 5471796 h 6858001"/>
              <a:gd name="connsiteX607" fmla="*/ 5542285 w 9595474"/>
              <a:gd name="connsiteY607" fmla="*/ 5474336 h 6858001"/>
              <a:gd name="connsiteX608" fmla="*/ 5536964 w 9595474"/>
              <a:gd name="connsiteY608" fmla="*/ 5476559 h 6858001"/>
              <a:gd name="connsiteX609" fmla="*/ 5531348 w 9595474"/>
              <a:gd name="connsiteY609" fmla="*/ 5478146 h 6858001"/>
              <a:gd name="connsiteX610" fmla="*/ 5525437 w 9595474"/>
              <a:gd name="connsiteY610" fmla="*/ 5479734 h 6858001"/>
              <a:gd name="connsiteX611" fmla="*/ 5519230 w 9595474"/>
              <a:gd name="connsiteY611" fmla="*/ 5481004 h 6858001"/>
              <a:gd name="connsiteX612" fmla="*/ 5513614 w 9595474"/>
              <a:gd name="connsiteY612" fmla="*/ 5482274 h 6858001"/>
              <a:gd name="connsiteX613" fmla="*/ 5507999 w 9595474"/>
              <a:gd name="connsiteY613" fmla="*/ 5482909 h 6858001"/>
              <a:gd name="connsiteX614" fmla="*/ 5501791 w 9595474"/>
              <a:gd name="connsiteY614" fmla="*/ 5483226 h 6858001"/>
              <a:gd name="connsiteX615" fmla="*/ 5495585 w 9595474"/>
              <a:gd name="connsiteY615" fmla="*/ 5483544 h 6858001"/>
              <a:gd name="connsiteX616" fmla="*/ 6873545 w 9595474"/>
              <a:gd name="connsiteY616" fmla="*/ 6858001 h 6858001"/>
              <a:gd name="connsiteX617" fmla="*/ 9595474 w 9595474"/>
              <a:gd name="connsiteY617" fmla="*/ 6858001 h 6858001"/>
              <a:gd name="connsiteX618" fmla="*/ 9595474 w 9595474"/>
              <a:gd name="connsiteY618" fmla="*/ 1 h 6858001"/>
              <a:gd name="connsiteX619" fmla="*/ 3525498 w 9595474"/>
              <a:gd name="connsiteY619" fmla="*/ 1 h 6858001"/>
              <a:gd name="connsiteX0" fmla="*/ 3290660 w 9595474"/>
              <a:gd name="connsiteY0" fmla="*/ 372828 h 6858001"/>
              <a:gd name="connsiteX1" fmla="*/ 4164742 w 9595474"/>
              <a:gd name="connsiteY1" fmla="*/ 1238610 h 6858001"/>
              <a:gd name="connsiteX2" fmla="*/ 4160187 w 9595474"/>
              <a:gd name="connsiteY2" fmla="*/ 1235076 h 6858001"/>
              <a:gd name="connsiteX3" fmla="*/ 3290660 w 9595474"/>
              <a:gd name="connsiteY3" fmla="*/ 372828 h 6858001"/>
              <a:gd name="connsiteX4" fmla="*/ 3525497 w 9595474"/>
              <a:gd name="connsiteY4" fmla="*/ 0 h 6858001"/>
              <a:gd name="connsiteX5" fmla="*/ 2914258 w 9595474"/>
              <a:gd name="connsiteY5" fmla="*/ 0 h 6858001"/>
              <a:gd name="connsiteX6" fmla="*/ 2914259 w 9595474"/>
              <a:gd name="connsiteY6" fmla="*/ 1 h 6858001"/>
              <a:gd name="connsiteX7" fmla="*/ 0 w 9595474"/>
              <a:gd name="connsiteY7" fmla="*/ 1 h 6858001"/>
              <a:gd name="connsiteX8" fmla="*/ 692823 w 9595474"/>
              <a:gd name="connsiteY8" fmla="*/ 691199 h 6858001"/>
              <a:gd name="connsiteX9" fmla="*/ 691345 w 9595474"/>
              <a:gd name="connsiteY9" fmla="*/ 683896 h 6858001"/>
              <a:gd name="connsiteX10" fmla="*/ 690754 w 9595474"/>
              <a:gd name="connsiteY10" fmla="*/ 676276 h 6858001"/>
              <a:gd name="connsiteX11" fmla="*/ 690754 w 9595474"/>
              <a:gd name="connsiteY11" fmla="*/ 669291 h 6858001"/>
              <a:gd name="connsiteX12" fmla="*/ 690754 w 9595474"/>
              <a:gd name="connsiteY12" fmla="*/ 661989 h 6858001"/>
              <a:gd name="connsiteX13" fmla="*/ 691345 w 9595474"/>
              <a:gd name="connsiteY13" fmla="*/ 654369 h 6858001"/>
              <a:gd name="connsiteX14" fmla="*/ 692527 w 9595474"/>
              <a:gd name="connsiteY14" fmla="*/ 647384 h 6858001"/>
              <a:gd name="connsiteX15" fmla="*/ 694005 w 9595474"/>
              <a:gd name="connsiteY15" fmla="*/ 640081 h 6858001"/>
              <a:gd name="connsiteX16" fmla="*/ 695778 w 9595474"/>
              <a:gd name="connsiteY16" fmla="*/ 633096 h 6858001"/>
              <a:gd name="connsiteX17" fmla="*/ 698143 w 9595474"/>
              <a:gd name="connsiteY17" fmla="*/ 625794 h 6858001"/>
              <a:gd name="connsiteX18" fmla="*/ 700803 w 9595474"/>
              <a:gd name="connsiteY18" fmla="*/ 618809 h 6858001"/>
              <a:gd name="connsiteX19" fmla="*/ 704054 w 9595474"/>
              <a:gd name="connsiteY19" fmla="*/ 612141 h 6858001"/>
              <a:gd name="connsiteX20" fmla="*/ 707601 w 9595474"/>
              <a:gd name="connsiteY20" fmla="*/ 605791 h 6858001"/>
              <a:gd name="connsiteX21" fmla="*/ 712035 w 9595474"/>
              <a:gd name="connsiteY21" fmla="*/ 599124 h 6858001"/>
              <a:gd name="connsiteX22" fmla="*/ 716173 w 9595474"/>
              <a:gd name="connsiteY22" fmla="*/ 592774 h 6858001"/>
              <a:gd name="connsiteX23" fmla="*/ 721198 w 9595474"/>
              <a:gd name="connsiteY23" fmla="*/ 587059 h 6858001"/>
              <a:gd name="connsiteX24" fmla="*/ 726518 w 9595474"/>
              <a:gd name="connsiteY24" fmla="*/ 581344 h 6858001"/>
              <a:gd name="connsiteX25" fmla="*/ 731247 w 9595474"/>
              <a:gd name="connsiteY25" fmla="*/ 576899 h 6858001"/>
              <a:gd name="connsiteX26" fmla="*/ 735976 w 9595474"/>
              <a:gd name="connsiteY26" fmla="*/ 572454 h 6858001"/>
              <a:gd name="connsiteX27" fmla="*/ 741001 w 9595474"/>
              <a:gd name="connsiteY27" fmla="*/ 568961 h 6858001"/>
              <a:gd name="connsiteX28" fmla="*/ 746026 w 9595474"/>
              <a:gd name="connsiteY28" fmla="*/ 565469 h 6858001"/>
              <a:gd name="connsiteX29" fmla="*/ 751050 w 9595474"/>
              <a:gd name="connsiteY29" fmla="*/ 562294 h 6858001"/>
              <a:gd name="connsiteX30" fmla="*/ 756371 w 9595474"/>
              <a:gd name="connsiteY30" fmla="*/ 558801 h 6858001"/>
              <a:gd name="connsiteX31" fmla="*/ 761691 w 9595474"/>
              <a:gd name="connsiteY31" fmla="*/ 556579 h 6858001"/>
              <a:gd name="connsiteX32" fmla="*/ 767602 w 9595474"/>
              <a:gd name="connsiteY32" fmla="*/ 554039 h 6858001"/>
              <a:gd name="connsiteX33" fmla="*/ 772923 w 9595474"/>
              <a:gd name="connsiteY33" fmla="*/ 551816 h 6858001"/>
              <a:gd name="connsiteX34" fmla="*/ 778834 w 9595474"/>
              <a:gd name="connsiteY34" fmla="*/ 549911 h 6858001"/>
              <a:gd name="connsiteX35" fmla="*/ 784450 w 9595474"/>
              <a:gd name="connsiteY35" fmla="*/ 548641 h 6858001"/>
              <a:gd name="connsiteX36" fmla="*/ 790066 w 9595474"/>
              <a:gd name="connsiteY36" fmla="*/ 547371 h 6858001"/>
              <a:gd name="connsiteX37" fmla="*/ 795977 w 9595474"/>
              <a:gd name="connsiteY37" fmla="*/ 546419 h 6858001"/>
              <a:gd name="connsiteX38" fmla="*/ 802184 w 9595474"/>
              <a:gd name="connsiteY38" fmla="*/ 545784 h 6858001"/>
              <a:gd name="connsiteX39" fmla="*/ 807800 w 9595474"/>
              <a:gd name="connsiteY39" fmla="*/ 545466 h 6858001"/>
              <a:gd name="connsiteX40" fmla="*/ 814007 w 9595474"/>
              <a:gd name="connsiteY40" fmla="*/ 544831 h 6858001"/>
              <a:gd name="connsiteX41" fmla="*/ 819623 w 9595474"/>
              <a:gd name="connsiteY41" fmla="*/ 545466 h 6858001"/>
              <a:gd name="connsiteX42" fmla="*/ 825830 w 9595474"/>
              <a:gd name="connsiteY42" fmla="*/ 545784 h 6858001"/>
              <a:gd name="connsiteX43" fmla="*/ 831446 w 9595474"/>
              <a:gd name="connsiteY43" fmla="*/ 546419 h 6858001"/>
              <a:gd name="connsiteX44" fmla="*/ 837358 w 9595474"/>
              <a:gd name="connsiteY44" fmla="*/ 547371 h 6858001"/>
              <a:gd name="connsiteX45" fmla="*/ 842974 w 9595474"/>
              <a:gd name="connsiteY45" fmla="*/ 548641 h 6858001"/>
              <a:gd name="connsiteX46" fmla="*/ 848885 w 9595474"/>
              <a:gd name="connsiteY46" fmla="*/ 549911 h 6858001"/>
              <a:gd name="connsiteX47" fmla="*/ 854501 w 9595474"/>
              <a:gd name="connsiteY47" fmla="*/ 551816 h 6858001"/>
              <a:gd name="connsiteX48" fmla="*/ 860117 w 9595474"/>
              <a:gd name="connsiteY48" fmla="*/ 554039 h 6858001"/>
              <a:gd name="connsiteX49" fmla="*/ 865733 w 9595474"/>
              <a:gd name="connsiteY49" fmla="*/ 556579 h 6858001"/>
              <a:gd name="connsiteX50" fmla="*/ 871053 w 9595474"/>
              <a:gd name="connsiteY50" fmla="*/ 558801 h 6858001"/>
              <a:gd name="connsiteX51" fmla="*/ 876373 w 9595474"/>
              <a:gd name="connsiteY51" fmla="*/ 562294 h 6858001"/>
              <a:gd name="connsiteX52" fmla="*/ 881398 w 9595474"/>
              <a:gd name="connsiteY52" fmla="*/ 565469 h 6858001"/>
              <a:gd name="connsiteX53" fmla="*/ 886718 w 9595474"/>
              <a:gd name="connsiteY53" fmla="*/ 568961 h 6858001"/>
              <a:gd name="connsiteX54" fmla="*/ 891447 w 9595474"/>
              <a:gd name="connsiteY54" fmla="*/ 572454 h 6858001"/>
              <a:gd name="connsiteX55" fmla="*/ 896177 w 9595474"/>
              <a:gd name="connsiteY55" fmla="*/ 576899 h 6858001"/>
              <a:gd name="connsiteX56" fmla="*/ 900906 w 9595474"/>
              <a:gd name="connsiteY56" fmla="*/ 581344 h 6858001"/>
              <a:gd name="connsiteX57" fmla="*/ 1431459 w 9595474"/>
              <a:gd name="connsiteY57" fmla="*/ 1111569 h 6858001"/>
              <a:gd name="connsiteX58" fmla="*/ 2394731 w 9595474"/>
              <a:gd name="connsiteY58" fmla="*/ 2074864 h 6858001"/>
              <a:gd name="connsiteX59" fmla="*/ 2399164 w 9595474"/>
              <a:gd name="connsiteY59" fmla="*/ 2079309 h 6858001"/>
              <a:gd name="connsiteX60" fmla="*/ 2404189 w 9595474"/>
              <a:gd name="connsiteY60" fmla="*/ 2083436 h 6858001"/>
              <a:gd name="connsiteX61" fmla="*/ 2408918 w 9595474"/>
              <a:gd name="connsiteY61" fmla="*/ 2087246 h 6858001"/>
              <a:gd name="connsiteX62" fmla="*/ 2413943 w 9595474"/>
              <a:gd name="connsiteY62" fmla="*/ 2090739 h 6858001"/>
              <a:gd name="connsiteX63" fmla="*/ 2419263 w 9595474"/>
              <a:gd name="connsiteY63" fmla="*/ 2093914 h 6858001"/>
              <a:gd name="connsiteX64" fmla="*/ 2424583 w 9595474"/>
              <a:gd name="connsiteY64" fmla="*/ 2096771 h 6858001"/>
              <a:gd name="connsiteX65" fmla="*/ 2430199 w 9595474"/>
              <a:gd name="connsiteY65" fmla="*/ 2099629 h 6858001"/>
              <a:gd name="connsiteX66" fmla="*/ 2435520 w 9595474"/>
              <a:gd name="connsiteY66" fmla="*/ 2101851 h 6858001"/>
              <a:gd name="connsiteX67" fmla="*/ 2441136 w 9595474"/>
              <a:gd name="connsiteY67" fmla="*/ 2104074 h 6858001"/>
              <a:gd name="connsiteX68" fmla="*/ 2447047 w 9595474"/>
              <a:gd name="connsiteY68" fmla="*/ 2105661 h 6858001"/>
              <a:gd name="connsiteX69" fmla="*/ 2452663 w 9595474"/>
              <a:gd name="connsiteY69" fmla="*/ 2107566 h 6858001"/>
              <a:gd name="connsiteX70" fmla="*/ 2458574 w 9595474"/>
              <a:gd name="connsiteY70" fmla="*/ 2108519 h 6858001"/>
              <a:gd name="connsiteX71" fmla="*/ 2464190 w 9595474"/>
              <a:gd name="connsiteY71" fmla="*/ 2109789 h 6858001"/>
              <a:gd name="connsiteX72" fmla="*/ 2469806 w 9595474"/>
              <a:gd name="connsiteY72" fmla="*/ 2110424 h 6858001"/>
              <a:gd name="connsiteX73" fmla="*/ 2476013 w 9595474"/>
              <a:gd name="connsiteY73" fmla="*/ 2110741 h 6858001"/>
              <a:gd name="connsiteX74" fmla="*/ 2481925 w 9595474"/>
              <a:gd name="connsiteY74" fmla="*/ 2111059 h 6858001"/>
              <a:gd name="connsiteX75" fmla="*/ 2487836 w 9595474"/>
              <a:gd name="connsiteY75" fmla="*/ 2110741 h 6858001"/>
              <a:gd name="connsiteX76" fmla="*/ 2493747 w 9595474"/>
              <a:gd name="connsiteY76" fmla="*/ 2110424 h 6858001"/>
              <a:gd name="connsiteX77" fmla="*/ 2499363 w 9595474"/>
              <a:gd name="connsiteY77" fmla="*/ 2109789 h 6858001"/>
              <a:gd name="connsiteX78" fmla="*/ 2505570 w 9595474"/>
              <a:gd name="connsiteY78" fmla="*/ 2108519 h 6858001"/>
              <a:gd name="connsiteX79" fmla="*/ 2511186 w 9595474"/>
              <a:gd name="connsiteY79" fmla="*/ 2107566 h 6858001"/>
              <a:gd name="connsiteX80" fmla="*/ 2517098 w 9595474"/>
              <a:gd name="connsiteY80" fmla="*/ 2105661 h 6858001"/>
              <a:gd name="connsiteX81" fmla="*/ 2522714 w 9595474"/>
              <a:gd name="connsiteY81" fmla="*/ 2104074 h 6858001"/>
              <a:gd name="connsiteX82" fmla="*/ 2528034 w 9595474"/>
              <a:gd name="connsiteY82" fmla="*/ 2101851 h 6858001"/>
              <a:gd name="connsiteX83" fmla="*/ 2533945 w 9595474"/>
              <a:gd name="connsiteY83" fmla="*/ 2099629 h 6858001"/>
              <a:gd name="connsiteX84" fmla="*/ 2539266 w 9595474"/>
              <a:gd name="connsiteY84" fmla="*/ 2096771 h 6858001"/>
              <a:gd name="connsiteX85" fmla="*/ 2544290 w 9595474"/>
              <a:gd name="connsiteY85" fmla="*/ 2093914 h 6858001"/>
              <a:gd name="connsiteX86" fmla="*/ 2549611 w 9595474"/>
              <a:gd name="connsiteY86" fmla="*/ 2090739 h 6858001"/>
              <a:gd name="connsiteX87" fmla="*/ 2554635 w 9595474"/>
              <a:gd name="connsiteY87" fmla="*/ 2087246 h 6858001"/>
              <a:gd name="connsiteX88" fmla="*/ 2559660 w 9595474"/>
              <a:gd name="connsiteY88" fmla="*/ 2083436 h 6858001"/>
              <a:gd name="connsiteX89" fmla="*/ 2564389 w 9595474"/>
              <a:gd name="connsiteY89" fmla="*/ 2079309 h 6858001"/>
              <a:gd name="connsiteX90" fmla="*/ 2569119 w 9595474"/>
              <a:gd name="connsiteY90" fmla="*/ 2074864 h 6858001"/>
              <a:gd name="connsiteX91" fmla="*/ 2573257 w 9595474"/>
              <a:gd name="connsiteY91" fmla="*/ 2070101 h 6858001"/>
              <a:gd name="connsiteX92" fmla="*/ 2577395 w 9595474"/>
              <a:gd name="connsiteY92" fmla="*/ 2065656 h 6858001"/>
              <a:gd name="connsiteX93" fmla="*/ 2581237 w 9595474"/>
              <a:gd name="connsiteY93" fmla="*/ 2060576 h 6858001"/>
              <a:gd name="connsiteX94" fmla="*/ 2584784 w 9595474"/>
              <a:gd name="connsiteY94" fmla="*/ 2055496 h 6858001"/>
              <a:gd name="connsiteX95" fmla="*/ 2588035 w 9595474"/>
              <a:gd name="connsiteY95" fmla="*/ 2050416 h 6858001"/>
              <a:gd name="connsiteX96" fmla="*/ 2590991 w 9595474"/>
              <a:gd name="connsiteY96" fmla="*/ 2045019 h 6858001"/>
              <a:gd name="connsiteX97" fmla="*/ 2593651 w 9595474"/>
              <a:gd name="connsiteY97" fmla="*/ 2039621 h 6858001"/>
              <a:gd name="connsiteX98" fmla="*/ 2596016 w 9595474"/>
              <a:gd name="connsiteY98" fmla="*/ 2034224 h 6858001"/>
              <a:gd name="connsiteX99" fmla="*/ 2598085 w 9595474"/>
              <a:gd name="connsiteY99" fmla="*/ 2028509 h 6858001"/>
              <a:gd name="connsiteX100" fmla="*/ 2599858 w 9595474"/>
              <a:gd name="connsiteY100" fmla="*/ 2022794 h 6858001"/>
              <a:gd name="connsiteX101" fmla="*/ 2601336 w 9595474"/>
              <a:gd name="connsiteY101" fmla="*/ 2017079 h 6858001"/>
              <a:gd name="connsiteX102" fmla="*/ 2602814 w 9595474"/>
              <a:gd name="connsiteY102" fmla="*/ 2011364 h 6858001"/>
              <a:gd name="connsiteX103" fmla="*/ 2603996 w 9595474"/>
              <a:gd name="connsiteY103" fmla="*/ 2005649 h 6858001"/>
              <a:gd name="connsiteX104" fmla="*/ 2604587 w 9595474"/>
              <a:gd name="connsiteY104" fmla="*/ 1999616 h 6858001"/>
              <a:gd name="connsiteX105" fmla="*/ 2604883 w 9595474"/>
              <a:gd name="connsiteY105" fmla="*/ 1993584 h 6858001"/>
              <a:gd name="connsiteX106" fmla="*/ 2604883 w 9595474"/>
              <a:gd name="connsiteY106" fmla="*/ 1987551 h 6858001"/>
              <a:gd name="connsiteX107" fmla="*/ 2604883 w 9595474"/>
              <a:gd name="connsiteY107" fmla="*/ 1981836 h 6858001"/>
              <a:gd name="connsiteX108" fmla="*/ 2604587 w 9595474"/>
              <a:gd name="connsiteY108" fmla="*/ 1976121 h 6858001"/>
              <a:gd name="connsiteX109" fmla="*/ 2603996 w 9595474"/>
              <a:gd name="connsiteY109" fmla="*/ 1970089 h 6858001"/>
              <a:gd name="connsiteX110" fmla="*/ 2602814 w 9595474"/>
              <a:gd name="connsiteY110" fmla="*/ 1964374 h 6858001"/>
              <a:gd name="connsiteX111" fmla="*/ 2601336 w 9595474"/>
              <a:gd name="connsiteY111" fmla="*/ 1958659 h 6858001"/>
              <a:gd name="connsiteX112" fmla="*/ 2599858 w 9595474"/>
              <a:gd name="connsiteY112" fmla="*/ 1952626 h 6858001"/>
              <a:gd name="connsiteX113" fmla="*/ 2598085 w 9595474"/>
              <a:gd name="connsiteY113" fmla="*/ 1946911 h 6858001"/>
              <a:gd name="connsiteX114" fmla="*/ 2596016 w 9595474"/>
              <a:gd name="connsiteY114" fmla="*/ 1941196 h 6858001"/>
              <a:gd name="connsiteX115" fmla="*/ 2593651 w 9595474"/>
              <a:gd name="connsiteY115" fmla="*/ 1935799 h 6858001"/>
              <a:gd name="connsiteX116" fmla="*/ 2590991 w 9595474"/>
              <a:gd name="connsiteY116" fmla="*/ 1930401 h 6858001"/>
              <a:gd name="connsiteX117" fmla="*/ 2588035 w 9595474"/>
              <a:gd name="connsiteY117" fmla="*/ 1925004 h 6858001"/>
              <a:gd name="connsiteX118" fmla="*/ 2584784 w 9595474"/>
              <a:gd name="connsiteY118" fmla="*/ 1919924 h 6858001"/>
              <a:gd name="connsiteX119" fmla="*/ 2581237 w 9595474"/>
              <a:gd name="connsiteY119" fmla="*/ 1915161 h 6858001"/>
              <a:gd name="connsiteX120" fmla="*/ 2577395 w 9595474"/>
              <a:gd name="connsiteY120" fmla="*/ 1910081 h 6858001"/>
              <a:gd name="connsiteX121" fmla="*/ 2573257 w 9595474"/>
              <a:gd name="connsiteY121" fmla="*/ 1905319 h 6858001"/>
              <a:gd name="connsiteX122" fmla="*/ 2569119 w 9595474"/>
              <a:gd name="connsiteY122" fmla="*/ 1900556 h 6858001"/>
              <a:gd name="connsiteX123" fmla="*/ 1590477 w 9595474"/>
              <a:gd name="connsiteY123" fmla="*/ 922021 h 6858001"/>
              <a:gd name="connsiteX124" fmla="*/ 1272736 w 9595474"/>
              <a:gd name="connsiteY124" fmla="*/ 604204 h 6858001"/>
              <a:gd name="connsiteX125" fmla="*/ 1268303 w 9595474"/>
              <a:gd name="connsiteY125" fmla="*/ 599441 h 6858001"/>
              <a:gd name="connsiteX126" fmla="*/ 1264165 w 9595474"/>
              <a:gd name="connsiteY126" fmla="*/ 594996 h 6858001"/>
              <a:gd name="connsiteX127" fmla="*/ 1260322 w 9595474"/>
              <a:gd name="connsiteY127" fmla="*/ 589916 h 6858001"/>
              <a:gd name="connsiteX128" fmla="*/ 1256776 w 9595474"/>
              <a:gd name="connsiteY128" fmla="*/ 584836 h 6858001"/>
              <a:gd name="connsiteX129" fmla="*/ 1253524 w 9595474"/>
              <a:gd name="connsiteY129" fmla="*/ 579756 h 6858001"/>
              <a:gd name="connsiteX130" fmla="*/ 1250864 w 9595474"/>
              <a:gd name="connsiteY130" fmla="*/ 574359 h 6858001"/>
              <a:gd name="connsiteX131" fmla="*/ 1247908 w 9595474"/>
              <a:gd name="connsiteY131" fmla="*/ 568961 h 6858001"/>
              <a:gd name="connsiteX132" fmla="*/ 1245839 w 9595474"/>
              <a:gd name="connsiteY132" fmla="*/ 563564 h 6858001"/>
              <a:gd name="connsiteX133" fmla="*/ 1243475 w 9595474"/>
              <a:gd name="connsiteY133" fmla="*/ 557849 h 6858001"/>
              <a:gd name="connsiteX134" fmla="*/ 1241701 w 9595474"/>
              <a:gd name="connsiteY134" fmla="*/ 552134 h 6858001"/>
              <a:gd name="connsiteX135" fmla="*/ 1239928 w 9595474"/>
              <a:gd name="connsiteY135" fmla="*/ 546419 h 6858001"/>
              <a:gd name="connsiteX136" fmla="*/ 1238746 w 9595474"/>
              <a:gd name="connsiteY136" fmla="*/ 540704 h 6858001"/>
              <a:gd name="connsiteX137" fmla="*/ 1237859 w 9595474"/>
              <a:gd name="connsiteY137" fmla="*/ 534989 h 6858001"/>
              <a:gd name="connsiteX138" fmla="*/ 1236972 w 9595474"/>
              <a:gd name="connsiteY138" fmla="*/ 528639 h 6858001"/>
              <a:gd name="connsiteX139" fmla="*/ 1236677 w 9595474"/>
              <a:gd name="connsiteY139" fmla="*/ 522924 h 6858001"/>
              <a:gd name="connsiteX140" fmla="*/ 1236381 w 9595474"/>
              <a:gd name="connsiteY140" fmla="*/ 516891 h 6858001"/>
              <a:gd name="connsiteX141" fmla="*/ 1236677 w 9595474"/>
              <a:gd name="connsiteY141" fmla="*/ 511176 h 6858001"/>
              <a:gd name="connsiteX142" fmla="*/ 1236972 w 9595474"/>
              <a:gd name="connsiteY142" fmla="*/ 505461 h 6858001"/>
              <a:gd name="connsiteX143" fmla="*/ 1237859 w 9595474"/>
              <a:gd name="connsiteY143" fmla="*/ 499429 h 6858001"/>
              <a:gd name="connsiteX144" fmla="*/ 1238746 w 9595474"/>
              <a:gd name="connsiteY144" fmla="*/ 493714 h 6858001"/>
              <a:gd name="connsiteX145" fmla="*/ 1239928 w 9595474"/>
              <a:gd name="connsiteY145" fmla="*/ 487681 h 6858001"/>
              <a:gd name="connsiteX146" fmla="*/ 1241701 w 9595474"/>
              <a:gd name="connsiteY146" fmla="*/ 481966 h 6858001"/>
              <a:gd name="connsiteX147" fmla="*/ 1243475 w 9595474"/>
              <a:gd name="connsiteY147" fmla="*/ 476251 h 6858001"/>
              <a:gd name="connsiteX148" fmla="*/ 1245839 w 9595474"/>
              <a:gd name="connsiteY148" fmla="*/ 470536 h 6858001"/>
              <a:gd name="connsiteX149" fmla="*/ 1247908 w 9595474"/>
              <a:gd name="connsiteY149" fmla="*/ 465139 h 6858001"/>
              <a:gd name="connsiteX150" fmla="*/ 1250864 w 9595474"/>
              <a:gd name="connsiteY150" fmla="*/ 459741 h 6858001"/>
              <a:gd name="connsiteX151" fmla="*/ 1253524 w 9595474"/>
              <a:gd name="connsiteY151" fmla="*/ 454344 h 6858001"/>
              <a:gd name="connsiteX152" fmla="*/ 1256776 w 9595474"/>
              <a:gd name="connsiteY152" fmla="*/ 449264 h 6858001"/>
              <a:gd name="connsiteX153" fmla="*/ 1260322 w 9595474"/>
              <a:gd name="connsiteY153" fmla="*/ 444501 h 6858001"/>
              <a:gd name="connsiteX154" fmla="*/ 1264165 w 9595474"/>
              <a:gd name="connsiteY154" fmla="*/ 439421 h 6858001"/>
              <a:gd name="connsiteX155" fmla="*/ 1268303 w 9595474"/>
              <a:gd name="connsiteY155" fmla="*/ 434659 h 6858001"/>
              <a:gd name="connsiteX156" fmla="*/ 1272736 w 9595474"/>
              <a:gd name="connsiteY156" fmla="*/ 429896 h 6858001"/>
              <a:gd name="connsiteX157" fmla="*/ 1277466 w 9595474"/>
              <a:gd name="connsiteY157" fmla="*/ 425769 h 6858001"/>
              <a:gd name="connsiteX158" fmla="*/ 1281899 w 9595474"/>
              <a:gd name="connsiteY158" fmla="*/ 421324 h 6858001"/>
              <a:gd name="connsiteX159" fmla="*/ 1286924 w 9595474"/>
              <a:gd name="connsiteY159" fmla="*/ 417831 h 6858001"/>
              <a:gd name="connsiteX160" fmla="*/ 1291949 w 9595474"/>
              <a:gd name="connsiteY160" fmla="*/ 414339 h 6858001"/>
              <a:gd name="connsiteX161" fmla="*/ 1296973 w 9595474"/>
              <a:gd name="connsiteY161" fmla="*/ 410846 h 6858001"/>
              <a:gd name="connsiteX162" fmla="*/ 1302589 w 9595474"/>
              <a:gd name="connsiteY162" fmla="*/ 407989 h 6858001"/>
              <a:gd name="connsiteX163" fmla="*/ 1307910 w 9595474"/>
              <a:gd name="connsiteY163" fmla="*/ 405131 h 6858001"/>
              <a:gd name="connsiteX164" fmla="*/ 1313230 w 9595474"/>
              <a:gd name="connsiteY164" fmla="*/ 402909 h 6858001"/>
              <a:gd name="connsiteX165" fmla="*/ 1318846 w 9595474"/>
              <a:gd name="connsiteY165" fmla="*/ 401004 h 6858001"/>
              <a:gd name="connsiteX166" fmla="*/ 1324757 w 9595474"/>
              <a:gd name="connsiteY166" fmla="*/ 399099 h 6858001"/>
              <a:gd name="connsiteX167" fmla="*/ 1330373 w 9595474"/>
              <a:gd name="connsiteY167" fmla="*/ 397194 h 6858001"/>
              <a:gd name="connsiteX168" fmla="*/ 1336285 w 9595474"/>
              <a:gd name="connsiteY168" fmla="*/ 396241 h 6858001"/>
              <a:gd name="connsiteX169" fmla="*/ 1341901 w 9595474"/>
              <a:gd name="connsiteY169" fmla="*/ 395289 h 6858001"/>
              <a:gd name="connsiteX170" fmla="*/ 1348108 w 9595474"/>
              <a:gd name="connsiteY170" fmla="*/ 394336 h 6858001"/>
              <a:gd name="connsiteX171" fmla="*/ 1353723 w 9595474"/>
              <a:gd name="connsiteY171" fmla="*/ 394019 h 6858001"/>
              <a:gd name="connsiteX172" fmla="*/ 1359930 w 9595474"/>
              <a:gd name="connsiteY172" fmla="*/ 393701 h 6858001"/>
              <a:gd name="connsiteX173" fmla="*/ 1365546 w 9595474"/>
              <a:gd name="connsiteY173" fmla="*/ 394019 h 6858001"/>
              <a:gd name="connsiteX174" fmla="*/ 1371458 w 9595474"/>
              <a:gd name="connsiteY174" fmla="*/ 394336 h 6858001"/>
              <a:gd name="connsiteX175" fmla="*/ 1377665 w 9595474"/>
              <a:gd name="connsiteY175" fmla="*/ 395289 h 6858001"/>
              <a:gd name="connsiteX176" fmla="*/ 1383281 w 9595474"/>
              <a:gd name="connsiteY176" fmla="*/ 396241 h 6858001"/>
              <a:gd name="connsiteX177" fmla="*/ 1388897 w 9595474"/>
              <a:gd name="connsiteY177" fmla="*/ 397194 h 6858001"/>
              <a:gd name="connsiteX178" fmla="*/ 1394808 w 9595474"/>
              <a:gd name="connsiteY178" fmla="*/ 399099 h 6858001"/>
              <a:gd name="connsiteX179" fmla="*/ 1400424 w 9595474"/>
              <a:gd name="connsiteY179" fmla="*/ 401004 h 6858001"/>
              <a:gd name="connsiteX180" fmla="*/ 1406335 w 9595474"/>
              <a:gd name="connsiteY180" fmla="*/ 402909 h 6858001"/>
              <a:gd name="connsiteX181" fmla="*/ 1411656 w 9595474"/>
              <a:gd name="connsiteY181" fmla="*/ 405131 h 6858001"/>
              <a:gd name="connsiteX182" fmla="*/ 1416976 w 9595474"/>
              <a:gd name="connsiteY182" fmla="*/ 407989 h 6858001"/>
              <a:gd name="connsiteX183" fmla="*/ 1422296 w 9595474"/>
              <a:gd name="connsiteY183" fmla="*/ 410846 h 6858001"/>
              <a:gd name="connsiteX184" fmla="*/ 1427617 w 9595474"/>
              <a:gd name="connsiteY184" fmla="*/ 414339 h 6858001"/>
              <a:gd name="connsiteX185" fmla="*/ 1432641 w 9595474"/>
              <a:gd name="connsiteY185" fmla="*/ 417831 h 6858001"/>
              <a:gd name="connsiteX186" fmla="*/ 1437666 w 9595474"/>
              <a:gd name="connsiteY186" fmla="*/ 421324 h 6858001"/>
              <a:gd name="connsiteX187" fmla="*/ 1442100 w 9595474"/>
              <a:gd name="connsiteY187" fmla="*/ 425769 h 6858001"/>
              <a:gd name="connsiteX188" fmla="*/ 1446829 w 9595474"/>
              <a:gd name="connsiteY188" fmla="*/ 429896 h 6858001"/>
              <a:gd name="connsiteX189" fmla="*/ 1907036 w 9595474"/>
              <a:gd name="connsiteY189" fmla="*/ 890271 h 6858001"/>
              <a:gd name="connsiteX190" fmla="*/ 2165662 w 9595474"/>
              <a:gd name="connsiteY190" fmla="*/ 1148716 h 6858001"/>
              <a:gd name="connsiteX191" fmla="*/ 2170391 w 9595474"/>
              <a:gd name="connsiteY191" fmla="*/ 1153161 h 6858001"/>
              <a:gd name="connsiteX192" fmla="*/ 2175416 w 9595474"/>
              <a:gd name="connsiteY192" fmla="*/ 1157289 h 6858001"/>
              <a:gd name="connsiteX193" fmla="*/ 2180145 w 9595474"/>
              <a:gd name="connsiteY193" fmla="*/ 1161099 h 6858001"/>
              <a:gd name="connsiteX194" fmla="*/ 2185170 w 9595474"/>
              <a:gd name="connsiteY194" fmla="*/ 1164591 h 6858001"/>
              <a:gd name="connsiteX195" fmla="*/ 2190490 w 9595474"/>
              <a:gd name="connsiteY195" fmla="*/ 1167766 h 6858001"/>
              <a:gd name="connsiteX196" fmla="*/ 2195810 w 9595474"/>
              <a:gd name="connsiteY196" fmla="*/ 1170624 h 6858001"/>
              <a:gd name="connsiteX197" fmla="*/ 2201130 w 9595474"/>
              <a:gd name="connsiteY197" fmla="*/ 1173481 h 6858001"/>
              <a:gd name="connsiteX198" fmla="*/ 2206746 w 9595474"/>
              <a:gd name="connsiteY198" fmla="*/ 1176021 h 6858001"/>
              <a:gd name="connsiteX199" fmla="*/ 2212362 w 9595474"/>
              <a:gd name="connsiteY199" fmla="*/ 1177926 h 6858001"/>
              <a:gd name="connsiteX200" fmla="*/ 2217683 w 9595474"/>
              <a:gd name="connsiteY200" fmla="*/ 1180149 h 6858001"/>
              <a:gd name="connsiteX201" fmla="*/ 2223594 w 9595474"/>
              <a:gd name="connsiteY201" fmla="*/ 1181419 h 6858001"/>
              <a:gd name="connsiteX202" fmla="*/ 2229505 w 9595474"/>
              <a:gd name="connsiteY202" fmla="*/ 1182689 h 6858001"/>
              <a:gd name="connsiteX203" fmla="*/ 2235417 w 9595474"/>
              <a:gd name="connsiteY203" fmla="*/ 1183641 h 6858001"/>
              <a:gd name="connsiteX204" fmla="*/ 2241033 w 9595474"/>
              <a:gd name="connsiteY204" fmla="*/ 1184276 h 6858001"/>
              <a:gd name="connsiteX205" fmla="*/ 2247240 w 9595474"/>
              <a:gd name="connsiteY205" fmla="*/ 1184594 h 6858001"/>
              <a:gd name="connsiteX206" fmla="*/ 2252856 w 9595474"/>
              <a:gd name="connsiteY206" fmla="*/ 1185229 h 6858001"/>
              <a:gd name="connsiteX207" fmla="*/ 2259063 w 9595474"/>
              <a:gd name="connsiteY207" fmla="*/ 1184594 h 6858001"/>
              <a:gd name="connsiteX208" fmla="*/ 2264679 w 9595474"/>
              <a:gd name="connsiteY208" fmla="*/ 1184276 h 6858001"/>
              <a:gd name="connsiteX209" fmla="*/ 2270590 w 9595474"/>
              <a:gd name="connsiteY209" fmla="*/ 1183641 h 6858001"/>
              <a:gd name="connsiteX210" fmla="*/ 2276797 w 9595474"/>
              <a:gd name="connsiteY210" fmla="*/ 1182689 h 6858001"/>
              <a:gd name="connsiteX211" fmla="*/ 2282413 w 9595474"/>
              <a:gd name="connsiteY211" fmla="*/ 1181419 h 6858001"/>
              <a:gd name="connsiteX212" fmla="*/ 2288029 w 9595474"/>
              <a:gd name="connsiteY212" fmla="*/ 1180149 h 6858001"/>
              <a:gd name="connsiteX213" fmla="*/ 2293940 w 9595474"/>
              <a:gd name="connsiteY213" fmla="*/ 1177926 h 6858001"/>
              <a:gd name="connsiteX214" fmla="*/ 2299261 w 9595474"/>
              <a:gd name="connsiteY214" fmla="*/ 1176021 h 6858001"/>
              <a:gd name="connsiteX215" fmla="*/ 2304581 w 9595474"/>
              <a:gd name="connsiteY215" fmla="*/ 1173481 h 6858001"/>
              <a:gd name="connsiteX216" fmla="*/ 2310492 w 9595474"/>
              <a:gd name="connsiteY216" fmla="*/ 1170624 h 6858001"/>
              <a:gd name="connsiteX217" fmla="*/ 2315517 w 9595474"/>
              <a:gd name="connsiteY217" fmla="*/ 1167766 h 6858001"/>
              <a:gd name="connsiteX218" fmla="*/ 2320837 w 9595474"/>
              <a:gd name="connsiteY218" fmla="*/ 1164591 h 6858001"/>
              <a:gd name="connsiteX219" fmla="*/ 2325862 w 9595474"/>
              <a:gd name="connsiteY219" fmla="*/ 1161099 h 6858001"/>
              <a:gd name="connsiteX220" fmla="*/ 2330887 w 9595474"/>
              <a:gd name="connsiteY220" fmla="*/ 1157289 h 6858001"/>
              <a:gd name="connsiteX221" fmla="*/ 2335616 w 9595474"/>
              <a:gd name="connsiteY221" fmla="*/ 1153161 h 6858001"/>
              <a:gd name="connsiteX222" fmla="*/ 2340345 w 9595474"/>
              <a:gd name="connsiteY222" fmla="*/ 1148716 h 6858001"/>
              <a:gd name="connsiteX223" fmla="*/ 2344483 w 9595474"/>
              <a:gd name="connsiteY223" fmla="*/ 1144271 h 6858001"/>
              <a:gd name="connsiteX224" fmla="*/ 2348621 w 9595474"/>
              <a:gd name="connsiteY224" fmla="*/ 1139509 h 6858001"/>
              <a:gd name="connsiteX225" fmla="*/ 2352464 w 9595474"/>
              <a:gd name="connsiteY225" fmla="*/ 1134429 h 6858001"/>
              <a:gd name="connsiteX226" fmla="*/ 2356011 w 9595474"/>
              <a:gd name="connsiteY226" fmla="*/ 1129349 h 6858001"/>
              <a:gd name="connsiteX227" fmla="*/ 2359262 w 9595474"/>
              <a:gd name="connsiteY227" fmla="*/ 1124269 h 6858001"/>
              <a:gd name="connsiteX228" fmla="*/ 2362218 w 9595474"/>
              <a:gd name="connsiteY228" fmla="*/ 1118871 h 6858001"/>
              <a:gd name="connsiteX229" fmla="*/ 2364582 w 9595474"/>
              <a:gd name="connsiteY229" fmla="*/ 1113474 h 6858001"/>
              <a:gd name="connsiteX230" fmla="*/ 2367242 w 9595474"/>
              <a:gd name="connsiteY230" fmla="*/ 1108076 h 6858001"/>
              <a:gd name="connsiteX231" fmla="*/ 2369311 w 9595474"/>
              <a:gd name="connsiteY231" fmla="*/ 1102361 h 6858001"/>
              <a:gd name="connsiteX232" fmla="*/ 2371085 w 9595474"/>
              <a:gd name="connsiteY232" fmla="*/ 1096646 h 6858001"/>
              <a:gd name="connsiteX233" fmla="*/ 2372563 w 9595474"/>
              <a:gd name="connsiteY233" fmla="*/ 1090931 h 6858001"/>
              <a:gd name="connsiteX234" fmla="*/ 2374041 w 9595474"/>
              <a:gd name="connsiteY234" fmla="*/ 1085216 h 6858001"/>
              <a:gd name="connsiteX235" fmla="*/ 2375223 w 9595474"/>
              <a:gd name="connsiteY235" fmla="*/ 1079501 h 6858001"/>
              <a:gd name="connsiteX236" fmla="*/ 2375814 w 9595474"/>
              <a:gd name="connsiteY236" fmla="*/ 1073786 h 6858001"/>
              <a:gd name="connsiteX237" fmla="*/ 2376110 w 9595474"/>
              <a:gd name="connsiteY237" fmla="*/ 1067754 h 6858001"/>
              <a:gd name="connsiteX238" fmla="*/ 2376110 w 9595474"/>
              <a:gd name="connsiteY238" fmla="*/ 1061721 h 6858001"/>
              <a:gd name="connsiteX239" fmla="*/ 2376110 w 9595474"/>
              <a:gd name="connsiteY239" fmla="*/ 1055689 h 6858001"/>
              <a:gd name="connsiteX240" fmla="*/ 2375814 w 9595474"/>
              <a:gd name="connsiteY240" fmla="*/ 1049974 h 6858001"/>
              <a:gd name="connsiteX241" fmla="*/ 2375223 w 9595474"/>
              <a:gd name="connsiteY241" fmla="*/ 1043941 h 6858001"/>
              <a:gd name="connsiteX242" fmla="*/ 2374041 w 9595474"/>
              <a:gd name="connsiteY242" fmla="*/ 1038226 h 6858001"/>
              <a:gd name="connsiteX243" fmla="*/ 2372563 w 9595474"/>
              <a:gd name="connsiteY243" fmla="*/ 1032511 h 6858001"/>
              <a:gd name="connsiteX244" fmla="*/ 2371085 w 9595474"/>
              <a:gd name="connsiteY244" fmla="*/ 1026796 h 6858001"/>
              <a:gd name="connsiteX245" fmla="*/ 2369311 w 9595474"/>
              <a:gd name="connsiteY245" fmla="*/ 1021081 h 6858001"/>
              <a:gd name="connsiteX246" fmla="*/ 2367242 w 9595474"/>
              <a:gd name="connsiteY246" fmla="*/ 1015684 h 6858001"/>
              <a:gd name="connsiteX247" fmla="*/ 2364582 w 9595474"/>
              <a:gd name="connsiteY247" fmla="*/ 1009651 h 6858001"/>
              <a:gd name="connsiteX248" fmla="*/ 2362218 w 9595474"/>
              <a:gd name="connsiteY248" fmla="*/ 1004254 h 6858001"/>
              <a:gd name="connsiteX249" fmla="*/ 2359262 w 9595474"/>
              <a:gd name="connsiteY249" fmla="*/ 998856 h 6858001"/>
              <a:gd name="connsiteX250" fmla="*/ 2356011 w 9595474"/>
              <a:gd name="connsiteY250" fmla="*/ 994094 h 6858001"/>
              <a:gd name="connsiteX251" fmla="*/ 2352464 w 9595474"/>
              <a:gd name="connsiteY251" fmla="*/ 989014 h 6858001"/>
              <a:gd name="connsiteX252" fmla="*/ 2348621 w 9595474"/>
              <a:gd name="connsiteY252" fmla="*/ 983934 h 6858001"/>
              <a:gd name="connsiteX253" fmla="*/ 2344483 w 9595474"/>
              <a:gd name="connsiteY253" fmla="*/ 979171 h 6858001"/>
              <a:gd name="connsiteX254" fmla="*/ 2340345 w 9595474"/>
              <a:gd name="connsiteY254" fmla="*/ 974726 h 6858001"/>
              <a:gd name="connsiteX255" fmla="*/ 2240737 w 9595474"/>
              <a:gd name="connsiteY255" fmla="*/ 875031 h 6858001"/>
              <a:gd name="connsiteX256" fmla="*/ 1991865 w 9595474"/>
              <a:gd name="connsiteY256" fmla="*/ 626429 h 6858001"/>
              <a:gd name="connsiteX257" fmla="*/ 1987431 w 9595474"/>
              <a:gd name="connsiteY257" fmla="*/ 621666 h 6858001"/>
              <a:gd name="connsiteX258" fmla="*/ 1983589 w 9595474"/>
              <a:gd name="connsiteY258" fmla="*/ 616904 h 6858001"/>
              <a:gd name="connsiteX259" fmla="*/ 1979451 w 9595474"/>
              <a:gd name="connsiteY259" fmla="*/ 612141 h 6858001"/>
              <a:gd name="connsiteX260" fmla="*/ 1975904 w 9595474"/>
              <a:gd name="connsiteY260" fmla="*/ 607061 h 6858001"/>
              <a:gd name="connsiteX261" fmla="*/ 1972653 w 9595474"/>
              <a:gd name="connsiteY261" fmla="*/ 601664 h 6858001"/>
              <a:gd name="connsiteX262" fmla="*/ 1969993 w 9595474"/>
              <a:gd name="connsiteY262" fmla="*/ 596266 h 6858001"/>
              <a:gd name="connsiteX263" fmla="*/ 1967037 w 9595474"/>
              <a:gd name="connsiteY263" fmla="*/ 590869 h 6858001"/>
              <a:gd name="connsiteX264" fmla="*/ 1964968 w 9595474"/>
              <a:gd name="connsiteY264" fmla="*/ 585471 h 6858001"/>
              <a:gd name="connsiteX265" fmla="*/ 1962603 w 9595474"/>
              <a:gd name="connsiteY265" fmla="*/ 579756 h 6858001"/>
              <a:gd name="connsiteX266" fmla="*/ 1960830 w 9595474"/>
              <a:gd name="connsiteY266" fmla="*/ 574359 h 6858001"/>
              <a:gd name="connsiteX267" fmla="*/ 1959056 w 9595474"/>
              <a:gd name="connsiteY267" fmla="*/ 568644 h 6858001"/>
              <a:gd name="connsiteX268" fmla="*/ 1958170 w 9595474"/>
              <a:gd name="connsiteY268" fmla="*/ 562611 h 6858001"/>
              <a:gd name="connsiteX269" fmla="*/ 1956987 w 9595474"/>
              <a:gd name="connsiteY269" fmla="*/ 556896 h 6858001"/>
              <a:gd name="connsiteX270" fmla="*/ 1956396 w 9595474"/>
              <a:gd name="connsiteY270" fmla="*/ 551181 h 6858001"/>
              <a:gd name="connsiteX271" fmla="*/ 1955805 w 9595474"/>
              <a:gd name="connsiteY271" fmla="*/ 544831 h 6858001"/>
              <a:gd name="connsiteX272" fmla="*/ 1955805 w 9595474"/>
              <a:gd name="connsiteY272" fmla="*/ 539116 h 6858001"/>
              <a:gd name="connsiteX273" fmla="*/ 1955805 w 9595474"/>
              <a:gd name="connsiteY273" fmla="*/ 533084 h 6858001"/>
              <a:gd name="connsiteX274" fmla="*/ 1956396 w 9595474"/>
              <a:gd name="connsiteY274" fmla="*/ 527369 h 6858001"/>
              <a:gd name="connsiteX275" fmla="*/ 1956987 w 9595474"/>
              <a:gd name="connsiteY275" fmla="*/ 521654 h 6858001"/>
              <a:gd name="connsiteX276" fmla="*/ 1958170 w 9595474"/>
              <a:gd name="connsiteY276" fmla="*/ 515621 h 6858001"/>
              <a:gd name="connsiteX277" fmla="*/ 1959056 w 9595474"/>
              <a:gd name="connsiteY277" fmla="*/ 509589 h 6858001"/>
              <a:gd name="connsiteX278" fmla="*/ 1960830 w 9595474"/>
              <a:gd name="connsiteY278" fmla="*/ 503874 h 6858001"/>
              <a:gd name="connsiteX279" fmla="*/ 1962603 w 9595474"/>
              <a:gd name="connsiteY279" fmla="*/ 498159 h 6858001"/>
              <a:gd name="connsiteX280" fmla="*/ 1964968 w 9595474"/>
              <a:gd name="connsiteY280" fmla="*/ 492761 h 6858001"/>
              <a:gd name="connsiteX281" fmla="*/ 1967037 w 9595474"/>
              <a:gd name="connsiteY281" fmla="*/ 487364 h 6858001"/>
              <a:gd name="connsiteX282" fmla="*/ 1969993 w 9595474"/>
              <a:gd name="connsiteY282" fmla="*/ 481649 h 6858001"/>
              <a:gd name="connsiteX283" fmla="*/ 1972653 w 9595474"/>
              <a:gd name="connsiteY283" fmla="*/ 476569 h 6858001"/>
              <a:gd name="connsiteX284" fmla="*/ 1975904 w 9595474"/>
              <a:gd name="connsiteY284" fmla="*/ 471171 h 6858001"/>
              <a:gd name="connsiteX285" fmla="*/ 1979451 w 9595474"/>
              <a:gd name="connsiteY285" fmla="*/ 466409 h 6858001"/>
              <a:gd name="connsiteX286" fmla="*/ 1983589 w 9595474"/>
              <a:gd name="connsiteY286" fmla="*/ 461329 h 6858001"/>
              <a:gd name="connsiteX287" fmla="*/ 1987431 w 9595474"/>
              <a:gd name="connsiteY287" fmla="*/ 456566 h 6858001"/>
              <a:gd name="connsiteX288" fmla="*/ 1991865 w 9595474"/>
              <a:gd name="connsiteY288" fmla="*/ 451804 h 6858001"/>
              <a:gd name="connsiteX289" fmla="*/ 1996594 w 9595474"/>
              <a:gd name="connsiteY289" fmla="*/ 447676 h 6858001"/>
              <a:gd name="connsiteX290" fmla="*/ 2001028 w 9595474"/>
              <a:gd name="connsiteY290" fmla="*/ 443549 h 6858001"/>
              <a:gd name="connsiteX291" fmla="*/ 2006052 w 9595474"/>
              <a:gd name="connsiteY291" fmla="*/ 439739 h 6858001"/>
              <a:gd name="connsiteX292" fmla="*/ 2011077 w 9595474"/>
              <a:gd name="connsiteY292" fmla="*/ 436246 h 6858001"/>
              <a:gd name="connsiteX293" fmla="*/ 2016102 w 9595474"/>
              <a:gd name="connsiteY293" fmla="*/ 432754 h 6858001"/>
              <a:gd name="connsiteX294" fmla="*/ 2021718 w 9595474"/>
              <a:gd name="connsiteY294" fmla="*/ 429896 h 6858001"/>
              <a:gd name="connsiteX295" fmla="*/ 2027038 w 9595474"/>
              <a:gd name="connsiteY295" fmla="*/ 427356 h 6858001"/>
              <a:gd name="connsiteX296" fmla="*/ 2032654 w 9595474"/>
              <a:gd name="connsiteY296" fmla="*/ 424816 h 6858001"/>
              <a:gd name="connsiteX297" fmla="*/ 2038270 w 9595474"/>
              <a:gd name="connsiteY297" fmla="*/ 422911 h 6858001"/>
              <a:gd name="connsiteX298" fmla="*/ 2043886 w 9595474"/>
              <a:gd name="connsiteY298" fmla="*/ 421006 h 6858001"/>
              <a:gd name="connsiteX299" fmla="*/ 2049502 w 9595474"/>
              <a:gd name="connsiteY299" fmla="*/ 419736 h 6858001"/>
              <a:gd name="connsiteX300" fmla="*/ 2055413 w 9595474"/>
              <a:gd name="connsiteY300" fmla="*/ 418149 h 6858001"/>
              <a:gd name="connsiteX301" fmla="*/ 2061029 w 9595474"/>
              <a:gd name="connsiteY301" fmla="*/ 417196 h 6858001"/>
              <a:gd name="connsiteX302" fmla="*/ 2067236 w 9595474"/>
              <a:gd name="connsiteY302" fmla="*/ 416244 h 6858001"/>
              <a:gd name="connsiteX303" fmla="*/ 2072852 w 9595474"/>
              <a:gd name="connsiteY303" fmla="*/ 415926 h 6858001"/>
              <a:gd name="connsiteX304" fmla="*/ 2079059 w 9595474"/>
              <a:gd name="connsiteY304" fmla="*/ 415926 h 6858001"/>
              <a:gd name="connsiteX305" fmla="*/ 2084970 w 9595474"/>
              <a:gd name="connsiteY305" fmla="*/ 415926 h 6858001"/>
              <a:gd name="connsiteX306" fmla="*/ 2090882 w 9595474"/>
              <a:gd name="connsiteY306" fmla="*/ 416244 h 6858001"/>
              <a:gd name="connsiteX307" fmla="*/ 2096793 w 9595474"/>
              <a:gd name="connsiteY307" fmla="*/ 417196 h 6858001"/>
              <a:gd name="connsiteX308" fmla="*/ 2102409 w 9595474"/>
              <a:gd name="connsiteY308" fmla="*/ 418149 h 6858001"/>
              <a:gd name="connsiteX309" fmla="*/ 2108321 w 9595474"/>
              <a:gd name="connsiteY309" fmla="*/ 419736 h 6858001"/>
              <a:gd name="connsiteX310" fmla="*/ 2113936 w 9595474"/>
              <a:gd name="connsiteY310" fmla="*/ 421006 h 6858001"/>
              <a:gd name="connsiteX311" fmla="*/ 2119552 w 9595474"/>
              <a:gd name="connsiteY311" fmla="*/ 422911 h 6858001"/>
              <a:gd name="connsiteX312" fmla="*/ 2125464 w 9595474"/>
              <a:gd name="connsiteY312" fmla="*/ 424816 h 6858001"/>
              <a:gd name="connsiteX313" fmla="*/ 2130784 w 9595474"/>
              <a:gd name="connsiteY313" fmla="*/ 427356 h 6858001"/>
              <a:gd name="connsiteX314" fmla="*/ 2136104 w 9595474"/>
              <a:gd name="connsiteY314" fmla="*/ 429896 h 6858001"/>
              <a:gd name="connsiteX315" fmla="*/ 2141720 w 9595474"/>
              <a:gd name="connsiteY315" fmla="*/ 432754 h 6858001"/>
              <a:gd name="connsiteX316" fmla="*/ 2146745 w 9595474"/>
              <a:gd name="connsiteY316" fmla="*/ 436246 h 6858001"/>
              <a:gd name="connsiteX317" fmla="*/ 2152065 w 9595474"/>
              <a:gd name="connsiteY317" fmla="*/ 439739 h 6858001"/>
              <a:gd name="connsiteX318" fmla="*/ 2156795 w 9595474"/>
              <a:gd name="connsiteY318" fmla="*/ 443549 h 6858001"/>
              <a:gd name="connsiteX319" fmla="*/ 2161819 w 9595474"/>
              <a:gd name="connsiteY319" fmla="*/ 447676 h 6858001"/>
              <a:gd name="connsiteX320" fmla="*/ 2165957 w 9595474"/>
              <a:gd name="connsiteY320" fmla="*/ 451804 h 6858001"/>
              <a:gd name="connsiteX321" fmla="*/ 2966073 w 9595474"/>
              <a:gd name="connsiteY321" fmla="*/ 1251904 h 6858001"/>
              <a:gd name="connsiteX322" fmla="*/ 5612631 w 9595474"/>
              <a:gd name="connsiteY322" fmla="*/ 3898584 h 6858001"/>
              <a:gd name="connsiteX323" fmla="*/ 5617360 w 9595474"/>
              <a:gd name="connsiteY323" fmla="*/ 3903346 h 6858001"/>
              <a:gd name="connsiteX324" fmla="*/ 5621498 w 9595474"/>
              <a:gd name="connsiteY324" fmla="*/ 3908426 h 6858001"/>
              <a:gd name="connsiteX325" fmla="*/ 5625341 w 9595474"/>
              <a:gd name="connsiteY325" fmla="*/ 3913506 h 6858001"/>
              <a:gd name="connsiteX326" fmla="*/ 5628888 w 9595474"/>
              <a:gd name="connsiteY326" fmla="*/ 3918586 h 6858001"/>
              <a:gd name="connsiteX327" fmla="*/ 5632139 w 9595474"/>
              <a:gd name="connsiteY327" fmla="*/ 3923349 h 6858001"/>
              <a:gd name="connsiteX328" fmla="*/ 5635094 w 9595474"/>
              <a:gd name="connsiteY328" fmla="*/ 3928746 h 6858001"/>
              <a:gd name="connsiteX329" fmla="*/ 5638050 w 9595474"/>
              <a:gd name="connsiteY329" fmla="*/ 3934461 h 6858001"/>
              <a:gd name="connsiteX330" fmla="*/ 5640415 w 9595474"/>
              <a:gd name="connsiteY330" fmla="*/ 3939859 h 6858001"/>
              <a:gd name="connsiteX331" fmla="*/ 5642484 w 9595474"/>
              <a:gd name="connsiteY331" fmla="*/ 3945891 h 6858001"/>
              <a:gd name="connsiteX332" fmla="*/ 5644257 w 9595474"/>
              <a:gd name="connsiteY332" fmla="*/ 3951606 h 6858001"/>
              <a:gd name="connsiteX333" fmla="*/ 5645735 w 9595474"/>
              <a:gd name="connsiteY333" fmla="*/ 3957321 h 6858001"/>
              <a:gd name="connsiteX334" fmla="*/ 5647213 w 9595474"/>
              <a:gd name="connsiteY334" fmla="*/ 3963354 h 6858001"/>
              <a:gd name="connsiteX335" fmla="*/ 5648100 w 9595474"/>
              <a:gd name="connsiteY335" fmla="*/ 3969069 h 6858001"/>
              <a:gd name="connsiteX336" fmla="*/ 5648691 w 9595474"/>
              <a:gd name="connsiteY336" fmla="*/ 3975101 h 6858001"/>
              <a:gd name="connsiteX337" fmla="*/ 5649282 w 9595474"/>
              <a:gd name="connsiteY337" fmla="*/ 3980816 h 6858001"/>
              <a:gd name="connsiteX338" fmla="*/ 5649282 w 9595474"/>
              <a:gd name="connsiteY338" fmla="*/ 3987166 h 6858001"/>
              <a:gd name="connsiteX339" fmla="*/ 5649282 w 9595474"/>
              <a:gd name="connsiteY339" fmla="*/ 3992881 h 6858001"/>
              <a:gd name="connsiteX340" fmla="*/ 5648691 w 9595474"/>
              <a:gd name="connsiteY340" fmla="*/ 3998914 h 6858001"/>
              <a:gd name="connsiteX341" fmla="*/ 5648100 w 9595474"/>
              <a:gd name="connsiteY341" fmla="*/ 4004946 h 6858001"/>
              <a:gd name="connsiteX342" fmla="*/ 5647213 w 9595474"/>
              <a:gd name="connsiteY342" fmla="*/ 4010661 h 6858001"/>
              <a:gd name="connsiteX343" fmla="*/ 5645735 w 9595474"/>
              <a:gd name="connsiteY343" fmla="*/ 4016376 h 6858001"/>
              <a:gd name="connsiteX344" fmla="*/ 5644257 w 9595474"/>
              <a:gd name="connsiteY344" fmla="*/ 4022726 h 6858001"/>
              <a:gd name="connsiteX345" fmla="*/ 5642484 w 9595474"/>
              <a:gd name="connsiteY345" fmla="*/ 4028441 h 6858001"/>
              <a:gd name="connsiteX346" fmla="*/ 5640415 w 9595474"/>
              <a:gd name="connsiteY346" fmla="*/ 4033839 h 6858001"/>
              <a:gd name="connsiteX347" fmla="*/ 5638050 w 9595474"/>
              <a:gd name="connsiteY347" fmla="*/ 4039554 h 6858001"/>
              <a:gd name="connsiteX348" fmla="*/ 5635094 w 9595474"/>
              <a:gd name="connsiteY348" fmla="*/ 4044951 h 6858001"/>
              <a:gd name="connsiteX349" fmla="*/ 5632139 w 9595474"/>
              <a:gd name="connsiteY349" fmla="*/ 4050349 h 6858001"/>
              <a:gd name="connsiteX350" fmla="*/ 5628888 w 9595474"/>
              <a:gd name="connsiteY350" fmla="*/ 4055746 h 6858001"/>
              <a:gd name="connsiteX351" fmla="*/ 5625341 w 9595474"/>
              <a:gd name="connsiteY351" fmla="*/ 4060826 h 6858001"/>
              <a:gd name="connsiteX352" fmla="*/ 5621498 w 9595474"/>
              <a:gd name="connsiteY352" fmla="*/ 4065589 h 6858001"/>
              <a:gd name="connsiteX353" fmla="*/ 5617360 w 9595474"/>
              <a:gd name="connsiteY353" fmla="*/ 4070351 h 6858001"/>
              <a:gd name="connsiteX354" fmla="*/ 5612631 w 9595474"/>
              <a:gd name="connsiteY354" fmla="*/ 4075114 h 6858001"/>
              <a:gd name="connsiteX355" fmla="*/ 5608198 w 9595474"/>
              <a:gd name="connsiteY355" fmla="*/ 4079876 h 6858001"/>
              <a:gd name="connsiteX356" fmla="*/ 5603468 w 9595474"/>
              <a:gd name="connsiteY356" fmla="*/ 4083686 h 6858001"/>
              <a:gd name="connsiteX357" fmla="*/ 5598443 w 9595474"/>
              <a:gd name="connsiteY357" fmla="*/ 4087496 h 6858001"/>
              <a:gd name="connsiteX358" fmla="*/ 5593419 w 9595474"/>
              <a:gd name="connsiteY358" fmla="*/ 4091306 h 6858001"/>
              <a:gd name="connsiteX359" fmla="*/ 5588098 w 9595474"/>
              <a:gd name="connsiteY359" fmla="*/ 4094481 h 6858001"/>
              <a:gd name="connsiteX360" fmla="*/ 5582482 w 9595474"/>
              <a:gd name="connsiteY360" fmla="*/ 4097339 h 6858001"/>
              <a:gd name="connsiteX361" fmla="*/ 5577162 w 9595474"/>
              <a:gd name="connsiteY361" fmla="*/ 4100196 h 6858001"/>
              <a:gd name="connsiteX362" fmla="*/ 5571842 w 9595474"/>
              <a:gd name="connsiteY362" fmla="*/ 4102419 h 6858001"/>
              <a:gd name="connsiteX363" fmla="*/ 5565931 w 9595474"/>
              <a:gd name="connsiteY363" fmla="*/ 4104641 h 6858001"/>
              <a:gd name="connsiteX364" fmla="*/ 5560315 w 9595474"/>
              <a:gd name="connsiteY364" fmla="*/ 4106546 h 6858001"/>
              <a:gd name="connsiteX365" fmla="*/ 5554699 w 9595474"/>
              <a:gd name="connsiteY365" fmla="*/ 4108134 h 6858001"/>
              <a:gd name="connsiteX366" fmla="*/ 5548492 w 9595474"/>
              <a:gd name="connsiteY366" fmla="*/ 4109404 h 6858001"/>
              <a:gd name="connsiteX367" fmla="*/ 5542580 w 9595474"/>
              <a:gd name="connsiteY367" fmla="*/ 4110356 h 6858001"/>
              <a:gd name="connsiteX368" fmla="*/ 5536669 w 9595474"/>
              <a:gd name="connsiteY368" fmla="*/ 4110991 h 6858001"/>
              <a:gd name="connsiteX369" fmla="*/ 5530758 w 9595474"/>
              <a:gd name="connsiteY369" fmla="*/ 4111309 h 6858001"/>
              <a:gd name="connsiteX370" fmla="*/ 5524846 w 9595474"/>
              <a:gd name="connsiteY370" fmla="*/ 4111626 h 6858001"/>
              <a:gd name="connsiteX371" fmla="*/ 5518639 w 9595474"/>
              <a:gd name="connsiteY371" fmla="*/ 4111309 h 6858001"/>
              <a:gd name="connsiteX372" fmla="*/ 5513023 w 9595474"/>
              <a:gd name="connsiteY372" fmla="*/ 4110991 h 6858001"/>
              <a:gd name="connsiteX373" fmla="*/ 5506816 w 9595474"/>
              <a:gd name="connsiteY373" fmla="*/ 4110356 h 6858001"/>
              <a:gd name="connsiteX374" fmla="*/ 5501200 w 9595474"/>
              <a:gd name="connsiteY374" fmla="*/ 4109404 h 6858001"/>
              <a:gd name="connsiteX375" fmla="*/ 5494993 w 9595474"/>
              <a:gd name="connsiteY375" fmla="*/ 4108134 h 6858001"/>
              <a:gd name="connsiteX376" fmla="*/ 5489081 w 9595474"/>
              <a:gd name="connsiteY376" fmla="*/ 4106546 h 6858001"/>
              <a:gd name="connsiteX377" fmla="*/ 5483466 w 9595474"/>
              <a:gd name="connsiteY377" fmla="*/ 4104641 h 6858001"/>
              <a:gd name="connsiteX378" fmla="*/ 5477850 w 9595474"/>
              <a:gd name="connsiteY378" fmla="*/ 4102419 h 6858001"/>
              <a:gd name="connsiteX379" fmla="*/ 5472234 w 9595474"/>
              <a:gd name="connsiteY379" fmla="*/ 4100196 h 6858001"/>
              <a:gd name="connsiteX380" fmla="*/ 5466913 w 9595474"/>
              <a:gd name="connsiteY380" fmla="*/ 4097339 h 6858001"/>
              <a:gd name="connsiteX381" fmla="*/ 5461593 w 9595474"/>
              <a:gd name="connsiteY381" fmla="*/ 4094481 h 6858001"/>
              <a:gd name="connsiteX382" fmla="*/ 5456273 w 9595474"/>
              <a:gd name="connsiteY382" fmla="*/ 4091306 h 6858001"/>
              <a:gd name="connsiteX383" fmla="*/ 5451248 w 9595474"/>
              <a:gd name="connsiteY383" fmla="*/ 4087496 h 6858001"/>
              <a:gd name="connsiteX384" fmla="*/ 5446223 w 9595474"/>
              <a:gd name="connsiteY384" fmla="*/ 4083686 h 6858001"/>
              <a:gd name="connsiteX385" fmla="*/ 5441495 w 9595474"/>
              <a:gd name="connsiteY385" fmla="*/ 4079876 h 6858001"/>
              <a:gd name="connsiteX386" fmla="*/ 5436765 w 9595474"/>
              <a:gd name="connsiteY386" fmla="*/ 4075114 h 6858001"/>
              <a:gd name="connsiteX387" fmla="*/ 5322379 w 9595474"/>
              <a:gd name="connsiteY387" fmla="*/ 3960814 h 6858001"/>
              <a:gd name="connsiteX388" fmla="*/ 5317945 w 9595474"/>
              <a:gd name="connsiteY388" fmla="*/ 3956369 h 6858001"/>
              <a:gd name="connsiteX389" fmla="*/ 5312921 w 9595474"/>
              <a:gd name="connsiteY389" fmla="*/ 3952241 h 6858001"/>
              <a:gd name="connsiteX390" fmla="*/ 5307896 w 9595474"/>
              <a:gd name="connsiteY390" fmla="*/ 3948749 h 6858001"/>
              <a:gd name="connsiteX391" fmla="*/ 5302871 w 9595474"/>
              <a:gd name="connsiteY391" fmla="*/ 3944939 h 6858001"/>
              <a:gd name="connsiteX392" fmla="*/ 5297255 w 9595474"/>
              <a:gd name="connsiteY392" fmla="*/ 3941764 h 6858001"/>
              <a:gd name="connsiteX393" fmla="*/ 5292230 w 9595474"/>
              <a:gd name="connsiteY393" fmla="*/ 3938589 h 6858001"/>
              <a:gd name="connsiteX394" fmla="*/ 5286615 w 9595474"/>
              <a:gd name="connsiteY394" fmla="*/ 3936049 h 6858001"/>
              <a:gd name="connsiteX395" fmla="*/ 5281294 w 9595474"/>
              <a:gd name="connsiteY395" fmla="*/ 3933509 h 6858001"/>
              <a:gd name="connsiteX396" fmla="*/ 5275383 w 9595474"/>
              <a:gd name="connsiteY396" fmla="*/ 3931286 h 6858001"/>
              <a:gd name="connsiteX397" fmla="*/ 5269767 w 9595474"/>
              <a:gd name="connsiteY397" fmla="*/ 3929699 h 6858001"/>
              <a:gd name="connsiteX398" fmla="*/ 5263855 w 9595474"/>
              <a:gd name="connsiteY398" fmla="*/ 3927794 h 6858001"/>
              <a:gd name="connsiteX399" fmla="*/ 5257944 w 9595474"/>
              <a:gd name="connsiteY399" fmla="*/ 3926841 h 6858001"/>
              <a:gd name="connsiteX400" fmla="*/ 5252033 w 9595474"/>
              <a:gd name="connsiteY400" fmla="*/ 3925571 h 6858001"/>
              <a:gd name="connsiteX401" fmla="*/ 5246121 w 9595474"/>
              <a:gd name="connsiteY401" fmla="*/ 3924936 h 6858001"/>
              <a:gd name="connsiteX402" fmla="*/ 5240210 w 9595474"/>
              <a:gd name="connsiteY402" fmla="*/ 3924619 h 6858001"/>
              <a:gd name="connsiteX403" fmla="*/ 5234298 w 9595474"/>
              <a:gd name="connsiteY403" fmla="*/ 3924619 h 6858001"/>
              <a:gd name="connsiteX404" fmla="*/ 5228091 w 9595474"/>
              <a:gd name="connsiteY404" fmla="*/ 3924619 h 6858001"/>
              <a:gd name="connsiteX405" fmla="*/ 5222180 w 9595474"/>
              <a:gd name="connsiteY405" fmla="*/ 3924936 h 6858001"/>
              <a:gd name="connsiteX406" fmla="*/ 5216268 w 9595474"/>
              <a:gd name="connsiteY406" fmla="*/ 3925571 h 6858001"/>
              <a:gd name="connsiteX407" fmla="*/ 5210357 w 9595474"/>
              <a:gd name="connsiteY407" fmla="*/ 3926841 h 6858001"/>
              <a:gd name="connsiteX408" fmla="*/ 5204741 w 9595474"/>
              <a:gd name="connsiteY408" fmla="*/ 3927794 h 6858001"/>
              <a:gd name="connsiteX409" fmla="*/ 5198534 w 9595474"/>
              <a:gd name="connsiteY409" fmla="*/ 3929699 h 6858001"/>
              <a:gd name="connsiteX410" fmla="*/ 5192918 w 9595474"/>
              <a:gd name="connsiteY410" fmla="*/ 3931286 h 6858001"/>
              <a:gd name="connsiteX411" fmla="*/ 5187598 w 9595474"/>
              <a:gd name="connsiteY411" fmla="*/ 3933509 h 6858001"/>
              <a:gd name="connsiteX412" fmla="*/ 5181686 w 9595474"/>
              <a:gd name="connsiteY412" fmla="*/ 3936049 h 6858001"/>
              <a:gd name="connsiteX413" fmla="*/ 5176366 w 9595474"/>
              <a:gd name="connsiteY413" fmla="*/ 3938589 h 6858001"/>
              <a:gd name="connsiteX414" fmla="*/ 5171046 w 9595474"/>
              <a:gd name="connsiteY414" fmla="*/ 3941764 h 6858001"/>
              <a:gd name="connsiteX415" fmla="*/ 5165430 w 9595474"/>
              <a:gd name="connsiteY415" fmla="*/ 3944939 h 6858001"/>
              <a:gd name="connsiteX416" fmla="*/ 5160405 w 9595474"/>
              <a:gd name="connsiteY416" fmla="*/ 3948749 h 6858001"/>
              <a:gd name="connsiteX417" fmla="*/ 5155380 w 9595474"/>
              <a:gd name="connsiteY417" fmla="*/ 3952241 h 6858001"/>
              <a:gd name="connsiteX418" fmla="*/ 5150947 w 9595474"/>
              <a:gd name="connsiteY418" fmla="*/ 3956369 h 6858001"/>
              <a:gd name="connsiteX419" fmla="*/ 5146218 w 9595474"/>
              <a:gd name="connsiteY419" fmla="*/ 3960814 h 6858001"/>
              <a:gd name="connsiteX420" fmla="*/ 5141488 w 9595474"/>
              <a:gd name="connsiteY420" fmla="*/ 3965576 h 6858001"/>
              <a:gd name="connsiteX421" fmla="*/ 5137646 w 9595474"/>
              <a:gd name="connsiteY421" fmla="*/ 3970656 h 6858001"/>
              <a:gd name="connsiteX422" fmla="*/ 5133508 w 9595474"/>
              <a:gd name="connsiteY422" fmla="*/ 3975101 h 6858001"/>
              <a:gd name="connsiteX423" fmla="*/ 5129961 w 9595474"/>
              <a:gd name="connsiteY423" fmla="*/ 3980499 h 6858001"/>
              <a:gd name="connsiteX424" fmla="*/ 5126710 w 9595474"/>
              <a:gd name="connsiteY424" fmla="*/ 3985579 h 6858001"/>
              <a:gd name="connsiteX425" fmla="*/ 5123754 w 9595474"/>
              <a:gd name="connsiteY425" fmla="*/ 3990976 h 6858001"/>
              <a:gd name="connsiteX426" fmla="*/ 5121094 w 9595474"/>
              <a:gd name="connsiteY426" fmla="*/ 3996374 h 6858001"/>
              <a:gd name="connsiteX427" fmla="*/ 5118729 w 9595474"/>
              <a:gd name="connsiteY427" fmla="*/ 4002089 h 6858001"/>
              <a:gd name="connsiteX428" fmla="*/ 5116660 w 9595474"/>
              <a:gd name="connsiteY428" fmla="*/ 4007804 h 6858001"/>
              <a:gd name="connsiteX429" fmla="*/ 5114591 w 9595474"/>
              <a:gd name="connsiteY429" fmla="*/ 4013519 h 6858001"/>
              <a:gd name="connsiteX430" fmla="*/ 5113113 w 9595474"/>
              <a:gd name="connsiteY430" fmla="*/ 4019234 h 6858001"/>
              <a:gd name="connsiteX431" fmla="*/ 5111636 w 9595474"/>
              <a:gd name="connsiteY431" fmla="*/ 4025266 h 6858001"/>
              <a:gd name="connsiteX432" fmla="*/ 5111044 w 9595474"/>
              <a:gd name="connsiteY432" fmla="*/ 4031299 h 6858001"/>
              <a:gd name="connsiteX433" fmla="*/ 5110158 w 9595474"/>
              <a:gd name="connsiteY433" fmla="*/ 4037014 h 6858001"/>
              <a:gd name="connsiteX434" fmla="*/ 5109862 w 9595474"/>
              <a:gd name="connsiteY434" fmla="*/ 4043046 h 6858001"/>
              <a:gd name="connsiteX435" fmla="*/ 5109567 w 9595474"/>
              <a:gd name="connsiteY435" fmla="*/ 4049079 h 6858001"/>
              <a:gd name="connsiteX436" fmla="*/ 5109862 w 9595474"/>
              <a:gd name="connsiteY436" fmla="*/ 4055111 h 6858001"/>
              <a:gd name="connsiteX437" fmla="*/ 5110158 w 9595474"/>
              <a:gd name="connsiteY437" fmla="*/ 4061144 h 6858001"/>
              <a:gd name="connsiteX438" fmla="*/ 5111044 w 9595474"/>
              <a:gd name="connsiteY438" fmla="*/ 4066859 h 6858001"/>
              <a:gd name="connsiteX439" fmla="*/ 5111636 w 9595474"/>
              <a:gd name="connsiteY439" fmla="*/ 4072891 h 6858001"/>
              <a:gd name="connsiteX440" fmla="*/ 5113113 w 9595474"/>
              <a:gd name="connsiteY440" fmla="*/ 4078606 h 6858001"/>
              <a:gd name="connsiteX441" fmla="*/ 5114591 w 9595474"/>
              <a:gd name="connsiteY441" fmla="*/ 4084321 h 6858001"/>
              <a:gd name="connsiteX442" fmla="*/ 5116660 w 9595474"/>
              <a:gd name="connsiteY442" fmla="*/ 4090036 h 6858001"/>
              <a:gd name="connsiteX443" fmla="*/ 5118729 w 9595474"/>
              <a:gd name="connsiteY443" fmla="*/ 4095751 h 6858001"/>
              <a:gd name="connsiteX444" fmla="*/ 5121094 w 9595474"/>
              <a:gd name="connsiteY444" fmla="*/ 4101784 h 6858001"/>
              <a:gd name="connsiteX445" fmla="*/ 5123754 w 9595474"/>
              <a:gd name="connsiteY445" fmla="*/ 4107181 h 6858001"/>
              <a:gd name="connsiteX446" fmla="*/ 5126710 w 9595474"/>
              <a:gd name="connsiteY446" fmla="*/ 4112579 h 6858001"/>
              <a:gd name="connsiteX447" fmla="*/ 5129961 w 9595474"/>
              <a:gd name="connsiteY447" fmla="*/ 4117976 h 6858001"/>
              <a:gd name="connsiteX448" fmla="*/ 5133508 w 9595474"/>
              <a:gd name="connsiteY448" fmla="*/ 4122739 h 6858001"/>
              <a:gd name="connsiteX449" fmla="*/ 5137646 w 9595474"/>
              <a:gd name="connsiteY449" fmla="*/ 4127819 h 6858001"/>
              <a:gd name="connsiteX450" fmla="*/ 5141488 w 9595474"/>
              <a:gd name="connsiteY450" fmla="*/ 4132581 h 6858001"/>
              <a:gd name="connsiteX451" fmla="*/ 5146218 w 9595474"/>
              <a:gd name="connsiteY451" fmla="*/ 4137344 h 6858001"/>
              <a:gd name="connsiteX452" fmla="*/ 5870075 w 9595474"/>
              <a:gd name="connsiteY452" fmla="*/ 4860926 h 6858001"/>
              <a:gd name="connsiteX453" fmla="*/ 5874509 w 9595474"/>
              <a:gd name="connsiteY453" fmla="*/ 4865689 h 6858001"/>
              <a:gd name="connsiteX454" fmla="*/ 5878646 w 9595474"/>
              <a:gd name="connsiteY454" fmla="*/ 4870769 h 6858001"/>
              <a:gd name="connsiteX455" fmla="*/ 5882489 w 9595474"/>
              <a:gd name="connsiteY455" fmla="*/ 4875849 h 6858001"/>
              <a:gd name="connsiteX456" fmla="*/ 5886036 w 9595474"/>
              <a:gd name="connsiteY456" fmla="*/ 4880929 h 6858001"/>
              <a:gd name="connsiteX457" fmla="*/ 5889287 w 9595474"/>
              <a:gd name="connsiteY457" fmla="*/ 4885691 h 6858001"/>
              <a:gd name="connsiteX458" fmla="*/ 5892243 w 9595474"/>
              <a:gd name="connsiteY458" fmla="*/ 4891089 h 6858001"/>
              <a:gd name="connsiteX459" fmla="*/ 5895199 w 9595474"/>
              <a:gd name="connsiteY459" fmla="*/ 4897121 h 6858001"/>
              <a:gd name="connsiteX460" fmla="*/ 5897268 w 9595474"/>
              <a:gd name="connsiteY460" fmla="*/ 4902519 h 6858001"/>
              <a:gd name="connsiteX461" fmla="*/ 5899336 w 9595474"/>
              <a:gd name="connsiteY461" fmla="*/ 4908234 h 6858001"/>
              <a:gd name="connsiteX462" fmla="*/ 5901701 w 9595474"/>
              <a:gd name="connsiteY462" fmla="*/ 4913949 h 6858001"/>
              <a:gd name="connsiteX463" fmla="*/ 5902883 w 9595474"/>
              <a:gd name="connsiteY463" fmla="*/ 4919664 h 6858001"/>
              <a:gd name="connsiteX464" fmla="*/ 5904066 w 9595474"/>
              <a:gd name="connsiteY464" fmla="*/ 4925696 h 6858001"/>
              <a:gd name="connsiteX465" fmla="*/ 5905248 w 9595474"/>
              <a:gd name="connsiteY465" fmla="*/ 4931411 h 6858001"/>
              <a:gd name="connsiteX466" fmla="*/ 5905840 w 9595474"/>
              <a:gd name="connsiteY466" fmla="*/ 4937444 h 6858001"/>
              <a:gd name="connsiteX467" fmla="*/ 5906135 w 9595474"/>
              <a:gd name="connsiteY467" fmla="*/ 4943476 h 6858001"/>
              <a:gd name="connsiteX468" fmla="*/ 5906726 w 9595474"/>
              <a:gd name="connsiteY468" fmla="*/ 4949509 h 6858001"/>
              <a:gd name="connsiteX469" fmla="*/ 5906135 w 9595474"/>
              <a:gd name="connsiteY469" fmla="*/ 4955224 h 6858001"/>
              <a:gd name="connsiteX470" fmla="*/ 5905840 w 9595474"/>
              <a:gd name="connsiteY470" fmla="*/ 4961256 h 6858001"/>
              <a:gd name="connsiteX471" fmla="*/ 5905248 w 9595474"/>
              <a:gd name="connsiteY471" fmla="*/ 4967289 h 6858001"/>
              <a:gd name="connsiteX472" fmla="*/ 5904066 w 9595474"/>
              <a:gd name="connsiteY472" fmla="*/ 4973004 h 6858001"/>
              <a:gd name="connsiteX473" fmla="*/ 5902883 w 9595474"/>
              <a:gd name="connsiteY473" fmla="*/ 4979036 h 6858001"/>
              <a:gd name="connsiteX474" fmla="*/ 5901701 w 9595474"/>
              <a:gd name="connsiteY474" fmla="*/ 4985069 h 6858001"/>
              <a:gd name="connsiteX475" fmla="*/ 5899336 w 9595474"/>
              <a:gd name="connsiteY475" fmla="*/ 4990784 h 6858001"/>
              <a:gd name="connsiteX476" fmla="*/ 5897268 w 9595474"/>
              <a:gd name="connsiteY476" fmla="*/ 4996181 h 6858001"/>
              <a:gd name="connsiteX477" fmla="*/ 5895199 w 9595474"/>
              <a:gd name="connsiteY477" fmla="*/ 5001896 h 6858001"/>
              <a:gd name="connsiteX478" fmla="*/ 5892243 w 9595474"/>
              <a:gd name="connsiteY478" fmla="*/ 5007294 h 6858001"/>
              <a:gd name="connsiteX479" fmla="*/ 5889287 w 9595474"/>
              <a:gd name="connsiteY479" fmla="*/ 5012691 h 6858001"/>
              <a:gd name="connsiteX480" fmla="*/ 5886036 w 9595474"/>
              <a:gd name="connsiteY480" fmla="*/ 5018089 h 6858001"/>
              <a:gd name="connsiteX481" fmla="*/ 5882489 w 9595474"/>
              <a:gd name="connsiteY481" fmla="*/ 5023169 h 6858001"/>
              <a:gd name="connsiteX482" fmla="*/ 5878646 w 9595474"/>
              <a:gd name="connsiteY482" fmla="*/ 5028249 h 6858001"/>
              <a:gd name="connsiteX483" fmla="*/ 5874509 w 9595474"/>
              <a:gd name="connsiteY483" fmla="*/ 5032694 h 6858001"/>
              <a:gd name="connsiteX484" fmla="*/ 5870075 w 9595474"/>
              <a:gd name="connsiteY484" fmla="*/ 5037456 h 6858001"/>
              <a:gd name="connsiteX485" fmla="*/ 5865346 w 9595474"/>
              <a:gd name="connsiteY485" fmla="*/ 5041901 h 6858001"/>
              <a:gd name="connsiteX486" fmla="*/ 5860617 w 9595474"/>
              <a:gd name="connsiteY486" fmla="*/ 5046029 h 6858001"/>
              <a:gd name="connsiteX487" fmla="*/ 5855592 w 9595474"/>
              <a:gd name="connsiteY487" fmla="*/ 5050156 h 6858001"/>
              <a:gd name="connsiteX488" fmla="*/ 5850567 w 9595474"/>
              <a:gd name="connsiteY488" fmla="*/ 5053649 h 6858001"/>
              <a:gd name="connsiteX489" fmla="*/ 5845247 w 9595474"/>
              <a:gd name="connsiteY489" fmla="*/ 5056824 h 6858001"/>
              <a:gd name="connsiteX490" fmla="*/ 5839926 w 9595474"/>
              <a:gd name="connsiteY490" fmla="*/ 5059681 h 6858001"/>
              <a:gd name="connsiteX491" fmla="*/ 5834311 w 9595474"/>
              <a:gd name="connsiteY491" fmla="*/ 5062539 h 6858001"/>
              <a:gd name="connsiteX492" fmla="*/ 5828695 w 9595474"/>
              <a:gd name="connsiteY492" fmla="*/ 5064761 h 6858001"/>
              <a:gd name="connsiteX493" fmla="*/ 5823375 w 9595474"/>
              <a:gd name="connsiteY493" fmla="*/ 5066984 h 6858001"/>
              <a:gd name="connsiteX494" fmla="*/ 5817463 w 9595474"/>
              <a:gd name="connsiteY494" fmla="*/ 5069206 h 6858001"/>
              <a:gd name="connsiteX495" fmla="*/ 5811552 w 9595474"/>
              <a:gd name="connsiteY495" fmla="*/ 5070476 h 6858001"/>
              <a:gd name="connsiteX496" fmla="*/ 5805640 w 9595474"/>
              <a:gd name="connsiteY496" fmla="*/ 5071429 h 6858001"/>
              <a:gd name="connsiteX497" fmla="*/ 5800024 w 9595474"/>
              <a:gd name="connsiteY497" fmla="*/ 5072699 h 6858001"/>
              <a:gd name="connsiteX498" fmla="*/ 5793817 w 9595474"/>
              <a:gd name="connsiteY498" fmla="*/ 5073334 h 6858001"/>
              <a:gd name="connsiteX499" fmla="*/ 5787610 w 9595474"/>
              <a:gd name="connsiteY499" fmla="*/ 5073651 h 6858001"/>
              <a:gd name="connsiteX500" fmla="*/ 5781994 w 9595474"/>
              <a:gd name="connsiteY500" fmla="*/ 5073969 h 6858001"/>
              <a:gd name="connsiteX501" fmla="*/ 5775787 w 9595474"/>
              <a:gd name="connsiteY501" fmla="*/ 5073651 h 6858001"/>
              <a:gd name="connsiteX502" fmla="*/ 5770171 w 9595474"/>
              <a:gd name="connsiteY502" fmla="*/ 5073334 h 6858001"/>
              <a:gd name="connsiteX503" fmla="*/ 5763965 w 9595474"/>
              <a:gd name="connsiteY503" fmla="*/ 5072699 h 6858001"/>
              <a:gd name="connsiteX504" fmla="*/ 5758349 w 9595474"/>
              <a:gd name="connsiteY504" fmla="*/ 5071429 h 6858001"/>
              <a:gd name="connsiteX505" fmla="*/ 5752141 w 9595474"/>
              <a:gd name="connsiteY505" fmla="*/ 5070476 h 6858001"/>
              <a:gd name="connsiteX506" fmla="*/ 5746526 w 9595474"/>
              <a:gd name="connsiteY506" fmla="*/ 5069206 h 6858001"/>
              <a:gd name="connsiteX507" fmla="*/ 5740614 w 9595474"/>
              <a:gd name="connsiteY507" fmla="*/ 5066984 h 6858001"/>
              <a:gd name="connsiteX508" fmla="*/ 5734998 w 9595474"/>
              <a:gd name="connsiteY508" fmla="*/ 5064761 h 6858001"/>
              <a:gd name="connsiteX509" fmla="*/ 5729382 w 9595474"/>
              <a:gd name="connsiteY509" fmla="*/ 5062539 h 6858001"/>
              <a:gd name="connsiteX510" fmla="*/ 5723767 w 9595474"/>
              <a:gd name="connsiteY510" fmla="*/ 5059681 h 6858001"/>
              <a:gd name="connsiteX511" fmla="*/ 5718446 w 9595474"/>
              <a:gd name="connsiteY511" fmla="*/ 5056824 h 6858001"/>
              <a:gd name="connsiteX512" fmla="*/ 5713421 w 9595474"/>
              <a:gd name="connsiteY512" fmla="*/ 5053649 h 6858001"/>
              <a:gd name="connsiteX513" fmla="*/ 5708396 w 9595474"/>
              <a:gd name="connsiteY513" fmla="*/ 5050156 h 6858001"/>
              <a:gd name="connsiteX514" fmla="*/ 5703372 w 9595474"/>
              <a:gd name="connsiteY514" fmla="*/ 5046029 h 6858001"/>
              <a:gd name="connsiteX515" fmla="*/ 5698347 w 9595474"/>
              <a:gd name="connsiteY515" fmla="*/ 5041901 h 6858001"/>
              <a:gd name="connsiteX516" fmla="*/ 5693618 w 9595474"/>
              <a:gd name="connsiteY516" fmla="*/ 5037456 h 6858001"/>
              <a:gd name="connsiteX517" fmla="*/ 5598148 w 9595474"/>
              <a:gd name="connsiteY517" fmla="*/ 4941889 h 6858001"/>
              <a:gd name="connsiteX518" fmla="*/ 5490560 w 9595474"/>
              <a:gd name="connsiteY518" fmla="*/ 4834574 h 6858001"/>
              <a:gd name="connsiteX519" fmla="*/ 5485830 w 9595474"/>
              <a:gd name="connsiteY519" fmla="*/ 4830129 h 6858001"/>
              <a:gd name="connsiteX520" fmla="*/ 5481397 w 9595474"/>
              <a:gd name="connsiteY520" fmla="*/ 4826001 h 6858001"/>
              <a:gd name="connsiteX521" fmla="*/ 5476372 w 9595474"/>
              <a:gd name="connsiteY521" fmla="*/ 4821874 h 6858001"/>
              <a:gd name="connsiteX522" fmla="*/ 5471348 w 9595474"/>
              <a:gd name="connsiteY522" fmla="*/ 4818381 h 6858001"/>
              <a:gd name="connsiteX523" fmla="*/ 5465732 w 9595474"/>
              <a:gd name="connsiteY523" fmla="*/ 4815206 h 6858001"/>
              <a:gd name="connsiteX524" fmla="*/ 5460411 w 9595474"/>
              <a:gd name="connsiteY524" fmla="*/ 4812349 h 6858001"/>
              <a:gd name="connsiteX525" fmla="*/ 5455091 w 9595474"/>
              <a:gd name="connsiteY525" fmla="*/ 4809174 h 6858001"/>
              <a:gd name="connsiteX526" fmla="*/ 5449475 w 9595474"/>
              <a:gd name="connsiteY526" fmla="*/ 4807269 h 6858001"/>
              <a:gd name="connsiteX527" fmla="*/ 5443563 w 9595474"/>
              <a:gd name="connsiteY527" fmla="*/ 4805046 h 6858001"/>
              <a:gd name="connsiteX528" fmla="*/ 5437948 w 9595474"/>
              <a:gd name="connsiteY528" fmla="*/ 4802824 h 6858001"/>
              <a:gd name="connsiteX529" fmla="*/ 5432036 w 9595474"/>
              <a:gd name="connsiteY529" fmla="*/ 4801554 h 6858001"/>
              <a:gd name="connsiteX530" fmla="*/ 5426420 w 9595474"/>
              <a:gd name="connsiteY530" fmla="*/ 4800284 h 6858001"/>
              <a:gd name="connsiteX531" fmla="*/ 5420509 w 9595474"/>
              <a:gd name="connsiteY531" fmla="*/ 4799331 h 6858001"/>
              <a:gd name="connsiteX532" fmla="*/ 5414597 w 9595474"/>
              <a:gd name="connsiteY532" fmla="*/ 4798696 h 6858001"/>
              <a:gd name="connsiteX533" fmla="*/ 5408391 w 9595474"/>
              <a:gd name="connsiteY533" fmla="*/ 4798061 h 6858001"/>
              <a:gd name="connsiteX534" fmla="*/ 5402775 w 9595474"/>
              <a:gd name="connsiteY534" fmla="*/ 4797744 h 6858001"/>
              <a:gd name="connsiteX535" fmla="*/ 5396568 w 9595474"/>
              <a:gd name="connsiteY535" fmla="*/ 4798061 h 6858001"/>
              <a:gd name="connsiteX536" fmla="*/ 5390361 w 9595474"/>
              <a:gd name="connsiteY536" fmla="*/ 4798696 h 6858001"/>
              <a:gd name="connsiteX537" fmla="*/ 5384745 w 9595474"/>
              <a:gd name="connsiteY537" fmla="*/ 4799331 h 6858001"/>
              <a:gd name="connsiteX538" fmla="*/ 5378538 w 9595474"/>
              <a:gd name="connsiteY538" fmla="*/ 4800284 h 6858001"/>
              <a:gd name="connsiteX539" fmla="*/ 5372922 w 9595474"/>
              <a:gd name="connsiteY539" fmla="*/ 4801554 h 6858001"/>
              <a:gd name="connsiteX540" fmla="*/ 5367010 w 9595474"/>
              <a:gd name="connsiteY540" fmla="*/ 4802824 h 6858001"/>
              <a:gd name="connsiteX541" fmla="*/ 5361394 w 9595474"/>
              <a:gd name="connsiteY541" fmla="*/ 4805046 h 6858001"/>
              <a:gd name="connsiteX542" fmla="*/ 5355483 w 9595474"/>
              <a:gd name="connsiteY542" fmla="*/ 4807269 h 6858001"/>
              <a:gd name="connsiteX543" fmla="*/ 5350163 w 9595474"/>
              <a:gd name="connsiteY543" fmla="*/ 4809174 h 6858001"/>
              <a:gd name="connsiteX544" fmla="*/ 5344547 w 9595474"/>
              <a:gd name="connsiteY544" fmla="*/ 4812349 h 6858001"/>
              <a:gd name="connsiteX545" fmla="*/ 5338931 w 9595474"/>
              <a:gd name="connsiteY545" fmla="*/ 4815206 h 6858001"/>
              <a:gd name="connsiteX546" fmla="*/ 5333906 w 9595474"/>
              <a:gd name="connsiteY546" fmla="*/ 4818381 h 6858001"/>
              <a:gd name="connsiteX547" fmla="*/ 5328881 w 9595474"/>
              <a:gd name="connsiteY547" fmla="*/ 4821874 h 6858001"/>
              <a:gd name="connsiteX548" fmla="*/ 5323857 w 9595474"/>
              <a:gd name="connsiteY548" fmla="*/ 4826001 h 6858001"/>
              <a:gd name="connsiteX549" fmla="*/ 5318832 w 9595474"/>
              <a:gd name="connsiteY549" fmla="*/ 4830129 h 6858001"/>
              <a:gd name="connsiteX550" fmla="*/ 5314398 w 9595474"/>
              <a:gd name="connsiteY550" fmla="*/ 4834574 h 6858001"/>
              <a:gd name="connsiteX551" fmla="*/ 5307305 w 9595474"/>
              <a:gd name="connsiteY551" fmla="*/ 4841876 h 6858001"/>
              <a:gd name="connsiteX552" fmla="*/ 5301393 w 9595474"/>
              <a:gd name="connsiteY552" fmla="*/ 4849814 h 6858001"/>
              <a:gd name="connsiteX553" fmla="*/ 5295482 w 9595474"/>
              <a:gd name="connsiteY553" fmla="*/ 4858069 h 6858001"/>
              <a:gd name="connsiteX554" fmla="*/ 5291048 w 9595474"/>
              <a:gd name="connsiteY554" fmla="*/ 4867276 h 6858001"/>
              <a:gd name="connsiteX555" fmla="*/ 5286910 w 9595474"/>
              <a:gd name="connsiteY555" fmla="*/ 4875849 h 6858001"/>
              <a:gd name="connsiteX556" fmla="*/ 5283659 w 9595474"/>
              <a:gd name="connsiteY556" fmla="*/ 4885056 h 6858001"/>
              <a:gd name="connsiteX557" fmla="*/ 5281294 w 9595474"/>
              <a:gd name="connsiteY557" fmla="*/ 4894581 h 6858001"/>
              <a:gd name="connsiteX558" fmla="*/ 5279521 w 9595474"/>
              <a:gd name="connsiteY558" fmla="*/ 4903789 h 6858001"/>
              <a:gd name="connsiteX559" fmla="*/ 5278339 w 9595474"/>
              <a:gd name="connsiteY559" fmla="*/ 4913631 h 6858001"/>
              <a:gd name="connsiteX560" fmla="*/ 5278339 w 9595474"/>
              <a:gd name="connsiteY560" fmla="*/ 4923156 h 6858001"/>
              <a:gd name="connsiteX561" fmla="*/ 5278634 w 9595474"/>
              <a:gd name="connsiteY561" fmla="*/ 4932999 h 6858001"/>
              <a:gd name="connsiteX562" fmla="*/ 5279816 w 9595474"/>
              <a:gd name="connsiteY562" fmla="*/ 4942206 h 6858001"/>
              <a:gd name="connsiteX563" fmla="*/ 5281885 w 9595474"/>
              <a:gd name="connsiteY563" fmla="*/ 4952049 h 6858001"/>
              <a:gd name="connsiteX564" fmla="*/ 5284546 w 9595474"/>
              <a:gd name="connsiteY564" fmla="*/ 4960939 h 6858001"/>
              <a:gd name="connsiteX565" fmla="*/ 5288092 w 9595474"/>
              <a:gd name="connsiteY565" fmla="*/ 4970146 h 6858001"/>
              <a:gd name="connsiteX566" fmla="*/ 5291935 w 9595474"/>
              <a:gd name="connsiteY566" fmla="*/ 4979354 h 6858001"/>
              <a:gd name="connsiteX567" fmla="*/ 5583665 w 9595474"/>
              <a:gd name="connsiteY567" fmla="*/ 5270501 h 6858001"/>
              <a:gd name="connsiteX568" fmla="*/ 5588098 w 9595474"/>
              <a:gd name="connsiteY568" fmla="*/ 5275264 h 6858001"/>
              <a:gd name="connsiteX569" fmla="*/ 5592237 w 9595474"/>
              <a:gd name="connsiteY569" fmla="*/ 5280344 h 6858001"/>
              <a:gd name="connsiteX570" fmla="*/ 5595784 w 9595474"/>
              <a:gd name="connsiteY570" fmla="*/ 5284789 h 6858001"/>
              <a:gd name="connsiteX571" fmla="*/ 5599626 w 9595474"/>
              <a:gd name="connsiteY571" fmla="*/ 5290186 h 6858001"/>
              <a:gd name="connsiteX572" fmla="*/ 5602582 w 9595474"/>
              <a:gd name="connsiteY572" fmla="*/ 5295266 h 6858001"/>
              <a:gd name="connsiteX573" fmla="*/ 5605833 w 9595474"/>
              <a:gd name="connsiteY573" fmla="*/ 5300664 h 6858001"/>
              <a:gd name="connsiteX574" fmla="*/ 5608493 w 9595474"/>
              <a:gd name="connsiteY574" fmla="*/ 5306061 h 6858001"/>
              <a:gd name="connsiteX575" fmla="*/ 5610857 w 9595474"/>
              <a:gd name="connsiteY575" fmla="*/ 5311776 h 6858001"/>
              <a:gd name="connsiteX576" fmla="*/ 5613222 w 9595474"/>
              <a:gd name="connsiteY576" fmla="*/ 5317491 h 6858001"/>
              <a:gd name="connsiteX577" fmla="*/ 5614996 w 9595474"/>
              <a:gd name="connsiteY577" fmla="*/ 5323524 h 6858001"/>
              <a:gd name="connsiteX578" fmla="*/ 5616474 w 9595474"/>
              <a:gd name="connsiteY578" fmla="*/ 5329239 h 6858001"/>
              <a:gd name="connsiteX579" fmla="*/ 5617656 w 9595474"/>
              <a:gd name="connsiteY579" fmla="*/ 5334954 h 6858001"/>
              <a:gd name="connsiteX580" fmla="*/ 5618838 w 9595474"/>
              <a:gd name="connsiteY580" fmla="*/ 5340986 h 6858001"/>
              <a:gd name="connsiteX581" fmla="*/ 5619725 w 9595474"/>
              <a:gd name="connsiteY581" fmla="*/ 5346701 h 6858001"/>
              <a:gd name="connsiteX582" fmla="*/ 5620021 w 9595474"/>
              <a:gd name="connsiteY582" fmla="*/ 5352734 h 6858001"/>
              <a:gd name="connsiteX583" fmla="*/ 5620021 w 9595474"/>
              <a:gd name="connsiteY583" fmla="*/ 5359084 h 6858001"/>
              <a:gd name="connsiteX584" fmla="*/ 5620021 w 9595474"/>
              <a:gd name="connsiteY584" fmla="*/ 5364799 h 6858001"/>
              <a:gd name="connsiteX585" fmla="*/ 5619725 w 9595474"/>
              <a:gd name="connsiteY585" fmla="*/ 5370831 h 6858001"/>
              <a:gd name="connsiteX586" fmla="*/ 5618838 w 9595474"/>
              <a:gd name="connsiteY586" fmla="*/ 5376546 h 6858001"/>
              <a:gd name="connsiteX587" fmla="*/ 5617656 w 9595474"/>
              <a:gd name="connsiteY587" fmla="*/ 5382579 h 6858001"/>
              <a:gd name="connsiteX588" fmla="*/ 5616474 w 9595474"/>
              <a:gd name="connsiteY588" fmla="*/ 5388294 h 6858001"/>
              <a:gd name="connsiteX589" fmla="*/ 5614996 w 9595474"/>
              <a:gd name="connsiteY589" fmla="*/ 5394009 h 6858001"/>
              <a:gd name="connsiteX590" fmla="*/ 5613222 w 9595474"/>
              <a:gd name="connsiteY590" fmla="*/ 5400041 h 6858001"/>
              <a:gd name="connsiteX591" fmla="*/ 5610857 w 9595474"/>
              <a:gd name="connsiteY591" fmla="*/ 5405756 h 6858001"/>
              <a:gd name="connsiteX592" fmla="*/ 5608493 w 9595474"/>
              <a:gd name="connsiteY592" fmla="*/ 5411471 h 6858001"/>
              <a:gd name="connsiteX593" fmla="*/ 5605833 w 9595474"/>
              <a:gd name="connsiteY593" fmla="*/ 5416869 h 6858001"/>
              <a:gd name="connsiteX594" fmla="*/ 5602582 w 9595474"/>
              <a:gd name="connsiteY594" fmla="*/ 5422266 h 6858001"/>
              <a:gd name="connsiteX595" fmla="*/ 5599626 w 9595474"/>
              <a:gd name="connsiteY595" fmla="*/ 5427664 h 6858001"/>
              <a:gd name="connsiteX596" fmla="*/ 5595784 w 9595474"/>
              <a:gd name="connsiteY596" fmla="*/ 5432744 h 6858001"/>
              <a:gd name="connsiteX597" fmla="*/ 5592237 w 9595474"/>
              <a:gd name="connsiteY597" fmla="*/ 5437506 h 6858001"/>
              <a:gd name="connsiteX598" fmla="*/ 5588098 w 9595474"/>
              <a:gd name="connsiteY598" fmla="*/ 5442269 h 6858001"/>
              <a:gd name="connsiteX599" fmla="*/ 5583665 w 9595474"/>
              <a:gd name="connsiteY599" fmla="*/ 5447031 h 6858001"/>
              <a:gd name="connsiteX600" fmla="*/ 5578936 w 9595474"/>
              <a:gd name="connsiteY600" fmla="*/ 5451159 h 6858001"/>
              <a:gd name="connsiteX601" fmla="*/ 5573911 w 9595474"/>
              <a:gd name="connsiteY601" fmla="*/ 5455604 h 6858001"/>
              <a:gd name="connsiteX602" fmla="*/ 5569182 w 9595474"/>
              <a:gd name="connsiteY602" fmla="*/ 5459096 h 6858001"/>
              <a:gd name="connsiteX603" fmla="*/ 5563862 w 9595474"/>
              <a:gd name="connsiteY603" fmla="*/ 5462906 h 6858001"/>
              <a:gd name="connsiteX604" fmla="*/ 5558837 w 9595474"/>
              <a:gd name="connsiteY604" fmla="*/ 5466081 h 6858001"/>
              <a:gd name="connsiteX605" fmla="*/ 5553517 w 9595474"/>
              <a:gd name="connsiteY605" fmla="*/ 5469256 h 6858001"/>
              <a:gd name="connsiteX606" fmla="*/ 5548196 w 9595474"/>
              <a:gd name="connsiteY606" fmla="*/ 5471796 h 6858001"/>
              <a:gd name="connsiteX607" fmla="*/ 5542285 w 9595474"/>
              <a:gd name="connsiteY607" fmla="*/ 5474336 h 6858001"/>
              <a:gd name="connsiteX608" fmla="*/ 5536964 w 9595474"/>
              <a:gd name="connsiteY608" fmla="*/ 5476559 h 6858001"/>
              <a:gd name="connsiteX609" fmla="*/ 5531348 w 9595474"/>
              <a:gd name="connsiteY609" fmla="*/ 5478146 h 6858001"/>
              <a:gd name="connsiteX610" fmla="*/ 5525437 w 9595474"/>
              <a:gd name="connsiteY610" fmla="*/ 5479734 h 6858001"/>
              <a:gd name="connsiteX611" fmla="*/ 5519230 w 9595474"/>
              <a:gd name="connsiteY611" fmla="*/ 5481004 h 6858001"/>
              <a:gd name="connsiteX612" fmla="*/ 5513614 w 9595474"/>
              <a:gd name="connsiteY612" fmla="*/ 5482274 h 6858001"/>
              <a:gd name="connsiteX613" fmla="*/ 5507999 w 9595474"/>
              <a:gd name="connsiteY613" fmla="*/ 5482909 h 6858001"/>
              <a:gd name="connsiteX614" fmla="*/ 5501791 w 9595474"/>
              <a:gd name="connsiteY614" fmla="*/ 5483226 h 6858001"/>
              <a:gd name="connsiteX615" fmla="*/ 5495585 w 9595474"/>
              <a:gd name="connsiteY615" fmla="*/ 5483544 h 6858001"/>
              <a:gd name="connsiteX616" fmla="*/ 6873545 w 9595474"/>
              <a:gd name="connsiteY616" fmla="*/ 6858001 h 6858001"/>
              <a:gd name="connsiteX617" fmla="*/ 9595474 w 9595474"/>
              <a:gd name="connsiteY617" fmla="*/ 6858001 h 6858001"/>
              <a:gd name="connsiteX618" fmla="*/ 9595474 w 9595474"/>
              <a:gd name="connsiteY618" fmla="*/ 1 h 6858001"/>
              <a:gd name="connsiteX619" fmla="*/ 3525498 w 9595474"/>
              <a:gd name="connsiteY619" fmla="*/ 1 h 6858001"/>
              <a:gd name="connsiteX620" fmla="*/ 3525497 w 9595474"/>
              <a:gd name="connsiteY620" fmla="*/ 0 h 6858001"/>
              <a:gd name="connsiteX0" fmla="*/ 3290660 w 9595474"/>
              <a:gd name="connsiteY0" fmla="*/ 372828 h 6858001"/>
              <a:gd name="connsiteX1" fmla="*/ 4164742 w 9595474"/>
              <a:gd name="connsiteY1" fmla="*/ 1238610 h 6858001"/>
              <a:gd name="connsiteX2" fmla="*/ 3290660 w 9595474"/>
              <a:gd name="connsiteY2" fmla="*/ 372828 h 6858001"/>
              <a:gd name="connsiteX3" fmla="*/ 3525497 w 9595474"/>
              <a:gd name="connsiteY3" fmla="*/ 0 h 6858001"/>
              <a:gd name="connsiteX4" fmla="*/ 2914258 w 9595474"/>
              <a:gd name="connsiteY4" fmla="*/ 0 h 6858001"/>
              <a:gd name="connsiteX5" fmla="*/ 2914259 w 9595474"/>
              <a:gd name="connsiteY5" fmla="*/ 1 h 6858001"/>
              <a:gd name="connsiteX6" fmla="*/ 0 w 9595474"/>
              <a:gd name="connsiteY6" fmla="*/ 1 h 6858001"/>
              <a:gd name="connsiteX7" fmla="*/ 692823 w 9595474"/>
              <a:gd name="connsiteY7" fmla="*/ 691199 h 6858001"/>
              <a:gd name="connsiteX8" fmla="*/ 691345 w 9595474"/>
              <a:gd name="connsiteY8" fmla="*/ 683896 h 6858001"/>
              <a:gd name="connsiteX9" fmla="*/ 690754 w 9595474"/>
              <a:gd name="connsiteY9" fmla="*/ 676276 h 6858001"/>
              <a:gd name="connsiteX10" fmla="*/ 690754 w 9595474"/>
              <a:gd name="connsiteY10" fmla="*/ 669291 h 6858001"/>
              <a:gd name="connsiteX11" fmla="*/ 690754 w 9595474"/>
              <a:gd name="connsiteY11" fmla="*/ 661989 h 6858001"/>
              <a:gd name="connsiteX12" fmla="*/ 691345 w 9595474"/>
              <a:gd name="connsiteY12" fmla="*/ 654369 h 6858001"/>
              <a:gd name="connsiteX13" fmla="*/ 692527 w 9595474"/>
              <a:gd name="connsiteY13" fmla="*/ 647384 h 6858001"/>
              <a:gd name="connsiteX14" fmla="*/ 694005 w 9595474"/>
              <a:gd name="connsiteY14" fmla="*/ 640081 h 6858001"/>
              <a:gd name="connsiteX15" fmla="*/ 695778 w 9595474"/>
              <a:gd name="connsiteY15" fmla="*/ 633096 h 6858001"/>
              <a:gd name="connsiteX16" fmla="*/ 698143 w 9595474"/>
              <a:gd name="connsiteY16" fmla="*/ 625794 h 6858001"/>
              <a:gd name="connsiteX17" fmla="*/ 700803 w 9595474"/>
              <a:gd name="connsiteY17" fmla="*/ 618809 h 6858001"/>
              <a:gd name="connsiteX18" fmla="*/ 704054 w 9595474"/>
              <a:gd name="connsiteY18" fmla="*/ 612141 h 6858001"/>
              <a:gd name="connsiteX19" fmla="*/ 707601 w 9595474"/>
              <a:gd name="connsiteY19" fmla="*/ 605791 h 6858001"/>
              <a:gd name="connsiteX20" fmla="*/ 712035 w 9595474"/>
              <a:gd name="connsiteY20" fmla="*/ 599124 h 6858001"/>
              <a:gd name="connsiteX21" fmla="*/ 716173 w 9595474"/>
              <a:gd name="connsiteY21" fmla="*/ 592774 h 6858001"/>
              <a:gd name="connsiteX22" fmla="*/ 721198 w 9595474"/>
              <a:gd name="connsiteY22" fmla="*/ 587059 h 6858001"/>
              <a:gd name="connsiteX23" fmla="*/ 726518 w 9595474"/>
              <a:gd name="connsiteY23" fmla="*/ 581344 h 6858001"/>
              <a:gd name="connsiteX24" fmla="*/ 731247 w 9595474"/>
              <a:gd name="connsiteY24" fmla="*/ 576899 h 6858001"/>
              <a:gd name="connsiteX25" fmla="*/ 735976 w 9595474"/>
              <a:gd name="connsiteY25" fmla="*/ 572454 h 6858001"/>
              <a:gd name="connsiteX26" fmla="*/ 741001 w 9595474"/>
              <a:gd name="connsiteY26" fmla="*/ 568961 h 6858001"/>
              <a:gd name="connsiteX27" fmla="*/ 746026 w 9595474"/>
              <a:gd name="connsiteY27" fmla="*/ 565469 h 6858001"/>
              <a:gd name="connsiteX28" fmla="*/ 751050 w 9595474"/>
              <a:gd name="connsiteY28" fmla="*/ 562294 h 6858001"/>
              <a:gd name="connsiteX29" fmla="*/ 756371 w 9595474"/>
              <a:gd name="connsiteY29" fmla="*/ 558801 h 6858001"/>
              <a:gd name="connsiteX30" fmla="*/ 761691 w 9595474"/>
              <a:gd name="connsiteY30" fmla="*/ 556579 h 6858001"/>
              <a:gd name="connsiteX31" fmla="*/ 767602 w 9595474"/>
              <a:gd name="connsiteY31" fmla="*/ 554039 h 6858001"/>
              <a:gd name="connsiteX32" fmla="*/ 772923 w 9595474"/>
              <a:gd name="connsiteY32" fmla="*/ 551816 h 6858001"/>
              <a:gd name="connsiteX33" fmla="*/ 778834 w 9595474"/>
              <a:gd name="connsiteY33" fmla="*/ 549911 h 6858001"/>
              <a:gd name="connsiteX34" fmla="*/ 784450 w 9595474"/>
              <a:gd name="connsiteY34" fmla="*/ 548641 h 6858001"/>
              <a:gd name="connsiteX35" fmla="*/ 790066 w 9595474"/>
              <a:gd name="connsiteY35" fmla="*/ 547371 h 6858001"/>
              <a:gd name="connsiteX36" fmla="*/ 795977 w 9595474"/>
              <a:gd name="connsiteY36" fmla="*/ 546419 h 6858001"/>
              <a:gd name="connsiteX37" fmla="*/ 802184 w 9595474"/>
              <a:gd name="connsiteY37" fmla="*/ 545784 h 6858001"/>
              <a:gd name="connsiteX38" fmla="*/ 807800 w 9595474"/>
              <a:gd name="connsiteY38" fmla="*/ 545466 h 6858001"/>
              <a:gd name="connsiteX39" fmla="*/ 814007 w 9595474"/>
              <a:gd name="connsiteY39" fmla="*/ 544831 h 6858001"/>
              <a:gd name="connsiteX40" fmla="*/ 819623 w 9595474"/>
              <a:gd name="connsiteY40" fmla="*/ 545466 h 6858001"/>
              <a:gd name="connsiteX41" fmla="*/ 825830 w 9595474"/>
              <a:gd name="connsiteY41" fmla="*/ 545784 h 6858001"/>
              <a:gd name="connsiteX42" fmla="*/ 831446 w 9595474"/>
              <a:gd name="connsiteY42" fmla="*/ 546419 h 6858001"/>
              <a:gd name="connsiteX43" fmla="*/ 837358 w 9595474"/>
              <a:gd name="connsiteY43" fmla="*/ 547371 h 6858001"/>
              <a:gd name="connsiteX44" fmla="*/ 842974 w 9595474"/>
              <a:gd name="connsiteY44" fmla="*/ 548641 h 6858001"/>
              <a:gd name="connsiteX45" fmla="*/ 848885 w 9595474"/>
              <a:gd name="connsiteY45" fmla="*/ 549911 h 6858001"/>
              <a:gd name="connsiteX46" fmla="*/ 854501 w 9595474"/>
              <a:gd name="connsiteY46" fmla="*/ 551816 h 6858001"/>
              <a:gd name="connsiteX47" fmla="*/ 860117 w 9595474"/>
              <a:gd name="connsiteY47" fmla="*/ 554039 h 6858001"/>
              <a:gd name="connsiteX48" fmla="*/ 865733 w 9595474"/>
              <a:gd name="connsiteY48" fmla="*/ 556579 h 6858001"/>
              <a:gd name="connsiteX49" fmla="*/ 871053 w 9595474"/>
              <a:gd name="connsiteY49" fmla="*/ 558801 h 6858001"/>
              <a:gd name="connsiteX50" fmla="*/ 876373 w 9595474"/>
              <a:gd name="connsiteY50" fmla="*/ 562294 h 6858001"/>
              <a:gd name="connsiteX51" fmla="*/ 881398 w 9595474"/>
              <a:gd name="connsiteY51" fmla="*/ 565469 h 6858001"/>
              <a:gd name="connsiteX52" fmla="*/ 886718 w 9595474"/>
              <a:gd name="connsiteY52" fmla="*/ 568961 h 6858001"/>
              <a:gd name="connsiteX53" fmla="*/ 891447 w 9595474"/>
              <a:gd name="connsiteY53" fmla="*/ 572454 h 6858001"/>
              <a:gd name="connsiteX54" fmla="*/ 896177 w 9595474"/>
              <a:gd name="connsiteY54" fmla="*/ 576899 h 6858001"/>
              <a:gd name="connsiteX55" fmla="*/ 900906 w 9595474"/>
              <a:gd name="connsiteY55" fmla="*/ 581344 h 6858001"/>
              <a:gd name="connsiteX56" fmla="*/ 1431459 w 9595474"/>
              <a:gd name="connsiteY56" fmla="*/ 1111569 h 6858001"/>
              <a:gd name="connsiteX57" fmla="*/ 2394731 w 9595474"/>
              <a:gd name="connsiteY57" fmla="*/ 2074864 h 6858001"/>
              <a:gd name="connsiteX58" fmla="*/ 2399164 w 9595474"/>
              <a:gd name="connsiteY58" fmla="*/ 2079309 h 6858001"/>
              <a:gd name="connsiteX59" fmla="*/ 2404189 w 9595474"/>
              <a:gd name="connsiteY59" fmla="*/ 2083436 h 6858001"/>
              <a:gd name="connsiteX60" fmla="*/ 2408918 w 9595474"/>
              <a:gd name="connsiteY60" fmla="*/ 2087246 h 6858001"/>
              <a:gd name="connsiteX61" fmla="*/ 2413943 w 9595474"/>
              <a:gd name="connsiteY61" fmla="*/ 2090739 h 6858001"/>
              <a:gd name="connsiteX62" fmla="*/ 2419263 w 9595474"/>
              <a:gd name="connsiteY62" fmla="*/ 2093914 h 6858001"/>
              <a:gd name="connsiteX63" fmla="*/ 2424583 w 9595474"/>
              <a:gd name="connsiteY63" fmla="*/ 2096771 h 6858001"/>
              <a:gd name="connsiteX64" fmla="*/ 2430199 w 9595474"/>
              <a:gd name="connsiteY64" fmla="*/ 2099629 h 6858001"/>
              <a:gd name="connsiteX65" fmla="*/ 2435520 w 9595474"/>
              <a:gd name="connsiteY65" fmla="*/ 2101851 h 6858001"/>
              <a:gd name="connsiteX66" fmla="*/ 2441136 w 9595474"/>
              <a:gd name="connsiteY66" fmla="*/ 2104074 h 6858001"/>
              <a:gd name="connsiteX67" fmla="*/ 2447047 w 9595474"/>
              <a:gd name="connsiteY67" fmla="*/ 2105661 h 6858001"/>
              <a:gd name="connsiteX68" fmla="*/ 2452663 w 9595474"/>
              <a:gd name="connsiteY68" fmla="*/ 2107566 h 6858001"/>
              <a:gd name="connsiteX69" fmla="*/ 2458574 w 9595474"/>
              <a:gd name="connsiteY69" fmla="*/ 2108519 h 6858001"/>
              <a:gd name="connsiteX70" fmla="*/ 2464190 w 9595474"/>
              <a:gd name="connsiteY70" fmla="*/ 2109789 h 6858001"/>
              <a:gd name="connsiteX71" fmla="*/ 2469806 w 9595474"/>
              <a:gd name="connsiteY71" fmla="*/ 2110424 h 6858001"/>
              <a:gd name="connsiteX72" fmla="*/ 2476013 w 9595474"/>
              <a:gd name="connsiteY72" fmla="*/ 2110741 h 6858001"/>
              <a:gd name="connsiteX73" fmla="*/ 2481925 w 9595474"/>
              <a:gd name="connsiteY73" fmla="*/ 2111059 h 6858001"/>
              <a:gd name="connsiteX74" fmla="*/ 2487836 w 9595474"/>
              <a:gd name="connsiteY74" fmla="*/ 2110741 h 6858001"/>
              <a:gd name="connsiteX75" fmla="*/ 2493747 w 9595474"/>
              <a:gd name="connsiteY75" fmla="*/ 2110424 h 6858001"/>
              <a:gd name="connsiteX76" fmla="*/ 2499363 w 9595474"/>
              <a:gd name="connsiteY76" fmla="*/ 2109789 h 6858001"/>
              <a:gd name="connsiteX77" fmla="*/ 2505570 w 9595474"/>
              <a:gd name="connsiteY77" fmla="*/ 2108519 h 6858001"/>
              <a:gd name="connsiteX78" fmla="*/ 2511186 w 9595474"/>
              <a:gd name="connsiteY78" fmla="*/ 2107566 h 6858001"/>
              <a:gd name="connsiteX79" fmla="*/ 2517098 w 9595474"/>
              <a:gd name="connsiteY79" fmla="*/ 2105661 h 6858001"/>
              <a:gd name="connsiteX80" fmla="*/ 2522714 w 9595474"/>
              <a:gd name="connsiteY80" fmla="*/ 2104074 h 6858001"/>
              <a:gd name="connsiteX81" fmla="*/ 2528034 w 9595474"/>
              <a:gd name="connsiteY81" fmla="*/ 2101851 h 6858001"/>
              <a:gd name="connsiteX82" fmla="*/ 2533945 w 9595474"/>
              <a:gd name="connsiteY82" fmla="*/ 2099629 h 6858001"/>
              <a:gd name="connsiteX83" fmla="*/ 2539266 w 9595474"/>
              <a:gd name="connsiteY83" fmla="*/ 2096771 h 6858001"/>
              <a:gd name="connsiteX84" fmla="*/ 2544290 w 9595474"/>
              <a:gd name="connsiteY84" fmla="*/ 2093914 h 6858001"/>
              <a:gd name="connsiteX85" fmla="*/ 2549611 w 9595474"/>
              <a:gd name="connsiteY85" fmla="*/ 2090739 h 6858001"/>
              <a:gd name="connsiteX86" fmla="*/ 2554635 w 9595474"/>
              <a:gd name="connsiteY86" fmla="*/ 2087246 h 6858001"/>
              <a:gd name="connsiteX87" fmla="*/ 2559660 w 9595474"/>
              <a:gd name="connsiteY87" fmla="*/ 2083436 h 6858001"/>
              <a:gd name="connsiteX88" fmla="*/ 2564389 w 9595474"/>
              <a:gd name="connsiteY88" fmla="*/ 2079309 h 6858001"/>
              <a:gd name="connsiteX89" fmla="*/ 2569119 w 9595474"/>
              <a:gd name="connsiteY89" fmla="*/ 2074864 h 6858001"/>
              <a:gd name="connsiteX90" fmla="*/ 2573257 w 9595474"/>
              <a:gd name="connsiteY90" fmla="*/ 2070101 h 6858001"/>
              <a:gd name="connsiteX91" fmla="*/ 2577395 w 9595474"/>
              <a:gd name="connsiteY91" fmla="*/ 2065656 h 6858001"/>
              <a:gd name="connsiteX92" fmla="*/ 2581237 w 9595474"/>
              <a:gd name="connsiteY92" fmla="*/ 2060576 h 6858001"/>
              <a:gd name="connsiteX93" fmla="*/ 2584784 w 9595474"/>
              <a:gd name="connsiteY93" fmla="*/ 2055496 h 6858001"/>
              <a:gd name="connsiteX94" fmla="*/ 2588035 w 9595474"/>
              <a:gd name="connsiteY94" fmla="*/ 2050416 h 6858001"/>
              <a:gd name="connsiteX95" fmla="*/ 2590991 w 9595474"/>
              <a:gd name="connsiteY95" fmla="*/ 2045019 h 6858001"/>
              <a:gd name="connsiteX96" fmla="*/ 2593651 w 9595474"/>
              <a:gd name="connsiteY96" fmla="*/ 2039621 h 6858001"/>
              <a:gd name="connsiteX97" fmla="*/ 2596016 w 9595474"/>
              <a:gd name="connsiteY97" fmla="*/ 2034224 h 6858001"/>
              <a:gd name="connsiteX98" fmla="*/ 2598085 w 9595474"/>
              <a:gd name="connsiteY98" fmla="*/ 2028509 h 6858001"/>
              <a:gd name="connsiteX99" fmla="*/ 2599858 w 9595474"/>
              <a:gd name="connsiteY99" fmla="*/ 2022794 h 6858001"/>
              <a:gd name="connsiteX100" fmla="*/ 2601336 w 9595474"/>
              <a:gd name="connsiteY100" fmla="*/ 2017079 h 6858001"/>
              <a:gd name="connsiteX101" fmla="*/ 2602814 w 9595474"/>
              <a:gd name="connsiteY101" fmla="*/ 2011364 h 6858001"/>
              <a:gd name="connsiteX102" fmla="*/ 2603996 w 9595474"/>
              <a:gd name="connsiteY102" fmla="*/ 2005649 h 6858001"/>
              <a:gd name="connsiteX103" fmla="*/ 2604587 w 9595474"/>
              <a:gd name="connsiteY103" fmla="*/ 1999616 h 6858001"/>
              <a:gd name="connsiteX104" fmla="*/ 2604883 w 9595474"/>
              <a:gd name="connsiteY104" fmla="*/ 1993584 h 6858001"/>
              <a:gd name="connsiteX105" fmla="*/ 2604883 w 9595474"/>
              <a:gd name="connsiteY105" fmla="*/ 1987551 h 6858001"/>
              <a:gd name="connsiteX106" fmla="*/ 2604883 w 9595474"/>
              <a:gd name="connsiteY106" fmla="*/ 1981836 h 6858001"/>
              <a:gd name="connsiteX107" fmla="*/ 2604587 w 9595474"/>
              <a:gd name="connsiteY107" fmla="*/ 1976121 h 6858001"/>
              <a:gd name="connsiteX108" fmla="*/ 2603996 w 9595474"/>
              <a:gd name="connsiteY108" fmla="*/ 1970089 h 6858001"/>
              <a:gd name="connsiteX109" fmla="*/ 2602814 w 9595474"/>
              <a:gd name="connsiteY109" fmla="*/ 1964374 h 6858001"/>
              <a:gd name="connsiteX110" fmla="*/ 2601336 w 9595474"/>
              <a:gd name="connsiteY110" fmla="*/ 1958659 h 6858001"/>
              <a:gd name="connsiteX111" fmla="*/ 2599858 w 9595474"/>
              <a:gd name="connsiteY111" fmla="*/ 1952626 h 6858001"/>
              <a:gd name="connsiteX112" fmla="*/ 2598085 w 9595474"/>
              <a:gd name="connsiteY112" fmla="*/ 1946911 h 6858001"/>
              <a:gd name="connsiteX113" fmla="*/ 2596016 w 9595474"/>
              <a:gd name="connsiteY113" fmla="*/ 1941196 h 6858001"/>
              <a:gd name="connsiteX114" fmla="*/ 2593651 w 9595474"/>
              <a:gd name="connsiteY114" fmla="*/ 1935799 h 6858001"/>
              <a:gd name="connsiteX115" fmla="*/ 2590991 w 9595474"/>
              <a:gd name="connsiteY115" fmla="*/ 1930401 h 6858001"/>
              <a:gd name="connsiteX116" fmla="*/ 2588035 w 9595474"/>
              <a:gd name="connsiteY116" fmla="*/ 1925004 h 6858001"/>
              <a:gd name="connsiteX117" fmla="*/ 2584784 w 9595474"/>
              <a:gd name="connsiteY117" fmla="*/ 1919924 h 6858001"/>
              <a:gd name="connsiteX118" fmla="*/ 2581237 w 9595474"/>
              <a:gd name="connsiteY118" fmla="*/ 1915161 h 6858001"/>
              <a:gd name="connsiteX119" fmla="*/ 2577395 w 9595474"/>
              <a:gd name="connsiteY119" fmla="*/ 1910081 h 6858001"/>
              <a:gd name="connsiteX120" fmla="*/ 2573257 w 9595474"/>
              <a:gd name="connsiteY120" fmla="*/ 1905319 h 6858001"/>
              <a:gd name="connsiteX121" fmla="*/ 2569119 w 9595474"/>
              <a:gd name="connsiteY121" fmla="*/ 1900556 h 6858001"/>
              <a:gd name="connsiteX122" fmla="*/ 1590477 w 9595474"/>
              <a:gd name="connsiteY122" fmla="*/ 922021 h 6858001"/>
              <a:gd name="connsiteX123" fmla="*/ 1272736 w 9595474"/>
              <a:gd name="connsiteY123" fmla="*/ 604204 h 6858001"/>
              <a:gd name="connsiteX124" fmla="*/ 1268303 w 9595474"/>
              <a:gd name="connsiteY124" fmla="*/ 599441 h 6858001"/>
              <a:gd name="connsiteX125" fmla="*/ 1264165 w 9595474"/>
              <a:gd name="connsiteY125" fmla="*/ 594996 h 6858001"/>
              <a:gd name="connsiteX126" fmla="*/ 1260322 w 9595474"/>
              <a:gd name="connsiteY126" fmla="*/ 589916 h 6858001"/>
              <a:gd name="connsiteX127" fmla="*/ 1256776 w 9595474"/>
              <a:gd name="connsiteY127" fmla="*/ 584836 h 6858001"/>
              <a:gd name="connsiteX128" fmla="*/ 1253524 w 9595474"/>
              <a:gd name="connsiteY128" fmla="*/ 579756 h 6858001"/>
              <a:gd name="connsiteX129" fmla="*/ 1250864 w 9595474"/>
              <a:gd name="connsiteY129" fmla="*/ 574359 h 6858001"/>
              <a:gd name="connsiteX130" fmla="*/ 1247908 w 9595474"/>
              <a:gd name="connsiteY130" fmla="*/ 568961 h 6858001"/>
              <a:gd name="connsiteX131" fmla="*/ 1245839 w 9595474"/>
              <a:gd name="connsiteY131" fmla="*/ 563564 h 6858001"/>
              <a:gd name="connsiteX132" fmla="*/ 1243475 w 9595474"/>
              <a:gd name="connsiteY132" fmla="*/ 557849 h 6858001"/>
              <a:gd name="connsiteX133" fmla="*/ 1241701 w 9595474"/>
              <a:gd name="connsiteY133" fmla="*/ 552134 h 6858001"/>
              <a:gd name="connsiteX134" fmla="*/ 1239928 w 9595474"/>
              <a:gd name="connsiteY134" fmla="*/ 546419 h 6858001"/>
              <a:gd name="connsiteX135" fmla="*/ 1238746 w 9595474"/>
              <a:gd name="connsiteY135" fmla="*/ 540704 h 6858001"/>
              <a:gd name="connsiteX136" fmla="*/ 1237859 w 9595474"/>
              <a:gd name="connsiteY136" fmla="*/ 534989 h 6858001"/>
              <a:gd name="connsiteX137" fmla="*/ 1236972 w 9595474"/>
              <a:gd name="connsiteY137" fmla="*/ 528639 h 6858001"/>
              <a:gd name="connsiteX138" fmla="*/ 1236677 w 9595474"/>
              <a:gd name="connsiteY138" fmla="*/ 522924 h 6858001"/>
              <a:gd name="connsiteX139" fmla="*/ 1236381 w 9595474"/>
              <a:gd name="connsiteY139" fmla="*/ 516891 h 6858001"/>
              <a:gd name="connsiteX140" fmla="*/ 1236677 w 9595474"/>
              <a:gd name="connsiteY140" fmla="*/ 511176 h 6858001"/>
              <a:gd name="connsiteX141" fmla="*/ 1236972 w 9595474"/>
              <a:gd name="connsiteY141" fmla="*/ 505461 h 6858001"/>
              <a:gd name="connsiteX142" fmla="*/ 1237859 w 9595474"/>
              <a:gd name="connsiteY142" fmla="*/ 499429 h 6858001"/>
              <a:gd name="connsiteX143" fmla="*/ 1238746 w 9595474"/>
              <a:gd name="connsiteY143" fmla="*/ 493714 h 6858001"/>
              <a:gd name="connsiteX144" fmla="*/ 1239928 w 9595474"/>
              <a:gd name="connsiteY144" fmla="*/ 487681 h 6858001"/>
              <a:gd name="connsiteX145" fmla="*/ 1241701 w 9595474"/>
              <a:gd name="connsiteY145" fmla="*/ 481966 h 6858001"/>
              <a:gd name="connsiteX146" fmla="*/ 1243475 w 9595474"/>
              <a:gd name="connsiteY146" fmla="*/ 476251 h 6858001"/>
              <a:gd name="connsiteX147" fmla="*/ 1245839 w 9595474"/>
              <a:gd name="connsiteY147" fmla="*/ 470536 h 6858001"/>
              <a:gd name="connsiteX148" fmla="*/ 1247908 w 9595474"/>
              <a:gd name="connsiteY148" fmla="*/ 465139 h 6858001"/>
              <a:gd name="connsiteX149" fmla="*/ 1250864 w 9595474"/>
              <a:gd name="connsiteY149" fmla="*/ 459741 h 6858001"/>
              <a:gd name="connsiteX150" fmla="*/ 1253524 w 9595474"/>
              <a:gd name="connsiteY150" fmla="*/ 454344 h 6858001"/>
              <a:gd name="connsiteX151" fmla="*/ 1256776 w 9595474"/>
              <a:gd name="connsiteY151" fmla="*/ 449264 h 6858001"/>
              <a:gd name="connsiteX152" fmla="*/ 1260322 w 9595474"/>
              <a:gd name="connsiteY152" fmla="*/ 444501 h 6858001"/>
              <a:gd name="connsiteX153" fmla="*/ 1264165 w 9595474"/>
              <a:gd name="connsiteY153" fmla="*/ 439421 h 6858001"/>
              <a:gd name="connsiteX154" fmla="*/ 1268303 w 9595474"/>
              <a:gd name="connsiteY154" fmla="*/ 434659 h 6858001"/>
              <a:gd name="connsiteX155" fmla="*/ 1272736 w 9595474"/>
              <a:gd name="connsiteY155" fmla="*/ 429896 h 6858001"/>
              <a:gd name="connsiteX156" fmla="*/ 1277466 w 9595474"/>
              <a:gd name="connsiteY156" fmla="*/ 425769 h 6858001"/>
              <a:gd name="connsiteX157" fmla="*/ 1281899 w 9595474"/>
              <a:gd name="connsiteY157" fmla="*/ 421324 h 6858001"/>
              <a:gd name="connsiteX158" fmla="*/ 1286924 w 9595474"/>
              <a:gd name="connsiteY158" fmla="*/ 417831 h 6858001"/>
              <a:gd name="connsiteX159" fmla="*/ 1291949 w 9595474"/>
              <a:gd name="connsiteY159" fmla="*/ 414339 h 6858001"/>
              <a:gd name="connsiteX160" fmla="*/ 1296973 w 9595474"/>
              <a:gd name="connsiteY160" fmla="*/ 410846 h 6858001"/>
              <a:gd name="connsiteX161" fmla="*/ 1302589 w 9595474"/>
              <a:gd name="connsiteY161" fmla="*/ 407989 h 6858001"/>
              <a:gd name="connsiteX162" fmla="*/ 1307910 w 9595474"/>
              <a:gd name="connsiteY162" fmla="*/ 405131 h 6858001"/>
              <a:gd name="connsiteX163" fmla="*/ 1313230 w 9595474"/>
              <a:gd name="connsiteY163" fmla="*/ 402909 h 6858001"/>
              <a:gd name="connsiteX164" fmla="*/ 1318846 w 9595474"/>
              <a:gd name="connsiteY164" fmla="*/ 401004 h 6858001"/>
              <a:gd name="connsiteX165" fmla="*/ 1324757 w 9595474"/>
              <a:gd name="connsiteY165" fmla="*/ 399099 h 6858001"/>
              <a:gd name="connsiteX166" fmla="*/ 1330373 w 9595474"/>
              <a:gd name="connsiteY166" fmla="*/ 397194 h 6858001"/>
              <a:gd name="connsiteX167" fmla="*/ 1336285 w 9595474"/>
              <a:gd name="connsiteY167" fmla="*/ 396241 h 6858001"/>
              <a:gd name="connsiteX168" fmla="*/ 1341901 w 9595474"/>
              <a:gd name="connsiteY168" fmla="*/ 395289 h 6858001"/>
              <a:gd name="connsiteX169" fmla="*/ 1348108 w 9595474"/>
              <a:gd name="connsiteY169" fmla="*/ 394336 h 6858001"/>
              <a:gd name="connsiteX170" fmla="*/ 1353723 w 9595474"/>
              <a:gd name="connsiteY170" fmla="*/ 394019 h 6858001"/>
              <a:gd name="connsiteX171" fmla="*/ 1359930 w 9595474"/>
              <a:gd name="connsiteY171" fmla="*/ 393701 h 6858001"/>
              <a:gd name="connsiteX172" fmla="*/ 1365546 w 9595474"/>
              <a:gd name="connsiteY172" fmla="*/ 394019 h 6858001"/>
              <a:gd name="connsiteX173" fmla="*/ 1371458 w 9595474"/>
              <a:gd name="connsiteY173" fmla="*/ 394336 h 6858001"/>
              <a:gd name="connsiteX174" fmla="*/ 1377665 w 9595474"/>
              <a:gd name="connsiteY174" fmla="*/ 395289 h 6858001"/>
              <a:gd name="connsiteX175" fmla="*/ 1383281 w 9595474"/>
              <a:gd name="connsiteY175" fmla="*/ 396241 h 6858001"/>
              <a:gd name="connsiteX176" fmla="*/ 1388897 w 9595474"/>
              <a:gd name="connsiteY176" fmla="*/ 397194 h 6858001"/>
              <a:gd name="connsiteX177" fmla="*/ 1394808 w 9595474"/>
              <a:gd name="connsiteY177" fmla="*/ 399099 h 6858001"/>
              <a:gd name="connsiteX178" fmla="*/ 1400424 w 9595474"/>
              <a:gd name="connsiteY178" fmla="*/ 401004 h 6858001"/>
              <a:gd name="connsiteX179" fmla="*/ 1406335 w 9595474"/>
              <a:gd name="connsiteY179" fmla="*/ 402909 h 6858001"/>
              <a:gd name="connsiteX180" fmla="*/ 1411656 w 9595474"/>
              <a:gd name="connsiteY180" fmla="*/ 405131 h 6858001"/>
              <a:gd name="connsiteX181" fmla="*/ 1416976 w 9595474"/>
              <a:gd name="connsiteY181" fmla="*/ 407989 h 6858001"/>
              <a:gd name="connsiteX182" fmla="*/ 1422296 w 9595474"/>
              <a:gd name="connsiteY182" fmla="*/ 410846 h 6858001"/>
              <a:gd name="connsiteX183" fmla="*/ 1427617 w 9595474"/>
              <a:gd name="connsiteY183" fmla="*/ 414339 h 6858001"/>
              <a:gd name="connsiteX184" fmla="*/ 1432641 w 9595474"/>
              <a:gd name="connsiteY184" fmla="*/ 417831 h 6858001"/>
              <a:gd name="connsiteX185" fmla="*/ 1437666 w 9595474"/>
              <a:gd name="connsiteY185" fmla="*/ 421324 h 6858001"/>
              <a:gd name="connsiteX186" fmla="*/ 1442100 w 9595474"/>
              <a:gd name="connsiteY186" fmla="*/ 425769 h 6858001"/>
              <a:gd name="connsiteX187" fmla="*/ 1446829 w 9595474"/>
              <a:gd name="connsiteY187" fmla="*/ 429896 h 6858001"/>
              <a:gd name="connsiteX188" fmla="*/ 1907036 w 9595474"/>
              <a:gd name="connsiteY188" fmla="*/ 890271 h 6858001"/>
              <a:gd name="connsiteX189" fmla="*/ 2165662 w 9595474"/>
              <a:gd name="connsiteY189" fmla="*/ 1148716 h 6858001"/>
              <a:gd name="connsiteX190" fmla="*/ 2170391 w 9595474"/>
              <a:gd name="connsiteY190" fmla="*/ 1153161 h 6858001"/>
              <a:gd name="connsiteX191" fmla="*/ 2175416 w 9595474"/>
              <a:gd name="connsiteY191" fmla="*/ 1157289 h 6858001"/>
              <a:gd name="connsiteX192" fmla="*/ 2180145 w 9595474"/>
              <a:gd name="connsiteY192" fmla="*/ 1161099 h 6858001"/>
              <a:gd name="connsiteX193" fmla="*/ 2185170 w 9595474"/>
              <a:gd name="connsiteY193" fmla="*/ 1164591 h 6858001"/>
              <a:gd name="connsiteX194" fmla="*/ 2190490 w 9595474"/>
              <a:gd name="connsiteY194" fmla="*/ 1167766 h 6858001"/>
              <a:gd name="connsiteX195" fmla="*/ 2195810 w 9595474"/>
              <a:gd name="connsiteY195" fmla="*/ 1170624 h 6858001"/>
              <a:gd name="connsiteX196" fmla="*/ 2201130 w 9595474"/>
              <a:gd name="connsiteY196" fmla="*/ 1173481 h 6858001"/>
              <a:gd name="connsiteX197" fmla="*/ 2206746 w 9595474"/>
              <a:gd name="connsiteY197" fmla="*/ 1176021 h 6858001"/>
              <a:gd name="connsiteX198" fmla="*/ 2212362 w 9595474"/>
              <a:gd name="connsiteY198" fmla="*/ 1177926 h 6858001"/>
              <a:gd name="connsiteX199" fmla="*/ 2217683 w 9595474"/>
              <a:gd name="connsiteY199" fmla="*/ 1180149 h 6858001"/>
              <a:gd name="connsiteX200" fmla="*/ 2223594 w 9595474"/>
              <a:gd name="connsiteY200" fmla="*/ 1181419 h 6858001"/>
              <a:gd name="connsiteX201" fmla="*/ 2229505 w 9595474"/>
              <a:gd name="connsiteY201" fmla="*/ 1182689 h 6858001"/>
              <a:gd name="connsiteX202" fmla="*/ 2235417 w 9595474"/>
              <a:gd name="connsiteY202" fmla="*/ 1183641 h 6858001"/>
              <a:gd name="connsiteX203" fmla="*/ 2241033 w 9595474"/>
              <a:gd name="connsiteY203" fmla="*/ 1184276 h 6858001"/>
              <a:gd name="connsiteX204" fmla="*/ 2247240 w 9595474"/>
              <a:gd name="connsiteY204" fmla="*/ 1184594 h 6858001"/>
              <a:gd name="connsiteX205" fmla="*/ 2252856 w 9595474"/>
              <a:gd name="connsiteY205" fmla="*/ 1185229 h 6858001"/>
              <a:gd name="connsiteX206" fmla="*/ 2259063 w 9595474"/>
              <a:gd name="connsiteY206" fmla="*/ 1184594 h 6858001"/>
              <a:gd name="connsiteX207" fmla="*/ 2264679 w 9595474"/>
              <a:gd name="connsiteY207" fmla="*/ 1184276 h 6858001"/>
              <a:gd name="connsiteX208" fmla="*/ 2270590 w 9595474"/>
              <a:gd name="connsiteY208" fmla="*/ 1183641 h 6858001"/>
              <a:gd name="connsiteX209" fmla="*/ 2276797 w 9595474"/>
              <a:gd name="connsiteY209" fmla="*/ 1182689 h 6858001"/>
              <a:gd name="connsiteX210" fmla="*/ 2282413 w 9595474"/>
              <a:gd name="connsiteY210" fmla="*/ 1181419 h 6858001"/>
              <a:gd name="connsiteX211" fmla="*/ 2288029 w 9595474"/>
              <a:gd name="connsiteY211" fmla="*/ 1180149 h 6858001"/>
              <a:gd name="connsiteX212" fmla="*/ 2293940 w 9595474"/>
              <a:gd name="connsiteY212" fmla="*/ 1177926 h 6858001"/>
              <a:gd name="connsiteX213" fmla="*/ 2299261 w 9595474"/>
              <a:gd name="connsiteY213" fmla="*/ 1176021 h 6858001"/>
              <a:gd name="connsiteX214" fmla="*/ 2304581 w 9595474"/>
              <a:gd name="connsiteY214" fmla="*/ 1173481 h 6858001"/>
              <a:gd name="connsiteX215" fmla="*/ 2310492 w 9595474"/>
              <a:gd name="connsiteY215" fmla="*/ 1170624 h 6858001"/>
              <a:gd name="connsiteX216" fmla="*/ 2315517 w 9595474"/>
              <a:gd name="connsiteY216" fmla="*/ 1167766 h 6858001"/>
              <a:gd name="connsiteX217" fmla="*/ 2320837 w 9595474"/>
              <a:gd name="connsiteY217" fmla="*/ 1164591 h 6858001"/>
              <a:gd name="connsiteX218" fmla="*/ 2325862 w 9595474"/>
              <a:gd name="connsiteY218" fmla="*/ 1161099 h 6858001"/>
              <a:gd name="connsiteX219" fmla="*/ 2330887 w 9595474"/>
              <a:gd name="connsiteY219" fmla="*/ 1157289 h 6858001"/>
              <a:gd name="connsiteX220" fmla="*/ 2335616 w 9595474"/>
              <a:gd name="connsiteY220" fmla="*/ 1153161 h 6858001"/>
              <a:gd name="connsiteX221" fmla="*/ 2340345 w 9595474"/>
              <a:gd name="connsiteY221" fmla="*/ 1148716 h 6858001"/>
              <a:gd name="connsiteX222" fmla="*/ 2344483 w 9595474"/>
              <a:gd name="connsiteY222" fmla="*/ 1144271 h 6858001"/>
              <a:gd name="connsiteX223" fmla="*/ 2348621 w 9595474"/>
              <a:gd name="connsiteY223" fmla="*/ 1139509 h 6858001"/>
              <a:gd name="connsiteX224" fmla="*/ 2352464 w 9595474"/>
              <a:gd name="connsiteY224" fmla="*/ 1134429 h 6858001"/>
              <a:gd name="connsiteX225" fmla="*/ 2356011 w 9595474"/>
              <a:gd name="connsiteY225" fmla="*/ 1129349 h 6858001"/>
              <a:gd name="connsiteX226" fmla="*/ 2359262 w 9595474"/>
              <a:gd name="connsiteY226" fmla="*/ 1124269 h 6858001"/>
              <a:gd name="connsiteX227" fmla="*/ 2362218 w 9595474"/>
              <a:gd name="connsiteY227" fmla="*/ 1118871 h 6858001"/>
              <a:gd name="connsiteX228" fmla="*/ 2364582 w 9595474"/>
              <a:gd name="connsiteY228" fmla="*/ 1113474 h 6858001"/>
              <a:gd name="connsiteX229" fmla="*/ 2367242 w 9595474"/>
              <a:gd name="connsiteY229" fmla="*/ 1108076 h 6858001"/>
              <a:gd name="connsiteX230" fmla="*/ 2369311 w 9595474"/>
              <a:gd name="connsiteY230" fmla="*/ 1102361 h 6858001"/>
              <a:gd name="connsiteX231" fmla="*/ 2371085 w 9595474"/>
              <a:gd name="connsiteY231" fmla="*/ 1096646 h 6858001"/>
              <a:gd name="connsiteX232" fmla="*/ 2372563 w 9595474"/>
              <a:gd name="connsiteY232" fmla="*/ 1090931 h 6858001"/>
              <a:gd name="connsiteX233" fmla="*/ 2374041 w 9595474"/>
              <a:gd name="connsiteY233" fmla="*/ 1085216 h 6858001"/>
              <a:gd name="connsiteX234" fmla="*/ 2375223 w 9595474"/>
              <a:gd name="connsiteY234" fmla="*/ 1079501 h 6858001"/>
              <a:gd name="connsiteX235" fmla="*/ 2375814 w 9595474"/>
              <a:gd name="connsiteY235" fmla="*/ 1073786 h 6858001"/>
              <a:gd name="connsiteX236" fmla="*/ 2376110 w 9595474"/>
              <a:gd name="connsiteY236" fmla="*/ 1067754 h 6858001"/>
              <a:gd name="connsiteX237" fmla="*/ 2376110 w 9595474"/>
              <a:gd name="connsiteY237" fmla="*/ 1061721 h 6858001"/>
              <a:gd name="connsiteX238" fmla="*/ 2376110 w 9595474"/>
              <a:gd name="connsiteY238" fmla="*/ 1055689 h 6858001"/>
              <a:gd name="connsiteX239" fmla="*/ 2375814 w 9595474"/>
              <a:gd name="connsiteY239" fmla="*/ 1049974 h 6858001"/>
              <a:gd name="connsiteX240" fmla="*/ 2375223 w 9595474"/>
              <a:gd name="connsiteY240" fmla="*/ 1043941 h 6858001"/>
              <a:gd name="connsiteX241" fmla="*/ 2374041 w 9595474"/>
              <a:gd name="connsiteY241" fmla="*/ 1038226 h 6858001"/>
              <a:gd name="connsiteX242" fmla="*/ 2372563 w 9595474"/>
              <a:gd name="connsiteY242" fmla="*/ 1032511 h 6858001"/>
              <a:gd name="connsiteX243" fmla="*/ 2371085 w 9595474"/>
              <a:gd name="connsiteY243" fmla="*/ 1026796 h 6858001"/>
              <a:gd name="connsiteX244" fmla="*/ 2369311 w 9595474"/>
              <a:gd name="connsiteY244" fmla="*/ 1021081 h 6858001"/>
              <a:gd name="connsiteX245" fmla="*/ 2367242 w 9595474"/>
              <a:gd name="connsiteY245" fmla="*/ 1015684 h 6858001"/>
              <a:gd name="connsiteX246" fmla="*/ 2364582 w 9595474"/>
              <a:gd name="connsiteY246" fmla="*/ 1009651 h 6858001"/>
              <a:gd name="connsiteX247" fmla="*/ 2362218 w 9595474"/>
              <a:gd name="connsiteY247" fmla="*/ 1004254 h 6858001"/>
              <a:gd name="connsiteX248" fmla="*/ 2359262 w 9595474"/>
              <a:gd name="connsiteY248" fmla="*/ 998856 h 6858001"/>
              <a:gd name="connsiteX249" fmla="*/ 2356011 w 9595474"/>
              <a:gd name="connsiteY249" fmla="*/ 994094 h 6858001"/>
              <a:gd name="connsiteX250" fmla="*/ 2352464 w 9595474"/>
              <a:gd name="connsiteY250" fmla="*/ 989014 h 6858001"/>
              <a:gd name="connsiteX251" fmla="*/ 2348621 w 9595474"/>
              <a:gd name="connsiteY251" fmla="*/ 983934 h 6858001"/>
              <a:gd name="connsiteX252" fmla="*/ 2344483 w 9595474"/>
              <a:gd name="connsiteY252" fmla="*/ 979171 h 6858001"/>
              <a:gd name="connsiteX253" fmla="*/ 2340345 w 9595474"/>
              <a:gd name="connsiteY253" fmla="*/ 974726 h 6858001"/>
              <a:gd name="connsiteX254" fmla="*/ 2240737 w 9595474"/>
              <a:gd name="connsiteY254" fmla="*/ 875031 h 6858001"/>
              <a:gd name="connsiteX255" fmla="*/ 1991865 w 9595474"/>
              <a:gd name="connsiteY255" fmla="*/ 626429 h 6858001"/>
              <a:gd name="connsiteX256" fmla="*/ 1987431 w 9595474"/>
              <a:gd name="connsiteY256" fmla="*/ 621666 h 6858001"/>
              <a:gd name="connsiteX257" fmla="*/ 1983589 w 9595474"/>
              <a:gd name="connsiteY257" fmla="*/ 616904 h 6858001"/>
              <a:gd name="connsiteX258" fmla="*/ 1979451 w 9595474"/>
              <a:gd name="connsiteY258" fmla="*/ 612141 h 6858001"/>
              <a:gd name="connsiteX259" fmla="*/ 1975904 w 9595474"/>
              <a:gd name="connsiteY259" fmla="*/ 607061 h 6858001"/>
              <a:gd name="connsiteX260" fmla="*/ 1972653 w 9595474"/>
              <a:gd name="connsiteY260" fmla="*/ 601664 h 6858001"/>
              <a:gd name="connsiteX261" fmla="*/ 1969993 w 9595474"/>
              <a:gd name="connsiteY261" fmla="*/ 596266 h 6858001"/>
              <a:gd name="connsiteX262" fmla="*/ 1967037 w 9595474"/>
              <a:gd name="connsiteY262" fmla="*/ 590869 h 6858001"/>
              <a:gd name="connsiteX263" fmla="*/ 1964968 w 9595474"/>
              <a:gd name="connsiteY263" fmla="*/ 585471 h 6858001"/>
              <a:gd name="connsiteX264" fmla="*/ 1962603 w 9595474"/>
              <a:gd name="connsiteY264" fmla="*/ 579756 h 6858001"/>
              <a:gd name="connsiteX265" fmla="*/ 1960830 w 9595474"/>
              <a:gd name="connsiteY265" fmla="*/ 574359 h 6858001"/>
              <a:gd name="connsiteX266" fmla="*/ 1959056 w 9595474"/>
              <a:gd name="connsiteY266" fmla="*/ 568644 h 6858001"/>
              <a:gd name="connsiteX267" fmla="*/ 1958170 w 9595474"/>
              <a:gd name="connsiteY267" fmla="*/ 562611 h 6858001"/>
              <a:gd name="connsiteX268" fmla="*/ 1956987 w 9595474"/>
              <a:gd name="connsiteY268" fmla="*/ 556896 h 6858001"/>
              <a:gd name="connsiteX269" fmla="*/ 1956396 w 9595474"/>
              <a:gd name="connsiteY269" fmla="*/ 551181 h 6858001"/>
              <a:gd name="connsiteX270" fmla="*/ 1955805 w 9595474"/>
              <a:gd name="connsiteY270" fmla="*/ 544831 h 6858001"/>
              <a:gd name="connsiteX271" fmla="*/ 1955805 w 9595474"/>
              <a:gd name="connsiteY271" fmla="*/ 539116 h 6858001"/>
              <a:gd name="connsiteX272" fmla="*/ 1955805 w 9595474"/>
              <a:gd name="connsiteY272" fmla="*/ 533084 h 6858001"/>
              <a:gd name="connsiteX273" fmla="*/ 1956396 w 9595474"/>
              <a:gd name="connsiteY273" fmla="*/ 527369 h 6858001"/>
              <a:gd name="connsiteX274" fmla="*/ 1956987 w 9595474"/>
              <a:gd name="connsiteY274" fmla="*/ 521654 h 6858001"/>
              <a:gd name="connsiteX275" fmla="*/ 1958170 w 9595474"/>
              <a:gd name="connsiteY275" fmla="*/ 515621 h 6858001"/>
              <a:gd name="connsiteX276" fmla="*/ 1959056 w 9595474"/>
              <a:gd name="connsiteY276" fmla="*/ 509589 h 6858001"/>
              <a:gd name="connsiteX277" fmla="*/ 1960830 w 9595474"/>
              <a:gd name="connsiteY277" fmla="*/ 503874 h 6858001"/>
              <a:gd name="connsiteX278" fmla="*/ 1962603 w 9595474"/>
              <a:gd name="connsiteY278" fmla="*/ 498159 h 6858001"/>
              <a:gd name="connsiteX279" fmla="*/ 1964968 w 9595474"/>
              <a:gd name="connsiteY279" fmla="*/ 492761 h 6858001"/>
              <a:gd name="connsiteX280" fmla="*/ 1967037 w 9595474"/>
              <a:gd name="connsiteY280" fmla="*/ 487364 h 6858001"/>
              <a:gd name="connsiteX281" fmla="*/ 1969993 w 9595474"/>
              <a:gd name="connsiteY281" fmla="*/ 481649 h 6858001"/>
              <a:gd name="connsiteX282" fmla="*/ 1972653 w 9595474"/>
              <a:gd name="connsiteY282" fmla="*/ 476569 h 6858001"/>
              <a:gd name="connsiteX283" fmla="*/ 1975904 w 9595474"/>
              <a:gd name="connsiteY283" fmla="*/ 471171 h 6858001"/>
              <a:gd name="connsiteX284" fmla="*/ 1979451 w 9595474"/>
              <a:gd name="connsiteY284" fmla="*/ 466409 h 6858001"/>
              <a:gd name="connsiteX285" fmla="*/ 1983589 w 9595474"/>
              <a:gd name="connsiteY285" fmla="*/ 461329 h 6858001"/>
              <a:gd name="connsiteX286" fmla="*/ 1987431 w 9595474"/>
              <a:gd name="connsiteY286" fmla="*/ 456566 h 6858001"/>
              <a:gd name="connsiteX287" fmla="*/ 1991865 w 9595474"/>
              <a:gd name="connsiteY287" fmla="*/ 451804 h 6858001"/>
              <a:gd name="connsiteX288" fmla="*/ 1996594 w 9595474"/>
              <a:gd name="connsiteY288" fmla="*/ 447676 h 6858001"/>
              <a:gd name="connsiteX289" fmla="*/ 2001028 w 9595474"/>
              <a:gd name="connsiteY289" fmla="*/ 443549 h 6858001"/>
              <a:gd name="connsiteX290" fmla="*/ 2006052 w 9595474"/>
              <a:gd name="connsiteY290" fmla="*/ 439739 h 6858001"/>
              <a:gd name="connsiteX291" fmla="*/ 2011077 w 9595474"/>
              <a:gd name="connsiteY291" fmla="*/ 436246 h 6858001"/>
              <a:gd name="connsiteX292" fmla="*/ 2016102 w 9595474"/>
              <a:gd name="connsiteY292" fmla="*/ 432754 h 6858001"/>
              <a:gd name="connsiteX293" fmla="*/ 2021718 w 9595474"/>
              <a:gd name="connsiteY293" fmla="*/ 429896 h 6858001"/>
              <a:gd name="connsiteX294" fmla="*/ 2027038 w 9595474"/>
              <a:gd name="connsiteY294" fmla="*/ 427356 h 6858001"/>
              <a:gd name="connsiteX295" fmla="*/ 2032654 w 9595474"/>
              <a:gd name="connsiteY295" fmla="*/ 424816 h 6858001"/>
              <a:gd name="connsiteX296" fmla="*/ 2038270 w 9595474"/>
              <a:gd name="connsiteY296" fmla="*/ 422911 h 6858001"/>
              <a:gd name="connsiteX297" fmla="*/ 2043886 w 9595474"/>
              <a:gd name="connsiteY297" fmla="*/ 421006 h 6858001"/>
              <a:gd name="connsiteX298" fmla="*/ 2049502 w 9595474"/>
              <a:gd name="connsiteY298" fmla="*/ 419736 h 6858001"/>
              <a:gd name="connsiteX299" fmla="*/ 2055413 w 9595474"/>
              <a:gd name="connsiteY299" fmla="*/ 418149 h 6858001"/>
              <a:gd name="connsiteX300" fmla="*/ 2061029 w 9595474"/>
              <a:gd name="connsiteY300" fmla="*/ 417196 h 6858001"/>
              <a:gd name="connsiteX301" fmla="*/ 2067236 w 9595474"/>
              <a:gd name="connsiteY301" fmla="*/ 416244 h 6858001"/>
              <a:gd name="connsiteX302" fmla="*/ 2072852 w 9595474"/>
              <a:gd name="connsiteY302" fmla="*/ 415926 h 6858001"/>
              <a:gd name="connsiteX303" fmla="*/ 2079059 w 9595474"/>
              <a:gd name="connsiteY303" fmla="*/ 415926 h 6858001"/>
              <a:gd name="connsiteX304" fmla="*/ 2084970 w 9595474"/>
              <a:gd name="connsiteY304" fmla="*/ 415926 h 6858001"/>
              <a:gd name="connsiteX305" fmla="*/ 2090882 w 9595474"/>
              <a:gd name="connsiteY305" fmla="*/ 416244 h 6858001"/>
              <a:gd name="connsiteX306" fmla="*/ 2096793 w 9595474"/>
              <a:gd name="connsiteY306" fmla="*/ 417196 h 6858001"/>
              <a:gd name="connsiteX307" fmla="*/ 2102409 w 9595474"/>
              <a:gd name="connsiteY307" fmla="*/ 418149 h 6858001"/>
              <a:gd name="connsiteX308" fmla="*/ 2108321 w 9595474"/>
              <a:gd name="connsiteY308" fmla="*/ 419736 h 6858001"/>
              <a:gd name="connsiteX309" fmla="*/ 2113936 w 9595474"/>
              <a:gd name="connsiteY309" fmla="*/ 421006 h 6858001"/>
              <a:gd name="connsiteX310" fmla="*/ 2119552 w 9595474"/>
              <a:gd name="connsiteY310" fmla="*/ 422911 h 6858001"/>
              <a:gd name="connsiteX311" fmla="*/ 2125464 w 9595474"/>
              <a:gd name="connsiteY311" fmla="*/ 424816 h 6858001"/>
              <a:gd name="connsiteX312" fmla="*/ 2130784 w 9595474"/>
              <a:gd name="connsiteY312" fmla="*/ 427356 h 6858001"/>
              <a:gd name="connsiteX313" fmla="*/ 2136104 w 9595474"/>
              <a:gd name="connsiteY313" fmla="*/ 429896 h 6858001"/>
              <a:gd name="connsiteX314" fmla="*/ 2141720 w 9595474"/>
              <a:gd name="connsiteY314" fmla="*/ 432754 h 6858001"/>
              <a:gd name="connsiteX315" fmla="*/ 2146745 w 9595474"/>
              <a:gd name="connsiteY315" fmla="*/ 436246 h 6858001"/>
              <a:gd name="connsiteX316" fmla="*/ 2152065 w 9595474"/>
              <a:gd name="connsiteY316" fmla="*/ 439739 h 6858001"/>
              <a:gd name="connsiteX317" fmla="*/ 2156795 w 9595474"/>
              <a:gd name="connsiteY317" fmla="*/ 443549 h 6858001"/>
              <a:gd name="connsiteX318" fmla="*/ 2161819 w 9595474"/>
              <a:gd name="connsiteY318" fmla="*/ 447676 h 6858001"/>
              <a:gd name="connsiteX319" fmla="*/ 2165957 w 9595474"/>
              <a:gd name="connsiteY319" fmla="*/ 451804 h 6858001"/>
              <a:gd name="connsiteX320" fmla="*/ 2966073 w 9595474"/>
              <a:gd name="connsiteY320" fmla="*/ 1251904 h 6858001"/>
              <a:gd name="connsiteX321" fmla="*/ 5612631 w 9595474"/>
              <a:gd name="connsiteY321" fmla="*/ 3898584 h 6858001"/>
              <a:gd name="connsiteX322" fmla="*/ 5617360 w 9595474"/>
              <a:gd name="connsiteY322" fmla="*/ 3903346 h 6858001"/>
              <a:gd name="connsiteX323" fmla="*/ 5621498 w 9595474"/>
              <a:gd name="connsiteY323" fmla="*/ 3908426 h 6858001"/>
              <a:gd name="connsiteX324" fmla="*/ 5625341 w 9595474"/>
              <a:gd name="connsiteY324" fmla="*/ 3913506 h 6858001"/>
              <a:gd name="connsiteX325" fmla="*/ 5628888 w 9595474"/>
              <a:gd name="connsiteY325" fmla="*/ 3918586 h 6858001"/>
              <a:gd name="connsiteX326" fmla="*/ 5632139 w 9595474"/>
              <a:gd name="connsiteY326" fmla="*/ 3923349 h 6858001"/>
              <a:gd name="connsiteX327" fmla="*/ 5635094 w 9595474"/>
              <a:gd name="connsiteY327" fmla="*/ 3928746 h 6858001"/>
              <a:gd name="connsiteX328" fmla="*/ 5638050 w 9595474"/>
              <a:gd name="connsiteY328" fmla="*/ 3934461 h 6858001"/>
              <a:gd name="connsiteX329" fmla="*/ 5640415 w 9595474"/>
              <a:gd name="connsiteY329" fmla="*/ 3939859 h 6858001"/>
              <a:gd name="connsiteX330" fmla="*/ 5642484 w 9595474"/>
              <a:gd name="connsiteY330" fmla="*/ 3945891 h 6858001"/>
              <a:gd name="connsiteX331" fmla="*/ 5644257 w 9595474"/>
              <a:gd name="connsiteY331" fmla="*/ 3951606 h 6858001"/>
              <a:gd name="connsiteX332" fmla="*/ 5645735 w 9595474"/>
              <a:gd name="connsiteY332" fmla="*/ 3957321 h 6858001"/>
              <a:gd name="connsiteX333" fmla="*/ 5647213 w 9595474"/>
              <a:gd name="connsiteY333" fmla="*/ 3963354 h 6858001"/>
              <a:gd name="connsiteX334" fmla="*/ 5648100 w 9595474"/>
              <a:gd name="connsiteY334" fmla="*/ 3969069 h 6858001"/>
              <a:gd name="connsiteX335" fmla="*/ 5648691 w 9595474"/>
              <a:gd name="connsiteY335" fmla="*/ 3975101 h 6858001"/>
              <a:gd name="connsiteX336" fmla="*/ 5649282 w 9595474"/>
              <a:gd name="connsiteY336" fmla="*/ 3980816 h 6858001"/>
              <a:gd name="connsiteX337" fmla="*/ 5649282 w 9595474"/>
              <a:gd name="connsiteY337" fmla="*/ 3987166 h 6858001"/>
              <a:gd name="connsiteX338" fmla="*/ 5649282 w 9595474"/>
              <a:gd name="connsiteY338" fmla="*/ 3992881 h 6858001"/>
              <a:gd name="connsiteX339" fmla="*/ 5648691 w 9595474"/>
              <a:gd name="connsiteY339" fmla="*/ 3998914 h 6858001"/>
              <a:gd name="connsiteX340" fmla="*/ 5648100 w 9595474"/>
              <a:gd name="connsiteY340" fmla="*/ 4004946 h 6858001"/>
              <a:gd name="connsiteX341" fmla="*/ 5647213 w 9595474"/>
              <a:gd name="connsiteY341" fmla="*/ 4010661 h 6858001"/>
              <a:gd name="connsiteX342" fmla="*/ 5645735 w 9595474"/>
              <a:gd name="connsiteY342" fmla="*/ 4016376 h 6858001"/>
              <a:gd name="connsiteX343" fmla="*/ 5644257 w 9595474"/>
              <a:gd name="connsiteY343" fmla="*/ 4022726 h 6858001"/>
              <a:gd name="connsiteX344" fmla="*/ 5642484 w 9595474"/>
              <a:gd name="connsiteY344" fmla="*/ 4028441 h 6858001"/>
              <a:gd name="connsiteX345" fmla="*/ 5640415 w 9595474"/>
              <a:gd name="connsiteY345" fmla="*/ 4033839 h 6858001"/>
              <a:gd name="connsiteX346" fmla="*/ 5638050 w 9595474"/>
              <a:gd name="connsiteY346" fmla="*/ 4039554 h 6858001"/>
              <a:gd name="connsiteX347" fmla="*/ 5635094 w 9595474"/>
              <a:gd name="connsiteY347" fmla="*/ 4044951 h 6858001"/>
              <a:gd name="connsiteX348" fmla="*/ 5632139 w 9595474"/>
              <a:gd name="connsiteY348" fmla="*/ 4050349 h 6858001"/>
              <a:gd name="connsiteX349" fmla="*/ 5628888 w 9595474"/>
              <a:gd name="connsiteY349" fmla="*/ 4055746 h 6858001"/>
              <a:gd name="connsiteX350" fmla="*/ 5625341 w 9595474"/>
              <a:gd name="connsiteY350" fmla="*/ 4060826 h 6858001"/>
              <a:gd name="connsiteX351" fmla="*/ 5621498 w 9595474"/>
              <a:gd name="connsiteY351" fmla="*/ 4065589 h 6858001"/>
              <a:gd name="connsiteX352" fmla="*/ 5617360 w 9595474"/>
              <a:gd name="connsiteY352" fmla="*/ 4070351 h 6858001"/>
              <a:gd name="connsiteX353" fmla="*/ 5612631 w 9595474"/>
              <a:gd name="connsiteY353" fmla="*/ 4075114 h 6858001"/>
              <a:gd name="connsiteX354" fmla="*/ 5608198 w 9595474"/>
              <a:gd name="connsiteY354" fmla="*/ 4079876 h 6858001"/>
              <a:gd name="connsiteX355" fmla="*/ 5603468 w 9595474"/>
              <a:gd name="connsiteY355" fmla="*/ 4083686 h 6858001"/>
              <a:gd name="connsiteX356" fmla="*/ 5598443 w 9595474"/>
              <a:gd name="connsiteY356" fmla="*/ 4087496 h 6858001"/>
              <a:gd name="connsiteX357" fmla="*/ 5593419 w 9595474"/>
              <a:gd name="connsiteY357" fmla="*/ 4091306 h 6858001"/>
              <a:gd name="connsiteX358" fmla="*/ 5588098 w 9595474"/>
              <a:gd name="connsiteY358" fmla="*/ 4094481 h 6858001"/>
              <a:gd name="connsiteX359" fmla="*/ 5582482 w 9595474"/>
              <a:gd name="connsiteY359" fmla="*/ 4097339 h 6858001"/>
              <a:gd name="connsiteX360" fmla="*/ 5577162 w 9595474"/>
              <a:gd name="connsiteY360" fmla="*/ 4100196 h 6858001"/>
              <a:gd name="connsiteX361" fmla="*/ 5571842 w 9595474"/>
              <a:gd name="connsiteY361" fmla="*/ 4102419 h 6858001"/>
              <a:gd name="connsiteX362" fmla="*/ 5565931 w 9595474"/>
              <a:gd name="connsiteY362" fmla="*/ 4104641 h 6858001"/>
              <a:gd name="connsiteX363" fmla="*/ 5560315 w 9595474"/>
              <a:gd name="connsiteY363" fmla="*/ 4106546 h 6858001"/>
              <a:gd name="connsiteX364" fmla="*/ 5554699 w 9595474"/>
              <a:gd name="connsiteY364" fmla="*/ 4108134 h 6858001"/>
              <a:gd name="connsiteX365" fmla="*/ 5548492 w 9595474"/>
              <a:gd name="connsiteY365" fmla="*/ 4109404 h 6858001"/>
              <a:gd name="connsiteX366" fmla="*/ 5542580 w 9595474"/>
              <a:gd name="connsiteY366" fmla="*/ 4110356 h 6858001"/>
              <a:gd name="connsiteX367" fmla="*/ 5536669 w 9595474"/>
              <a:gd name="connsiteY367" fmla="*/ 4110991 h 6858001"/>
              <a:gd name="connsiteX368" fmla="*/ 5530758 w 9595474"/>
              <a:gd name="connsiteY368" fmla="*/ 4111309 h 6858001"/>
              <a:gd name="connsiteX369" fmla="*/ 5524846 w 9595474"/>
              <a:gd name="connsiteY369" fmla="*/ 4111626 h 6858001"/>
              <a:gd name="connsiteX370" fmla="*/ 5518639 w 9595474"/>
              <a:gd name="connsiteY370" fmla="*/ 4111309 h 6858001"/>
              <a:gd name="connsiteX371" fmla="*/ 5513023 w 9595474"/>
              <a:gd name="connsiteY371" fmla="*/ 4110991 h 6858001"/>
              <a:gd name="connsiteX372" fmla="*/ 5506816 w 9595474"/>
              <a:gd name="connsiteY372" fmla="*/ 4110356 h 6858001"/>
              <a:gd name="connsiteX373" fmla="*/ 5501200 w 9595474"/>
              <a:gd name="connsiteY373" fmla="*/ 4109404 h 6858001"/>
              <a:gd name="connsiteX374" fmla="*/ 5494993 w 9595474"/>
              <a:gd name="connsiteY374" fmla="*/ 4108134 h 6858001"/>
              <a:gd name="connsiteX375" fmla="*/ 5489081 w 9595474"/>
              <a:gd name="connsiteY375" fmla="*/ 4106546 h 6858001"/>
              <a:gd name="connsiteX376" fmla="*/ 5483466 w 9595474"/>
              <a:gd name="connsiteY376" fmla="*/ 4104641 h 6858001"/>
              <a:gd name="connsiteX377" fmla="*/ 5477850 w 9595474"/>
              <a:gd name="connsiteY377" fmla="*/ 4102419 h 6858001"/>
              <a:gd name="connsiteX378" fmla="*/ 5472234 w 9595474"/>
              <a:gd name="connsiteY378" fmla="*/ 4100196 h 6858001"/>
              <a:gd name="connsiteX379" fmla="*/ 5466913 w 9595474"/>
              <a:gd name="connsiteY379" fmla="*/ 4097339 h 6858001"/>
              <a:gd name="connsiteX380" fmla="*/ 5461593 w 9595474"/>
              <a:gd name="connsiteY380" fmla="*/ 4094481 h 6858001"/>
              <a:gd name="connsiteX381" fmla="*/ 5456273 w 9595474"/>
              <a:gd name="connsiteY381" fmla="*/ 4091306 h 6858001"/>
              <a:gd name="connsiteX382" fmla="*/ 5451248 w 9595474"/>
              <a:gd name="connsiteY382" fmla="*/ 4087496 h 6858001"/>
              <a:gd name="connsiteX383" fmla="*/ 5446223 w 9595474"/>
              <a:gd name="connsiteY383" fmla="*/ 4083686 h 6858001"/>
              <a:gd name="connsiteX384" fmla="*/ 5441495 w 9595474"/>
              <a:gd name="connsiteY384" fmla="*/ 4079876 h 6858001"/>
              <a:gd name="connsiteX385" fmla="*/ 5436765 w 9595474"/>
              <a:gd name="connsiteY385" fmla="*/ 4075114 h 6858001"/>
              <a:gd name="connsiteX386" fmla="*/ 5322379 w 9595474"/>
              <a:gd name="connsiteY386" fmla="*/ 3960814 h 6858001"/>
              <a:gd name="connsiteX387" fmla="*/ 5317945 w 9595474"/>
              <a:gd name="connsiteY387" fmla="*/ 3956369 h 6858001"/>
              <a:gd name="connsiteX388" fmla="*/ 5312921 w 9595474"/>
              <a:gd name="connsiteY388" fmla="*/ 3952241 h 6858001"/>
              <a:gd name="connsiteX389" fmla="*/ 5307896 w 9595474"/>
              <a:gd name="connsiteY389" fmla="*/ 3948749 h 6858001"/>
              <a:gd name="connsiteX390" fmla="*/ 5302871 w 9595474"/>
              <a:gd name="connsiteY390" fmla="*/ 3944939 h 6858001"/>
              <a:gd name="connsiteX391" fmla="*/ 5297255 w 9595474"/>
              <a:gd name="connsiteY391" fmla="*/ 3941764 h 6858001"/>
              <a:gd name="connsiteX392" fmla="*/ 5292230 w 9595474"/>
              <a:gd name="connsiteY392" fmla="*/ 3938589 h 6858001"/>
              <a:gd name="connsiteX393" fmla="*/ 5286615 w 9595474"/>
              <a:gd name="connsiteY393" fmla="*/ 3936049 h 6858001"/>
              <a:gd name="connsiteX394" fmla="*/ 5281294 w 9595474"/>
              <a:gd name="connsiteY394" fmla="*/ 3933509 h 6858001"/>
              <a:gd name="connsiteX395" fmla="*/ 5275383 w 9595474"/>
              <a:gd name="connsiteY395" fmla="*/ 3931286 h 6858001"/>
              <a:gd name="connsiteX396" fmla="*/ 5269767 w 9595474"/>
              <a:gd name="connsiteY396" fmla="*/ 3929699 h 6858001"/>
              <a:gd name="connsiteX397" fmla="*/ 5263855 w 9595474"/>
              <a:gd name="connsiteY397" fmla="*/ 3927794 h 6858001"/>
              <a:gd name="connsiteX398" fmla="*/ 5257944 w 9595474"/>
              <a:gd name="connsiteY398" fmla="*/ 3926841 h 6858001"/>
              <a:gd name="connsiteX399" fmla="*/ 5252033 w 9595474"/>
              <a:gd name="connsiteY399" fmla="*/ 3925571 h 6858001"/>
              <a:gd name="connsiteX400" fmla="*/ 5246121 w 9595474"/>
              <a:gd name="connsiteY400" fmla="*/ 3924936 h 6858001"/>
              <a:gd name="connsiteX401" fmla="*/ 5240210 w 9595474"/>
              <a:gd name="connsiteY401" fmla="*/ 3924619 h 6858001"/>
              <a:gd name="connsiteX402" fmla="*/ 5234298 w 9595474"/>
              <a:gd name="connsiteY402" fmla="*/ 3924619 h 6858001"/>
              <a:gd name="connsiteX403" fmla="*/ 5228091 w 9595474"/>
              <a:gd name="connsiteY403" fmla="*/ 3924619 h 6858001"/>
              <a:gd name="connsiteX404" fmla="*/ 5222180 w 9595474"/>
              <a:gd name="connsiteY404" fmla="*/ 3924936 h 6858001"/>
              <a:gd name="connsiteX405" fmla="*/ 5216268 w 9595474"/>
              <a:gd name="connsiteY405" fmla="*/ 3925571 h 6858001"/>
              <a:gd name="connsiteX406" fmla="*/ 5210357 w 9595474"/>
              <a:gd name="connsiteY406" fmla="*/ 3926841 h 6858001"/>
              <a:gd name="connsiteX407" fmla="*/ 5204741 w 9595474"/>
              <a:gd name="connsiteY407" fmla="*/ 3927794 h 6858001"/>
              <a:gd name="connsiteX408" fmla="*/ 5198534 w 9595474"/>
              <a:gd name="connsiteY408" fmla="*/ 3929699 h 6858001"/>
              <a:gd name="connsiteX409" fmla="*/ 5192918 w 9595474"/>
              <a:gd name="connsiteY409" fmla="*/ 3931286 h 6858001"/>
              <a:gd name="connsiteX410" fmla="*/ 5187598 w 9595474"/>
              <a:gd name="connsiteY410" fmla="*/ 3933509 h 6858001"/>
              <a:gd name="connsiteX411" fmla="*/ 5181686 w 9595474"/>
              <a:gd name="connsiteY411" fmla="*/ 3936049 h 6858001"/>
              <a:gd name="connsiteX412" fmla="*/ 5176366 w 9595474"/>
              <a:gd name="connsiteY412" fmla="*/ 3938589 h 6858001"/>
              <a:gd name="connsiteX413" fmla="*/ 5171046 w 9595474"/>
              <a:gd name="connsiteY413" fmla="*/ 3941764 h 6858001"/>
              <a:gd name="connsiteX414" fmla="*/ 5165430 w 9595474"/>
              <a:gd name="connsiteY414" fmla="*/ 3944939 h 6858001"/>
              <a:gd name="connsiteX415" fmla="*/ 5160405 w 9595474"/>
              <a:gd name="connsiteY415" fmla="*/ 3948749 h 6858001"/>
              <a:gd name="connsiteX416" fmla="*/ 5155380 w 9595474"/>
              <a:gd name="connsiteY416" fmla="*/ 3952241 h 6858001"/>
              <a:gd name="connsiteX417" fmla="*/ 5150947 w 9595474"/>
              <a:gd name="connsiteY417" fmla="*/ 3956369 h 6858001"/>
              <a:gd name="connsiteX418" fmla="*/ 5146218 w 9595474"/>
              <a:gd name="connsiteY418" fmla="*/ 3960814 h 6858001"/>
              <a:gd name="connsiteX419" fmla="*/ 5141488 w 9595474"/>
              <a:gd name="connsiteY419" fmla="*/ 3965576 h 6858001"/>
              <a:gd name="connsiteX420" fmla="*/ 5137646 w 9595474"/>
              <a:gd name="connsiteY420" fmla="*/ 3970656 h 6858001"/>
              <a:gd name="connsiteX421" fmla="*/ 5133508 w 9595474"/>
              <a:gd name="connsiteY421" fmla="*/ 3975101 h 6858001"/>
              <a:gd name="connsiteX422" fmla="*/ 5129961 w 9595474"/>
              <a:gd name="connsiteY422" fmla="*/ 3980499 h 6858001"/>
              <a:gd name="connsiteX423" fmla="*/ 5126710 w 9595474"/>
              <a:gd name="connsiteY423" fmla="*/ 3985579 h 6858001"/>
              <a:gd name="connsiteX424" fmla="*/ 5123754 w 9595474"/>
              <a:gd name="connsiteY424" fmla="*/ 3990976 h 6858001"/>
              <a:gd name="connsiteX425" fmla="*/ 5121094 w 9595474"/>
              <a:gd name="connsiteY425" fmla="*/ 3996374 h 6858001"/>
              <a:gd name="connsiteX426" fmla="*/ 5118729 w 9595474"/>
              <a:gd name="connsiteY426" fmla="*/ 4002089 h 6858001"/>
              <a:gd name="connsiteX427" fmla="*/ 5116660 w 9595474"/>
              <a:gd name="connsiteY427" fmla="*/ 4007804 h 6858001"/>
              <a:gd name="connsiteX428" fmla="*/ 5114591 w 9595474"/>
              <a:gd name="connsiteY428" fmla="*/ 4013519 h 6858001"/>
              <a:gd name="connsiteX429" fmla="*/ 5113113 w 9595474"/>
              <a:gd name="connsiteY429" fmla="*/ 4019234 h 6858001"/>
              <a:gd name="connsiteX430" fmla="*/ 5111636 w 9595474"/>
              <a:gd name="connsiteY430" fmla="*/ 4025266 h 6858001"/>
              <a:gd name="connsiteX431" fmla="*/ 5111044 w 9595474"/>
              <a:gd name="connsiteY431" fmla="*/ 4031299 h 6858001"/>
              <a:gd name="connsiteX432" fmla="*/ 5110158 w 9595474"/>
              <a:gd name="connsiteY432" fmla="*/ 4037014 h 6858001"/>
              <a:gd name="connsiteX433" fmla="*/ 5109862 w 9595474"/>
              <a:gd name="connsiteY433" fmla="*/ 4043046 h 6858001"/>
              <a:gd name="connsiteX434" fmla="*/ 5109567 w 9595474"/>
              <a:gd name="connsiteY434" fmla="*/ 4049079 h 6858001"/>
              <a:gd name="connsiteX435" fmla="*/ 5109862 w 9595474"/>
              <a:gd name="connsiteY435" fmla="*/ 4055111 h 6858001"/>
              <a:gd name="connsiteX436" fmla="*/ 5110158 w 9595474"/>
              <a:gd name="connsiteY436" fmla="*/ 4061144 h 6858001"/>
              <a:gd name="connsiteX437" fmla="*/ 5111044 w 9595474"/>
              <a:gd name="connsiteY437" fmla="*/ 4066859 h 6858001"/>
              <a:gd name="connsiteX438" fmla="*/ 5111636 w 9595474"/>
              <a:gd name="connsiteY438" fmla="*/ 4072891 h 6858001"/>
              <a:gd name="connsiteX439" fmla="*/ 5113113 w 9595474"/>
              <a:gd name="connsiteY439" fmla="*/ 4078606 h 6858001"/>
              <a:gd name="connsiteX440" fmla="*/ 5114591 w 9595474"/>
              <a:gd name="connsiteY440" fmla="*/ 4084321 h 6858001"/>
              <a:gd name="connsiteX441" fmla="*/ 5116660 w 9595474"/>
              <a:gd name="connsiteY441" fmla="*/ 4090036 h 6858001"/>
              <a:gd name="connsiteX442" fmla="*/ 5118729 w 9595474"/>
              <a:gd name="connsiteY442" fmla="*/ 4095751 h 6858001"/>
              <a:gd name="connsiteX443" fmla="*/ 5121094 w 9595474"/>
              <a:gd name="connsiteY443" fmla="*/ 4101784 h 6858001"/>
              <a:gd name="connsiteX444" fmla="*/ 5123754 w 9595474"/>
              <a:gd name="connsiteY444" fmla="*/ 4107181 h 6858001"/>
              <a:gd name="connsiteX445" fmla="*/ 5126710 w 9595474"/>
              <a:gd name="connsiteY445" fmla="*/ 4112579 h 6858001"/>
              <a:gd name="connsiteX446" fmla="*/ 5129961 w 9595474"/>
              <a:gd name="connsiteY446" fmla="*/ 4117976 h 6858001"/>
              <a:gd name="connsiteX447" fmla="*/ 5133508 w 9595474"/>
              <a:gd name="connsiteY447" fmla="*/ 4122739 h 6858001"/>
              <a:gd name="connsiteX448" fmla="*/ 5137646 w 9595474"/>
              <a:gd name="connsiteY448" fmla="*/ 4127819 h 6858001"/>
              <a:gd name="connsiteX449" fmla="*/ 5141488 w 9595474"/>
              <a:gd name="connsiteY449" fmla="*/ 4132581 h 6858001"/>
              <a:gd name="connsiteX450" fmla="*/ 5146218 w 9595474"/>
              <a:gd name="connsiteY450" fmla="*/ 4137344 h 6858001"/>
              <a:gd name="connsiteX451" fmla="*/ 5870075 w 9595474"/>
              <a:gd name="connsiteY451" fmla="*/ 4860926 h 6858001"/>
              <a:gd name="connsiteX452" fmla="*/ 5874509 w 9595474"/>
              <a:gd name="connsiteY452" fmla="*/ 4865689 h 6858001"/>
              <a:gd name="connsiteX453" fmla="*/ 5878646 w 9595474"/>
              <a:gd name="connsiteY453" fmla="*/ 4870769 h 6858001"/>
              <a:gd name="connsiteX454" fmla="*/ 5882489 w 9595474"/>
              <a:gd name="connsiteY454" fmla="*/ 4875849 h 6858001"/>
              <a:gd name="connsiteX455" fmla="*/ 5886036 w 9595474"/>
              <a:gd name="connsiteY455" fmla="*/ 4880929 h 6858001"/>
              <a:gd name="connsiteX456" fmla="*/ 5889287 w 9595474"/>
              <a:gd name="connsiteY456" fmla="*/ 4885691 h 6858001"/>
              <a:gd name="connsiteX457" fmla="*/ 5892243 w 9595474"/>
              <a:gd name="connsiteY457" fmla="*/ 4891089 h 6858001"/>
              <a:gd name="connsiteX458" fmla="*/ 5895199 w 9595474"/>
              <a:gd name="connsiteY458" fmla="*/ 4897121 h 6858001"/>
              <a:gd name="connsiteX459" fmla="*/ 5897268 w 9595474"/>
              <a:gd name="connsiteY459" fmla="*/ 4902519 h 6858001"/>
              <a:gd name="connsiteX460" fmla="*/ 5899336 w 9595474"/>
              <a:gd name="connsiteY460" fmla="*/ 4908234 h 6858001"/>
              <a:gd name="connsiteX461" fmla="*/ 5901701 w 9595474"/>
              <a:gd name="connsiteY461" fmla="*/ 4913949 h 6858001"/>
              <a:gd name="connsiteX462" fmla="*/ 5902883 w 9595474"/>
              <a:gd name="connsiteY462" fmla="*/ 4919664 h 6858001"/>
              <a:gd name="connsiteX463" fmla="*/ 5904066 w 9595474"/>
              <a:gd name="connsiteY463" fmla="*/ 4925696 h 6858001"/>
              <a:gd name="connsiteX464" fmla="*/ 5905248 w 9595474"/>
              <a:gd name="connsiteY464" fmla="*/ 4931411 h 6858001"/>
              <a:gd name="connsiteX465" fmla="*/ 5905840 w 9595474"/>
              <a:gd name="connsiteY465" fmla="*/ 4937444 h 6858001"/>
              <a:gd name="connsiteX466" fmla="*/ 5906135 w 9595474"/>
              <a:gd name="connsiteY466" fmla="*/ 4943476 h 6858001"/>
              <a:gd name="connsiteX467" fmla="*/ 5906726 w 9595474"/>
              <a:gd name="connsiteY467" fmla="*/ 4949509 h 6858001"/>
              <a:gd name="connsiteX468" fmla="*/ 5906135 w 9595474"/>
              <a:gd name="connsiteY468" fmla="*/ 4955224 h 6858001"/>
              <a:gd name="connsiteX469" fmla="*/ 5905840 w 9595474"/>
              <a:gd name="connsiteY469" fmla="*/ 4961256 h 6858001"/>
              <a:gd name="connsiteX470" fmla="*/ 5905248 w 9595474"/>
              <a:gd name="connsiteY470" fmla="*/ 4967289 h 6858001"/>
              <a:gd name="connsiteX471" fmla="*/ 5904066 w 9595474"/>
              <a:gd name="connsiteY471" fmla="*/ 4973004 h 6858001"/>
              <a:gd name="connsiteX472" fmla="*/ 5902883 w 9595474"/>
              <a:gd name="connsiteY472" fmla="*/ 4979036 h 6858001"/>
              <a:gd name="connsiteX473" fmla="*/ 5901701 w 9595474"/>
              <a:gd name="connsiteY473" fmla="*/ 4985069 h 6858001"/>
              <a:gd name="connsiteX474" fmla="*/ 5899336 w 9595474"/>
              <a:gd name="connsiteY474" fmla="*/ 4990784 h 6858001"/>
              <a:gd name="connsiteX475" fmla="*/ 5897268 w 9595474"/>
              <a:gd name="connsiteY475" fmla="*/ 4996181 h 6858001"/>
              <a:gd name="connsiteX476" fmla="*/ 5895199 w 9595474"/>
              <a:gd name="connsiteY476" fmla="*/ 5001896 h 6858001"/>
              <a:gd name="connsiteX477" fmla="*/ 5892243 w 9595474"/>
              <a:gd name="connsiteY477" fmla="*/ 5007294 h 6858001"/>
              <a:gd name="connsiteX478" fmla="*/ 5889287 w 9595474"/>
              <a:gd name="connsiteY478" fmla="*/ 5012691 h 6858001"/>
              <a:gd name="connsiteX479" fmla="*/ 5886036 w 9595474"/>
              <a:gd name="connsiteY479" fmla="*/ 5018089 h 6858001"/>
              <a:gd name="connsiteX480" fmla="*/ 5882489 w 9595474"/>
              <a:gd name="connsiteY480" fmla="*/ 5023169 h 6858001"/>
              <a:gd name="connsiteX481" fmla="*/ 5878646 w 9595474"/>
              <a:gd name="connsiteY481" fmla="*/ 5028249 h 6858001"/>
              <a:gd name="connsiteX482" fmla="*/ 5874509 w 9595474"/>
              <a:gd name="connsiteY482" fmla="*/ 5032694 h 6858001"/>
              <a:gd name="connsiteX483" fmla="*/ 5870075 w 9595474"/>
              <a:gd name="connsiteY483" fmla="*/ 5037456 h 6858001"/>
              <a:gd name="connsiteX484" fmla="*/ 5865346 w 9595474"/>
              <a:gd name="connsiteY484" fmla="*/ 5041901 h 6858001"/>
              <a:gd name="connsiteX485" fmla="*/ 5860617 w 9595474"/>
              <a:gd name="connsiteY485" fmla="*/ 5046029 h 6858001"/>
              <a:gd name="connsiteX486" fmla="*/ 5855592 w 9595474"/>
              <a:gd name="connsiteY486" fmla="*/ 5050156 h 6858001"/>
              <a:gd name="connsiteX487" fmla="*/ 5850567 w 9595474"/>
              <a:gd name="connsiteY487" fmla="*/ 5053649 h 6858001"/>
              <a:gd name="connsiteX488" fmla="*/ 5845247 w 9595474"/>
              <a:gd name="connsiteY488" fmla="*/ 5056824 h 6858001"/>
              <a:gd name="connsiteX489" fmla="*/ 5839926 w 9595474"/>
              <a:gd name="connsiteY489" fmla="*/ 5059681 h 6858001"/>
              <a:gd name="connsiteX490" fmla="*/ 5834311 w 9595474"/>
              <a:gd name="connsiteY490" fmla="*/ 5062539 h 6858001"/>
              <a:gd name="connsiteX491" fmla="*/ 5828695 w 9595474"/>
              <a:gd name="connsiteY491" fmla="*/ 5064761 h 6858001"/>
              <a:gd name="connsiteX492" fmla="*/ 5823375 w 9595474"/>
              <a:gd name="connsiteY492" fmla="*/ 5066984 h 6858001"/>
              <a:gd name="connsiteX493" fmla="*/ 5817463 w 9595474"/>
              <a:gd name="connsiteY493" fmla="*/ 5069206 h 6858001"/>
              <a:gd name="connsiteX494" fmla="*/ 5811552 w 9595474"/>
              <a:gd name="connsiteY494" fmla="*/ 5070476 h 6858001"/>
              <a:gd name="connsiteX495" fmla="*/ 5805640 w 9595474"/>
              <a:gd name="connsiteY495" fmla="*/ 5071429 h 6858001"/>
              <a:gd name="connsiteX496" fmla="*/ 5800024 w 9595474"/>
              <a:gd name="connsiteY496" fmla="*/ 5072699 h 6858001"/>
              <a:gd name="connsiteX497" fmla="*/ 5793817 w 9595474"/>
              <a:gd name="connsiteY497" fmla="*/ 5073334 h 6858001"/>
              <a:gd name="connsiteX498" fmla="*/ 5787610 w 9595474"/>
              <a:gd name="connsiteY498" fmla="*/ 5073651 h 6858001"/>
              <a:gd name="connsiteX499" fmla="*/ 5781994 w 9595474"/>
              <a:gd name="connsiteY499" fmla="*/ 5073969 h 6858001"/>
              <a:gd name="connsiteX500" fmla="*/ 5775787 w 9595474"/>
              <a:gd name="connsiteY500" fmla="*/ 5073651 h 6858001"/>
              <a:gd name="connsiteX501" fmla="*/ 5770171 w 9595474"/>
              <a:gd name="connsiteY501" fmla="*/ 5073334 h 6858001"/>
              <a:gd name="connsiteX502" fmla="*/ 5763965 w 9595474"/>
              <a:gd name="connsiteY502" fmla="*/ 5072699 h 6858001"/>
              <a:gd name="connsiteX503" fmla="*/ 5758349 w 9595474"/>
              <a:gd name="connsiteY503" fmla="*/ 5071429 h 6858001"/>
              <a:gd name="connsiteX504" fmla="*/ 5752141 w 9595474"/>
              <a:gd name="connsiteY504" fmla="*/ 5070476 h 6858001"/>
              <a:gd name="connsiteX505" fmla="*/ 5746526 w 9595474"/>
              <a:gd name="connsiteY505" fmla="*/ 5069206 h 6858001"/>
              <a:gd name="connsiteX506" fmla="*/ 5740614 w 9595474"/>
              <a:gd name="connsiteY506" fmla="*/ 5066984 h 6858001"/>
              <a:gd name="connsiteX507" fmla="*/ 5734998 w 9595474"/>
              <a:gd name="connsiteY507" fmla="*/ 5064761 h 6858001"/>
              <a:gd name="connsiteX508" fmla="*/ 5729382 w 9595474"/>
              <a:gd name="connsiteY508" fmla="*/ 5062539 h 6858001"/>
              <a:gd name="connsiteX509" fmla="*/ 5723767 w 9595474"/>
              <a:gd name="connsiteY509" fmla="*/ 5059681 h 6858001"/>
              <a:gd name="connsiteX510" fmla="*/ 5718446 w 9595474"/>
              <a:gd name="connsiteY510" fmla="*/ 5056824 h 6858001"/>
              <a:gd name="connsiteX511" fmla="*/ 5713421 w 9595474"/>
              <a:gd name="connsiteY511" fmla="*/ 5053649 h 6858001"/>
              <a:gd name="connsiteX512" fmla="*/ 5708396 w 9595474"/>
              <a:gd name="connsiteY512" fmla="*/ 5050156 h 6858001"/>
              <a:gd name="connsiteX513" fmla="*/ 5703372 w 9595474"/>
              <a:gd name="connsiteY513" fmla="*/ 5046029 h 6858001"/>
              <a:gd name="connsiteX514" fmla="*/ 5698347 w 9595474"/>
              <a:gd name="connsiteY514" fmla="*/ 5041901 h 6858001"/>
              <a:gd name="connsiteX515" fmla="*/ 5693618 w 9595474"/>
              <a:gd name="connsiteY515" fmla="*/ 5037456 h 6858001"/>
              <a:gd name="connsiteX516" fmla="*/ 5598148 w 9595474"/>
              <a:gd name="connsiteY516" fmla="*/ 4941889 h 6858001"/>
              <a:gd name="connsiteX517" fmla="*/ 5490560 w 9595474"/>
              <a:gd name="connsiteY517" fmla="*/ 4834574 h 6858001"/>
              <a:gd name="connsiteX518" fmla="*/ 5485830 w 9595474"/>
              <a:gd name="connsiteY518" fmla="*/ 4830129 h 6858001"/>
              <a:gd name="connsiteX519" fmla="*/ 5481397 w 9595474"/>
              <a:gd name="connsiteY519" fmla="*/ 4826001 h 6858001"/>
              <a:gd name="connsiteX520" fmla="*/ 5476372 w 9595474"/>
              <a:gd name="connsiteY520" fmla="*/ 4821874 h 6858001"/>
              <a:gd name="connsiteX521" fmla="*/ 5471348 w 9595474"/>
              <a:gd name="connsiteY521" fmla="*/ 4818381 h 6858001"/>
              <a:gd name="connsiteX522" fmla="*/ 5465732 w 9595474"/>
              <a:gd name="connsiteY522" fmla="*/ 4815206 h 6858001"/>
              <a:gd name="connsiteX523" fmla="*/ 5460411 w 9595474"/>
              <a:gd name="connsiteY523" fmla="*/ 4812349 h 6858001"/>
              <a:gd name="connsiteX524" fmla="*/ 5455091 w 9595474"/>
              <a:gd name="connsiteY524" fmla="*/ 4809174 h 6858001"/>
              <a:gd name="connsiteX525" fmla="*/ 5449475 w 9595474"/>
              <a:gd name="connsiteY525" fmla="*/ 4807269 h 6858001"/>
              <a:gd name="connsiteX526" fmla="*/ 5443563 w 9595474"/>
              <a:gd name="connsiteY526" fmla="*/ 4805046 h 6858001"/>
              <a:gd name="connsiteX527" fmla="*/ 5437948 w 9595474"/>
              <a:gd name="connsiteY527" fmla="*/ 4802824 h 6858001"/>
              <a:gd name="connsiteX528" fmla="*/ 5432036 w 9595474"/>
              <a:gd name="connsiteY528" fmla="*/ 4801554 h 6858001"/>
              <a:gd name="connsiteX529" fmla="*/ 5426420 w 9595474"/>
              <a:gd name="connsiteY529" fmla="*/ 4800284 h 6858001"/>
              <a:gd name="connsiteX530" fmla="*/ 5420509 w 9595474"/>
              <a:gd name="connsiteY530" fmla="*/ 4799331 h 6858001"/>
              <a:gd name="connsiteX531" fmla="*/ 5414597 w 9595474"/>
              <a:gd name="connsiteY531" fmla="*/ 4798696 h 6858001"/>
              <a:gd name="connsiteX532" fmla="*/ 5408391 w 9595474"/>
              <a:gd name="connsiteY532" fmla="*/ 4798061 h 6858001"/>
              <a:gd name="connsiteX533" fmla="*/ 5402775 w 9595474"/>
              <a:gd name="connsiteY533" fmla="*/ 4797744 h 6858001"/>
              <a:gd name="connsiteX534" fmla="*/ 5396568 w 9595474"/>
              <a:gd name="connsiteY534" fmla="*/ 4798061 h 6858001"/>
              <a:gd name="connsiteX535" fmla="*/ 5390361 w 9595474"/>
              <a:gd name="connsiteY535" fmla="*/ 4798696 h 6858001"/>
              <a:gd name="connsiteX536" fmla="*/ 5384745 w 9595474"/>
              <a:gd name="connsiteY536" fmla="*/ 4799331 h 6858001"/>
              <a:gd name="connsiteX537" fmla="*/ 5378538 w 9595474"/>
              <a:gd name="connsiteY537" fmla="*/ 4800284 h 6858001"/>
              <a:gd name="connsiteX538" fmla="*/ 5372922 w 9595474"/>
              <a:gd name="connsiteY538" fmla="*/ 4801554 h 6858001"/>
              <a:gd name="connsiteX539" fmla="*/ 5367010 w 9595474"/>
              <a:gd name="connsiteY539" fmla="*/ 4802824 h 6858001"/>
              <a:gd name="connsiteX540" fmla="*/ 5361394 w 9595474"/>
              <a:gd name="connsiteY540" fmla="*/ 4805046 h 6858001"/>
              <a:gd name="connsiteX541" fmla="*/ 5355483 w 9595474"/>
              <a:gd name="connsiteY541" fmla="*/ 4807269 h 6858001"/>
              <a:gd name="connsiteX542" fmla="*/ 5350163 w 9595474"/>
              <a:gd name="connsiteY542" fmla="*/ 4809174 h 6858001"/>
              <a:gd name="connsiteX543" fmla="*/ 5344547 w 9595474"/>
              <a:gd name="connsiteY543" fmla="*/ 4812349 h 6858001"/>
              <a:gd name="connsiteX544" fmla="*/ 5338931 w 9595474"/>
              <a:gd name="connsiteY544" fmla="*/ 4815206 h 6858001"/>
              <a:gd name="connsiteX545" fmla="*/ 5333906 w 9595474"/>
              <a:gd name="connsiteY545" fmla="*/ 4818381 h 6858001"/>
              <a:gd name="connsiteX546" fmla="*/ 5328881 w 9595474"/>
              <a:gd name="connsiteY546" fmla="*/ 4821874 h 6858001"/>
              <a:gd name="connsiteX547" fmla="*/ 5323857 w 9595474"/>
              <a:gd name="connsiteY547" fmla="*/ 4826001 h 6858001"/>
              <a:gd name="connsiteX548" fmla="*/ 5318832 w 9595474"/>
              <a:gd name="connsiteY548" fmla="*/ 4830129 h 6858001"/>
              <a:gd name="connsiteX549" fmla="*/ 5314398 w 9595474"/>
              <a:gd name="connsiteY549" fmla="*/ 4834574 h 6858001"/>
              <a:gd name="connsiteX550" fmla="*/ 5307305 w 9595474"/>
              <a:gd name="connsiteY550" fmla="*/ 4841876 h 6858001"/>
              <a:gd name="connsiteX551" fmla="*/ 5301393 w 9595474"/>
              <a:gd name="connsiteY551" fmla="*/ 4849814 h 6858001"/>
              <a:gd name="connsiteX552" fmla="*/ 5295482 w 9595474"/>
              <a:gd name="connsiteY552" fmla="*/ 4858069 h 6858001"/>
              <a:gd name="connsiteX553" fmla="*/ 5291048 w 9595474"/>
              <a:gd name="connsiteY553" fmla="*/ 4867276 h 6858001"/>
              <a:gd name="connsiteX554" fmla="*/ 5286910 w 9595474"/>
              <a:gd name="connsiteY554" fmla="*/ 4875849 h 6858001"/>
              <a:gd name="connsiteX555" fmla="*/ 5283659 w 9595474"/>
              <a:gd name="connsiteY555" fmla="*/ 4885056 h 6858001"/>
              <a:gd name="connsiteX556" fmla="*/ 5281294 w 9595474"/>
              <a:gd name="connsiteY556" fmla="*/ 4894581 h 6858001"/>
              <a:gd name="connsiteX557" fmla="*/ 5279521 w 9595474"/>
              <a:gd name="connsiteY557" fmla="*/ 4903789 h 6858001"/>
              <a:gd name="connsiteX558" fmla="*/ 5278339 w 9595474"/>
              <a:gd name="connsiteY558" fmla="*/ 4913631 h 6858001"/>
              <a:gd name="connsiteX559" fmla="*/ 5278339 w 9595474"/>
              <a:gd name="connsiteY559" fmla="*/ 4923156 h 6858001"/>
              <a:gd name="connsiteX560" fmla="*/ 5278634 w 9595474"/>
              <a:gd name="connsiteY560" fmla="*/ 4932999 h 6858001"/>
              <a:gd name="connsiteX561" fmla="*/ 5279816 w 9595474"/>
              <a:gd name="connsiteY561" fmla="*/ 4942206 h 6858001"/>
              <a:gd name="connsiteX562" fmla="*/ 5281885 w 9595474"/>
              <a:gd name="connsiteY562" fmla="*/ 4952049 h 6858001"/>
              <a:gd name="connsiteX563" fmla="*/ 5284546 w 9595474"/>
              <a:gd name="connsiteY563" fmla="*/ 4960939 h 6858001"/>
              <a:gd name="connsiteX564" fmla="*/ 5288092 w 9595474"/>
              <a:gd name="connsiteY564" fmla="*/ 4970146 h 6858001"/>
              <a:gd name="connsiteX565" fmla="*/ 5291935 w 9595474"/>
              <a:gd name="connsiteY565" fmla="*/ 4979354 h 6858001"/>
              <a:gd name="connsiteX566" fmla="*/ 5583665 w 9595474"/>
              <a:gd name="connsiteY566" fmla="*/ 5270501 h 6858001"/>
              <a:gd name="connsiteX567" fmla="*/ 5588098 w 9595474"/>
              <a:gd name="connsiteY567" fmla="*/ 5275264 h 6858001"/>
              <a:gd name="connsiteX568" fmla="*/ 5592237 w 9595474"/>
              <a:gd name="connsiteY568" fmla="*/ 5280344 h 6858001"/>
              <a:gd name="connsiteX569" fmla="*/ 5595784 w 9595474"/>
              <a:gd name="connsiteY569" fmla="*/ 5284789 h 6858001"/>
              <a:gd name="connsiteX570" fmla="*/ 5599626 w 9595474"/>
              <a:gd name="connsiteY570" fmla="*/ 5290186 h 6858001"/>
              <a:gd name="connsiteX571" fmla="*/ 5602582 w 9595474"/>
              <a:gd name="connsiteY571" fmla="*/ 5295266 h 6858001"/>
              <a:gd name="connsiteX572" fmla="*/ 5605833 w 9595474"/>
              <a:gd name="connsiteY572" fmla="*/ 5300664 h 6858001"/>
              <a:gd name="connsiteX573" fmla="*/ 5608493 w 9595474"/>
              <a:gd name="connsiteY573" fmla="*/ 5306061 h 6858001"/>
              <a:gd name="connsiteX574" fmla="*/ 5610857 w 9595474"/>
              <a:gd name="connsiteY574" fmla="*/ 5311776 h 6858001"/>
              <a:gd name="connsiteX575" fmla="*/ 5613222 w 9595474"/>
              <a:gd name="connsiteY575" fmla="*/ 5317491 h 6858001"/>
              <a:gd name="connsiteX576" fmla="*/ 5614996 w 9595474"/>
              <a:gd name="connsiteY576" fmla="*/ 5323524 h 6858001"/>
              <a:gd name="connsiteX577" fmla="*/ 5616474 w 9595474"/>
              <a:gd name="connsiteY577" fmla="*/ 5329239 h 6858001"/>
              <a:gd name="connsiteX578" fmla="*/ 5617656 w 9595474"/>
              <a:gd name="connsiteY578" fmla="*/ 5334954 h 6858001"/>
              <a:gd name="connsiteX579" fmla="*/ 5618838 w 9595474"/>
              <a:gd name="connsiteY579" fmla="*/ 5340986 h 6858001"/>
              <a:gd name="connsiteX580" fmla="*/ 5619725 w 9595474"/>
              <a:gd name="connsiteY580" fmla="*/ 5346701 h 6858001"/>
              <a:gd name="connsiteX581" fmla="*/ 5620021 w 9595474"/>
              <a:gd name="connsiteY581" fmla="*/ 5352734 h 6858001"/>
              <a:gd name="connsiteX582" fmla="*/ 5620021 w 9595474"/>
              <a:gd name="connsiteY582" fmla="*/ 5359084 h 6858001"/>
              <a:gd name="connsiteX583" fmla="*/ 5620021 w 9595474"/>
              <a:gd name="connsiteY583" fmla="*/ 5364799 h 6858001"/>
              <a:gd name="connsiteX584" fmla="*/ 5619725 w 9595474"/>
              <a:gd name="connsiteY584" fmla="*/ 5370831 h 6858001"/>
              <a:gd name="connsiteX585" fmla="*/ 5618838 w 9595474"/>
              <a:gd name="connsiteY585" fmla="*/ 5376546 h 6858001"/>
              <a:gd name="connsiteX586" fmla="*/ 5617656 w 9595474"/>
              <a:gd name="connsiteY586" fmla="*/ 5382579 h 6858001"/>
              <a:gd name="connsiteX587" fmla="*/ 5616474 w 9595474"/>
              <a:gd name="connsiteY587" fmla="*/ 5388294 h 6858001"/>
              <a:gd name="connsiteX588" fmla="*/ 5614996 w 9595474"/>
              <a:gd name="connsiteY588" fmla="*/ 5394009 h 6858001"/>
              <a:gd name="connsiteX589" fmla="*/ 5613222 w 9595474"/>
              <a:gd name="connsiteY589" fmla="*/ 5400041 h 6858001"/>
              <a:gd name="connsiteX590" fmla="*/ 5610857 w 9595474"/>
              <a:gd name="connsiteY590" fmla="*/ 5405756 h 6858001"/>
              <a:gd name="connsiteX591" fmla="*/ 5608493 w 9595474"/>
              <a:gd name="connsiteY591" fmla="*/ 5411471 h 6858001"/>
              <a:gd name="connsiteX592" fmla="*/ 5605833 w 9595474"/>
              <a:gd name="connsiteY592" fmla="*/ 5416869 h 6858001"/>
              <a:gd name="connsiteX593" fmla="*/ 5602582 w 9595474"/>
              <a:gd name="connsiteY593" fmla="*/ 5422266 h 6858001"/>
              <a:gd name="connsiteX594" fmla="*/ 5599626 w 9595474"/>
              <a:gd name="connsiteY594" fmla="*/ 5427664 h 6858001"/>
              <a:gd name="connsiteX595" fmla="*/ 5595784 w 9595474"/>
              <a:gd name="connsiteY595" fmla="*/ 5432744 h 6858001"/>
              <a:gd name="connsiteX596" fmla="*/ 5592237 w 9595474"/>
              <a:gd name="connsiteY596" fmla="*/ 5437506 h 6858001"/>
              <a:gd name="connsiteX597" fmla="*/ 5588098 w 9595474"/>
              <a:gd name="connsiteY597" fmla="*/ 5442269 h 6858001"/>
              <a:gd name="connsiteX598" fmla="*/ 5583665 w 9595474"/>
              <a:gd name="connsiteY598" fmla="*/ 5447031 h 6858001"/>
              <a:gd name="connsiteX599" fmla="*/ 5578936 w 9595474"/>
              <a:gd name="connsiteY599" fmla="*/ 5451159 h 6858001"/>
              <a:gd name="connsiteX600" fmla="*/ 5573911 w 9595474"/>
              <a:gd name="connsiteY600" fmla="*/ 5455604 h 6858001"/>
              <a:gd name="connsiteX601" fmla="*/ 5569182 w 9595474"/>
              <a:gd name="connsiteY601" fmla="*/ 5459096 h 6858001"/>
              <a:gd name="connsiteX602" fmla="*/ 5563862 w 9595474"/>
              <a:gd name="connsiteY602" fmla="*/ 5462906 h 6858001"/>
              <a:gd name="connsiteX603" fmla="*/ 5558837 w 9595474"/>
              <a:gd name="connsiteY603" fmla="*/ 5466081 h 6858001"/>
              <a:gd name="connsiteX604" fmla="*/ 5553517 w 9595474"/>
              <a:gd name="connsiteY604" fmla="*/ 5469256 h 6858001"/>
              <a:gd name="connsiteX605" fmla="*/ 5548196 w 9595474"/>
              <a:gd name="connsiteY605" fmla="*/ 5471796 h 6858001"/>
              <a:gd name="connsiteX606" fmla="*/ 5542285 w 9595474"/>
              <a:gd name="connsiteY606" fmla="*/ 5474336 h 6858001"/>
              <a:gd name="connsiteX607" fmla="*/ 5536964 w 9595474"/>
              <a:gd name="connsiteY607" fmla="*/ 5476559 h 6858001"/>
              <a:gd name="connsiteX608" fmla="*/ 5531348 w 9595474"/>
              <a:gd name="connsiteY608" fmla="*/ 5478146 h 6858001"/>
              <a:gd name="connsiteX609" fmla="*/ 5525437 w 9595474"/>
              <a:gd name="connsiteY609" fmla="*/ 5479734 h 6858001"/>
              <a:gd name="connsiteX610" fmla="*/ 5519230 w 9595474"/>
              <a:gd name="connsiteY610" fmla="*/ 5481004 h 6858001"/>
              <a:gd name="connsiteX611" fmla="*/ 5513614 w 9595474"/>
              <a:gd name="connsiteY611" fmla="*/ 5482274 h 6858001"/>
              <a:gd name="connsiteX612" fmla="*/ 5507999 w 9595474"/>
              <a:gd name="connsiteY612" fmla="*/ 5482909 h 6858001"/>
              <a:gd name="connsiteX613" fmla="*/ 5501791 w 9595474"/>
              <a:gd name="connsiteY613" fmla="*/ 5483226 h 6858001"/>
              <a:gd name="connsiteX614" fmla="*/ 5495585 w 9595474"/>
              <a:gd name="connsiteY614" fmla="*/ 5483544 h 6858001"/>
              <a:gd name="connsiteX615" fmla="*/ 6873545 w 9595474"/>
              <a:gd name="connsiteY615" fmla="*/ 6858001 h 6858001"/>
              <a:gd name="connsiteX616" fmla="*/ 9595474 w 9595474"/>
              <a:gd name="connsiteY616" fmla="*/ 6858001 h 6858001"/>
              <a:gd name="connsiteX617" fmla="*/ 9595474 w 9595474"/>
              <a:gd name="connsiteY617" fmla="*/ 1 h 6858001"/>
              <a:gd name="connsiteX618" fmla="*/ 3525498 w 9595474"/>
              <a:gd name="connsiteY618" fmla="*/ 1 h 6858001"/>
              <a:gd name="connsiteX619" fmla="*/ 3525497 w 9595474"/>
              <a:gd name="connsiteY619" fmla="*/ 0 h 6858001"/>
              <a:gd name="connsiteX0" fmla="*/ 3525497 w 9595474"/>
              <a:gd name="connsiteY0" fmla="*/ 0 h 6858001"/>
              <a:gd name="connsiteX1" fmla="*/ 2914258 w 9595474"/>
              <a:gd name="connsiteY1" fmla="*/ 0 h 6858001"/>
              <a:gd name="connsiteX2" fmla="*/ 2914259 w 9595474"/>
              <a:gd name="connsiteY2" fmla="*/ 1 h 6858001"/>
              <a:gd name="connsiteX3" fmla="*/ 0 w 9595474"/>
              <a:gd name="connsiteY3" fmla="*/ 1 h 6858001"/>
              <a:gd name="connsiteX4" fmla="*/ 692823 w 9595474"/>
              <a:gd name="connsiteY4" fmla="*/ 691199 h 6858001"/>
              <a:gd name="connsiteX5" fmla="*/ 691345 w 9595474"/>
              <a:gd name="connsiteY5" fmla="*/ 683896 h 6858001"/>
              <a:gd name="connsiteX6" fmla="*/ 690754 w 9595474"/>
              <a:gd name="connsiteY6" fmla="*/ 676276 h 6858001"/>
              <a:gd name="connsiteX7" fmla="*/ 690754 w 9595474"/>
              <a:gd name="connsiteY7" fmla="*/ 669291 h 6858001"/>
              <a:gd name="connsiteX8" fmla="*/ 690754 w 9595474"/>
              <a:gd name="connsiteY8" fmla="*/ 661989 h 6858001"/>
              <a:gd name="connsiteX9" fmla="*/ 691345 w 9595474"/>
              <a:gd name="connsiteY9" fmla="*/ 654369 h 6858001"/>
              <a:gd name="connsiteX10" fmla="*/ 692527 w 9595474"/>
              <a:gd name="connsiteY10" fmla="*/ 647384 h 6858001"/>
              <a:gd name="connsiteX11" fmla="*/ 694005 w 9595474"/>
              <a:gd name="connsiteY11" fmla="*/ 640081 h 6858001"/>
              <a:gd name="connsiteX12" fmla="*/ 695778 w 9595474"/>
              <a:gd name="connsiteY12" fmla="*/ 633096 h 6858001"/>
              <a:gd name="connsiteX13" fmla="*/ 698143 w 9595474"/>
              <a:gd name="connsiteY13" fmla="*/ 625794 h 6858001"/>
              <a:gd name="connsiteX14" fmla="*/ 700803 w 9595474"/>
              <a:gd name="connsiteY14" fmla="*/ 618809 h 6858001"/>
              <a:gd name="connsiteX15" fmla="*/ 704054 w 9595474"/>
              <a:gd name="connsiteY15" fmla="*/ 612141 h 6858001"/>
              <a:gd name="connsiteX16" fmla="*/ 707601 w 9595474"/>
              <a:gd name="connsiteY16" fmla="*/ 605791 h 6858001"/>
              <a:gd name="connsiteX17" fmla="*/ 712035 w 9595474"/>
              <a:gd name="connsiteY17" fmla="*/ 599124 h 6858001"/>
              <a:gd name="connsiteX18" fmla="*/ 716173 w 9595474"/>
              <a:gd name="connsiteY18" fmla="*/ 592774 h 6858001"/>
              <a:gd name="connsiteX19" fmla="*/ 721198 w 9595474"/>
              <a:gd name="connsiteY19" fmla="*/ 587059 h 6858001"/>
              <a:gd name="connsiteX20" fmla="*/ 726518 w 9595474"/>
              <a:gd name="connsiteY20" fmla="*/ 581344 h 6858001"/>
              <a:gd name="connsiteX21" fmla="*/ 731247 w 9595474"/>
              <a:gd name="connsiteY21" fmla="*/ 576899 h 6858001"/>
              <a:gd name="connsiteX22" fmla="*/ 735976 w 9595474"/>
              <a:gd name="connsiteY22" fmla="*/ 572454 h 6858001"/>
              <a:gd name="connsiteX23" fmla="*/ 741001 w 9595474"/>
              <a:gd name="connsiteY23" fmla="*/ 568961 h 6858001"/>
              <a:gd name="connsiteX24" fmla="*/ 746026 w 9595474"/>
              <a:gd name="connsiteY24" fmla="*/ 565469 h 6858001"/>
              <a:gd name="connsiteX25" fmla="*/ 751050 w 9595474"/>
              <a:gd name="connsiteY25" fmla="*/ 562294 h 6858001"/>
              <a:gd name="connsiteX26" fmla="*/ 756371 w 9595474"/>
              <a:gd name="connsiteY26" fmla="*/ 558801 h 6858001"/>
              <a:gd name="connsiteX27" fmla="*/ 761691 w 9595474"/>
              <a:gd name="connsiteY27" fmla="*/ 556579 h 6858001"/>
              <a:gd name="connsiteX28" fmla="*/ 767602 w 9595474"/>
              <a:gd name="connsiteY28" fmla="*/ 554039 h 6858001"/>
              <a:gd name="connsiteX29" fmla="*/ 772923 w 9595474"/>
              <a:gd name="connsiteY29" fmla="*/ 551816 h 6858001"/>
              <a:gd name="connsiteX30" fmla="*/ 778834 w 9595474"/>
              <a:gd name="connsiteY30" fmla="*/ 549911 h 6858001"/>
              <a:gd name="connsiteX31" fmla="*/ 784450 w 9595474"/>
              <a:gd name="connsiteY31" fmla="*/ 548641 h 6858001"/>
              <a:gd name="connsiteX32" fmla="*/ 790066 w 9595474"/>
              <a:gd name="connsiteY32" fmla="*/ 547371 h 6858001"/>
              <a:gd name="connsiteX33" fmla="*/ 795977 w 9595474"/>
              <a:gd name="connsiteY33" fmla="*/ 546419 h 6858001"/>
              <a:gd name="connsiteX34" fmla="*/ 802184 w 9595474"/>
              <a:gd name="connsiteY34" fmla="*/ 545784 h 6858001"/>
              <a:gd name="connsiteX35" fmla="*/ 807800 w 9595474"/>
              <a:gd name="connsiteY35" fmla="*/ 545466 h 6858001"/>
              <a:gd name="connsiteX36" fmla="*/ 814007 w 9595474"/>
              <a:gd name="connsiteY36" fmla="*/ 544831 h 6858001"/>
              <a:gd name="connsiteX37" fmla="*/ 819623 w 9595474"/>
              <a:gd name="connsiteY37" fmla="*/ 545466 h 6858001"/>
              <a:gd name="connsiteX38" fmla="*/ 825830 w 9595474"/>
              <a:gd name="connsiteY38" fmla="*/ 545784 h 6858001"/>
              <a:gd name="connsiteX39" fmla="*/ 831446 w 9595474"/>
              <a:gd name="connsiteY39" fmla="*/ 546419 h 6858001"/>
              <a:gd name="connsiteX40" fmla="*/ 837358 w 9595474"/>
              <a:gd name="connsiteY40" fmla="*/ 547371 h 6858001"/>
              <a:gd name="connsiteX41" fmla="*/ 842974 w 9595474"/>
              <a:gd name="connsiteY41" fmla="*/ 548641 h 6858001"/>
              <a:gd name="connsiteX42" fmla="*/ 848885 w 9595474"/>
              <a:gd name="connsiteY42" fmla="*/ 549911 h 6858001"/>
              <a:gd name="connsiteX43" fmla="*/ 854501 w 9595474"/>
              <a:gd name="connsiteY43" fmla="*/ 551816 h 6858001"/>
              <a:gd name="connsiteX44" fmla="*/ 860117 w 9595474"/>
              <a:gd name="connsiteY44" fmla="*/ 554039 h 6858001"/>
              <a:gd name="connsiteX45" fmla="*/ 865733 w 9595474"/>
              <a:gd name="connsiteY45" fmla="*/ 556579 h 6858001"/>
              <a:gd name="connsiteX46" fmla="*/ 871053 w 9595474"/>
              <a:gd name="connsiteY46" fmla="*/ 558801 h 6858001"/>
              <a:gd name="connsiteX47" fmla="*/ 876373 w 9595474"/>
              <a:gd name="connsiteY47" fmla="*/ 562294 h 6858001"/>
              <a:gd name="connsiteX48" fmla="*/ 881398 w 9595474"/>
              <a:gd name="connsiteY48" fmla="*/ 565469 h 6858001"/>
              <a:gd name="connsiteX49" fmla="*/ 886718 w 9595474"/>
              <a:gd name="connsiteY49" fmla="*/ 568961 h 6858001"/>
              <a:gd name="connsiteX50" fmla="*/ 891447 w 9595474"/>
              <a:gd name="connsiteY50" fmla="*/ 572454 h 6858001"/>
              <a:gd name="connsiteX51" fmla="*/ 896177 w 9595474"/>
              <a:gd name="connsiteY51" fmla="*/ 576899 h 6858001"/>
              <a:gd name="connsiteX52" fmla="*/ 900906 w 9595474"/>
              <a:gd name="connsiteY52" fmla="*/ 581344 h 6858001"/>
              <a:gd name="connsiteX53" fmla="*/ 1431459 w 9595474"/>
              <a:gd name="connsiteY53" fmla="*/ 1111569 h 6858001"/>
              <a:gd name="connsiteX54" fmla="*/ 2394731 w 9595474"/>
              <a:gd name="connsiteY54" fmla="*/ 2074864 h 6858001"/>
              <a:gd name="connsiteX55" fmla="*/ 2399164 w 9595474"/>
              <a:gd name="connsiteY55" fmla="*/ 2079309 h 6858001"/>
              <a:gd name="connsiteX56" fmla="*/ 2404189 w 9595474"/>
              <a:gd name="connsiteY56" fmla="*/ 2083436 h 6858001"/>
              <a:gd name="connsiteX57" fmla="*/ 2408918 w 9595474"/>
              <a:gd name="connsiteY57" fmla="*/ 2087246 h 6858001"/>
              <a:gd name="connsiteX58" fmla="*/ 2413943 w 9595474"/>
              <a:gd name="connsiteY58" fmla="*/ 2090739 h 6858001"/>
              <a:gd name="connsiteX59" fmla="*/ 2419263 w 9595474"/>
              <a:gd name="connsiteY59" fmla="*/ 2093914 h 6858001"/>
              <a:gd name="connsiteX60" fmla="*/ 2424583 w 9595474"/>
              <a:gd name="connsiteY60" fmla="*/ 2096771 h 6858001"/>
              <a:gd name="connsiteX61" fmla="*/ 2430199 w 9595474"/>
              <a:gd name="connsiteY61" fmla="*/ 2099629 h 6858001"/>
              <a:gd name="connsiteX62" fmla="*/ 2435520 w 9595474"/>
              <a:gd name="connsiteY62" fmla="*/ 2101851 h 6858001"/>
              <a:gd name="connsiteX63" fmla="*/ 2441136 w 9595474"/>
              <a:gd name="connsiteY63" fmla="*/ 2104074 h 6858001"/>
              <a:gd name="connsiteX64" fmla="*/ 2447047 w 9595474"/>
              <a:gd name="connsiteY64" fmla="*/ 2105661 h 6858001"/>
              <a:gd name="connsiteX65" fmla="*/ 2452663 w 9595474"/>
              <a:gd name="connsiteY65" fmla="*/ 2107566 h 6858001"/>
              <a:gd name="connsiteX66" fmla="*/ 2458574 w 9595474"/>
              <a:gd name="connsiteY66" fmla="*/ 2108519 h 6858001"/>
              <a:gd name="connsiteX67" fmla="*/ 2464190 w 9595474"/>
              <a:gd name="connsiteY67" fmla="*/ 2109789 h 6858001"/>
              <a:gd name="connsiteX68" fmla="*/ 2469806 w 9595474"/>
              <a:gd name="connsiteY68" fmla="*/ 2110424 h 6858001"/>
              <a:gd name="connsiteX69" fmla="*/ 2476013 w 9595474"/>
              <a:gd name="connsiteY69" fmla="*/ 2110741 h 6858001"/>
              <a:gd name="connsiteX70" fmla="*/ 2481925 w 9595474"/>
              <a:gd name="connsiteY70" fmla="*/ 2111059 h 6858001"/>
              <a:gd name="connsiteX71" fmla="*/ 2487836 w 9595474"/>
              <a:gd name="connsiteY71" fmla="*/ 2110741 h 6858001"/>
              <a:gd name="connsiteX72" fmla="*/ 2493747 w 9595474"/>
              <a:gd name="connsiteY72" fmla="*/ 2110424 h 6858001"/>
              <a:gd name="connsiteX73" fmla="*/ 2499363 w 9595474"/>
              <a:gd name="connsiteY73" fmla="*/ 2109789 h 6858001"/>
              <a:gd name="connsiteX74" fmla="*/ 2505570 w 9595474"/>
              <a:gd name="connsiteY74" fmla="*/ 2108519 h 6858001"/>
              <a:gd name="connsiteX75" fmla="*/ 2511186 w 9595474"/>
              <a:gd name="connsiteY75" fmla="*/ 2107566 h 6858001"/>
              <a:gd name="connsiteX76" fmla="*/ 2517098 w 9595474"/>
              <a:gd name="connsiteY76" fmla="*/ 2105661 h 6858001"/>
              <a:gd name="connsiteX77" fmla="*/ 2522714 w 9595474"/>
              <a:gd name="connsiteY77" fmla="*/ 2104074 h 6858001"/>
              <a:gd name="connsiteX78" fmla="*/ 2528034 w 9595474"/>
              <a:gd name="connsiteY78" fmla="*/ 2101851 h 6858001"/>
              <a:gd name="connsiteX79" fmla="*/ 2533945 w 9595474"/>
              <a:gd name="connsiteY79" fmla="*/ 2099629 h 6858001"/>
              <a:gd name="connsiteX80" fmla="*/ 2539266 w 9595474"/>
              <a:gd name="connsiteY80" fmla="*/ 2096771 h 6858001"/>
              <a:gd name="connsiteX81" fmla="*/ 2544290 w 9595474"/>
              <a:gd name="connsiteY81" fmla="*/ 2093914 h 6858001"/>
              <a:gd name="connsiteX82" fmla="*/ 2549611 w 9595474"/>
              <a:gd name="connsiteY82" fmla="*/ 2090739 h 6858001"/>
              <a:gd name="connsiteX83" fmla="*/ 2554635 w 9595474"/>
              <a:gd name="connsiteY83" fmla="*/ 2087246 h 6858001"/>
              <a:gd name="connsiteX84" fmla="*/ 2559660 w 9595474"/>
              <a:gd name="connsiteY84" fmla="*/ 2083436 h 6858001"/>
              <a:gd name="connsiteX85" fmla="*/ 2564389 w 9595474"/>
              <a:gd name="connsiteY85" fmla="*/ 2079309 h 6858001"/>
              <a:gd name="connsiteX86" fmla="*/ 2569119 w 9595474"/>
              <a:gd name="connsiteY86" fmla="*/ 2074864 h 6858001"/>
              <a:gd name="connsiteX87" fmla="*/ 2573257 w 9595474"/>
              <a:gd name="connsiteY87" fmla="*/ 2070101 h 6858001"/>
              <a:gd name="connsiteX88" fmla="*/ 2577395 w 9595474"/>
              <a:gd name="connsiteY88" fmla="*/ 2065656 h 6858001"/>
              <a:gd name="connsiteX89" fmla="*/ 2581237 w 9595474"/>
              <a:gd name="connsiteY89" fmla="*/ 2060576 h 6858001"/>
              <a:gd name="connsiteX90" fmla="*/ 2584784 w 9595474"/>
              <a:gd name="connsiteY90" fmla="*/ 2055496 h 6858001"/>
              <a:gd name="connsiteX91" fmla="*/ 2588035 w 9595474"/>
              <a:gd name="connsiteY91" fmla="*/ 2050416 h 6858001"/>
              <a:gd name="connsiteX92" fmla="*/ 2590991 w 9595474"/>
              <a:gd name="connsiteY92" fmla="*/ 2045019 h 6858001"/>
              <a:gd name="connsiteX93" fmla="*/ 2593651 w 9595474"/>
              <a:gd name="connsiteY93" fmla="*/ 2039621 h 6858001"/>
              <a:gd name="connsiteX94" fmla="*/ 2596016 w 9595474"/>
              <a:gd name="connsiteY94" fmla="*/ 2034224 h 6858001"/>
              <a:gd name="connsiteX95" fmla="*/ 2598085 w 9595474"/>
              <a:gd name="connsiteY95" fmla="*/ 2028509 h 6858001"/>
              <a:gd name="connsiteX96" fmla="*/ 2599858 w 9595474"/>
              <a:gd name="connsiteY96" fmla="*/ 2022794 h 6858001"/>
              <a:gd name="connsiteX97" fmla="*/ 2601336 w 9595474"/>
              <a:gd name="connsiteY97" fmla="*/ 2017079 h 6858001"/>
              <a:gd name="connsiteX98" fmla="*/ 2602814 w 9595474"/>
              <a:gd name="connsiteY98" fmla="*/ 2011364 h 6858001"/>
              <a:gd name="connsiteX99" fmla="*/ 2603996 w 9595474"/>
              <a:gd name="connsiteY99" fmla="*/ 2005649 h 6858001"/>
              <a:gd name="connsiteX100" fmla="*/ 2604587 w 9595474"/>
              <a:gd name="connsiteY100" fmla="*/ 1999616 h 6858001"/>
              <a:gd name="connsiteX101" fmla="*/ 2604883 w 9595474"/>
              <a:gd name="connsiteY101" fmla="*/ 1993584 h 6858001"/>
              <a:gd name="connsiteX102" fmla="*/ 2604883 w 9595474"/>
              <a:gd name="connsiteY102" fmla="*/ 1987551 h 6858001"/>
              <a:gd name="connsiteX103" fmla="*/ 2604883 w 9595474"/>
              <a:gd name="connsiteY103" fmla="*/ 1981836 h 6858001"/>
              <a:gd name="connsiteX104" fmla="*/ 2604587 w 9595474"/>
              <a:gd name="connsiteY104" fmla="*/ 1976121 h 6858001"/>
              <a:gd name="connsiteX105" fmla="*/ 2603996 w 9595474"/>
              <a:gd name="connsiteY105" fmla="*/ 1970089 h 6858001"/>
              <a:gd name="connsiteX106" fmla="*/ 2602814 w 9595474"/>
              <a:gd name="connsiteY106" fmla="*/ 1964374 h 6858001"/>
              <a:gd name="connsiteX107" fmla="*/ 2601336 w 9595474"/>
              <a:gd name="connsiteY107" fmla="*/ 1958659 h 6858001"/>
              <a:gd name="connsiteX108" fmla="*/ 2599858 w 9595474"/>
              <a:gd name="connsiteY108" fmla="*/ 1952626 h 6858001"/>
              <a:gd name="connsiteX109" fmla="*/ 2598085 w 9595474"/>
              <a:gd name="connsiteY109" fmla="*/ 1946911 h 6858001"/>
              <a:gd name="connsiteX110" fmla="*/ 2596016 w 9595474"/>
              <a:gd name="connsiteY110" fmla="*/ 1941196 h 6858001"/>
              <a:gd name="connsiteX111" fmla="*/ 2593651 w 9595474"/>
              <a:gd name="connsiteY111" fmla="*/ 1935799 h 6858001"/>
              <a:gd name="connsiteX112" fmla="*/ 2590991 w 9595474"/>
              <a:gd name="connsiteY112" fmla="*/ 1930401 h 6858001"/>
              <a:gd name="connsiteX113" fmla="*/ 2588035 w 9595474"/>
              <a:gd name="connsiteY113" fmla="*/ 1925004 h 6858001"/>
              <a:gd name="connsiteX114" fmla="*/ 2584784 w 9595474"/>
              <a:gd name="connsiteY114" fmla="*/ 1919924 h 6858001"/>
              <a:gd name="connsiteX115" fmla="*/ 2581237 w 9595474"/>
              <a:gd name="connsiteY115" fmla="*/ 1915161 h 6858001"/>
              <a:gd name="connsiteX116" fmla="*/ 2577395 w 9595474"/>
              <a:gd name="connsiteY116" fmla="*/ 1910081 h 6858001"/>
              <a:gd name="connsiteX117" fmla="*/ 2573257 w 9595474"/>
              <a:gd name="connsiteY117" fmla="*/ 1905319 h 6858001"/>
              <a:gd name="connsiteX118" fmla="*/ 2569119 w 9595474"/>
              <a:gd name="connsiteY118" fmla="*/ 1900556 h 6858001"/>
              <a:gd name="connsiteX119" fmla="*/ 1590477 w 9595474"/>
              <a:gd name="connsiteY119" fmla="*/ 922021 h 6858001"/>
              <a:gd name="connsiteX120" fmla="*/ 1272736 w 9595474"/>
              <a:gd name="connsiteY120" fmla="*/ 604204 h 6858001"/>
              <a:gd name="connsiteX121" fmla="*/ 1268303 w 9595474"/>
              <a:gd name="connsiteY121" fmla="*/ 599441 h 6858001"/>
              <a:gd name="connsiteX122" fmla="*/ 1264165 w 9595474"/>
              <a:gd name="connsiteY122" fmla="*/ 594996 h 6858001"/>
              <a:gd name="connsiteX123" fmla="*/ 1260322 w 9595474"/>
              <a:gd name="connsiteY123" fmla="*/ 589916 h 6858001"/>
              <a:gd name="connsiteX124" fmla="*/ 1256776 w 9595474"/>
              <a:gd name="connsiteY124" fmla="*/ 584836 h 6858001"/>
              <a:gd name="connsiteX125" fmla="*/ 1253524 w 9595474"/>
              <a:gd name="connsiteY125" fmla="*/ 579756 h 6858001"/>
              <a:gd name="connsiteX126" fmla="*/ 1250864 w 9595474"/>
              <a:gd name="connsiteY126" fmla="*/ 574359 h 6858001"/>
              <a:gd name="connsiteX127" fmla="*/ 1247908 w 9595474"/>
              <a:gd name="connsiteY127" fmla="*/ 568961 h 6858001"/>
              <a:gd name="connsiteX128" fmla="*/ 1245839 w 9595474"/>
              <a:gd name="connsiteY128" fmla="*/ 563564 h 6858001"/>
              <a:gd name="connsiteX129" fmla="*/ 1243475 w 9595474"/>
              <a:gd name="connsiteY129" fmla="*/ 557849 h 6858001"/>
              <a:gd name="connsiteX130" fmla="*/ 1241701 w 9595474"/>
              <a:gd name="connsiteY130" fmla="*/ 552134 h 6858001"/>
              <a:gd name="connsiteX131" fmla="*/ 1239928 w 9595474"/>
              <a:gd name="connsiteY131" fmla="*/ 546419 h 6858001"/>
              <a:gd name="connsiteX132" fmla="*/ 1238746 w 9595474"/>
              <a:gd name="connsiteY132" fmla="*/ 540704 h 6858001"/>
              <a:gd name="connsiteX133" fmla="*/ 1237859 w 9595474"/>
              <a:gd name="connsiteY133" fmla="*/ 534989 h 6858001"/>
              <a:gd name="connsiteX134" fmla="*/ 1236972 w 9595474"/>
              <a:gd name="connsiteY134" fmla="*/ 528639 h 6858001"/>
              <a:gd name="connsiteX135" fmla="*/ 1236677 w 9595474"/>
              <a:gd name="connsiteY135" fmla="*/ 522924 h 6858001"/>
              <a:gd name="connsiteX136" fmla="*/ 1236381 w 9595474"/>
              <a:gd name="connsiteY136" fmla="*/ 516891 h 6858001"/>
              <a:gd name="connsiteX137" fmla="*/ 1236677 w 9595474"/>
              <a:gd name="connsiteY137" fmla="*/ 511176 h 6858001"/>
              <a:gd name="connsiteX138" fmla="*/ 1236972 w 9595474"/>
              <a:gd name="connsiteY138" fmla="*/ 505461 h 6858001"/>
              <a:gd name="connsiteX139" fmla="*/ 1237859 w 9595474"/>
              <a:gd name="connsiteY139" fmla="*/ 499429 h 6858001"/>
              <a:gd name="connsiteX140" fmla="*/ 1238746 w 9595474"/>
              <a:gd name="connsiteY140" fmla="*/ 493714 h 6858001"/>
              <a:gd name="connsiteX141" fmla="*/ 1239928 w 9595474"/>
              <a:gd name="connsiteY141" fmla="*/ 487681 h 6858001"/>
              <a:gd name="connsiteX142" fmla="*/ 1241701 w 9595474"/>
              <a:gd name="connsiteY142" fmla="*/ 481966 h 6858001"/>
              <a:gd name="connsiteX143" fmla="*/ 1243475 w 9595474"/>
              <a:gd name="connsiteY143" fmla="*/ 476251 h 6858001"/>
              <a:gd name="connsiteX144" fmla="*/ 1245839 w 9595474"/>
              <a:gd name="connsiteY144" fmla="*/ 470536 h 6858001"/>
              <a:gd name="connsiteX145" fmla="*/ 1247908 w 9595474"/>
              <a:gd name="connsiteY145" fmla="*/ 465139 h 6858001"/>
              <a:gd name="connsiteX146" fmla="*/ 1250864 w 9595474"/>
              <a:gd name="connsiteY146" fmla="*/ 459741 h 6858001"/>
              <a:gd name="connsiteX147" fmla="*/ 1253524 w 9595474"/>
              <a:gd name="connsiteY147" fmla="*/ 454344 h 6858001"/>
              <a:gd name="connsiteX148" fmla="*/ 1256776 w 9595474"/>
              <a:gd name="connsiteY148" fmla="*/ 449264 h 6858001"/>
              <a:gd name="connsiteX149" fmla="*/ 1260322 w 9595474"/>
              <a:gd name="connsiteY149" fmla="*/ 444501 h 6858001"/>
              <a:gd name="connsiteX150" fmla="*/ 1264165 w 9595474"/>
              <a:gd name="connsiteY150" fmla="*/ 439421 h 6858001"/>
              <a:gd name="connsiteX151" fmla="*/ 1268303 w 9595474"/>
              <a:gd name="connsiteY151" fmla="*/ 434659 h 6858001"/>
              <a:gd name="connsiteX152" fmla="*/ 1272736 w 9595474"/>
              <a:gd name="connsiteY152" fmla="*/ 429896 h 6858001"/>
              <a:gd name="connsiteX153" fmla="*/ 1277466 w 9595474"/>
              <a:gd name="connsiteY153" fmla="*/ 425769 h 6858001"/>
              <a:gd name="connsiteX154" fmla="*/ 1281899 w 9595474"/>
              <a:gd name="connsiteY154" fmla="*/ 421324 h 6858001"/>
              <a:gd name="connsiteX155" fmla="*/ 1286924 w 9595474"/>
              <a:gd name="connsiteY155" fmla="*/ 417831 h 6858001"/>
              <a:gd name="connsiteX156" fmla="*/ 1291949 w 9595474"/>
              <a:gd name="connsiteY156" fmla="*/ 414339 h 6858001"/>
              <a:gd name="connsiteX157" fmla="*/ 1296973 w 9595474"/>
              <a:gd name="connsiteY157" fmla="*/ 410846 h 6858001"/>
              <a:gd name="connsiteX158" fmla="*/ 1302589 w 9595474"/>
              <a:gd name="connsiteY158" fmla="*/ 407989 h 6858001"/>
              <a:gd name="connsiteX159" fmla="*/ 1307910 w 9595474"/>
              <a:gd name="connsiteY159" fmla="*/ 405131 h 6858001"/>
              <a:gd name="connsiteX160" fmla="*/ 1313230 w 9595474"/>
              <a:gd name="connsiteY160" fmla="*/ 402909 h 6858001"/>
              <a:gd name="connsiteX161" fmla="*/ 1318846 w 9595474"/>
              <a:gd name="connsiteY161" fmla="*/ 401004 h 6858001"/>
              <a:gd name="connsiteX162" fmla="*/ 1324757 w 9595474"/>
              <a:gd name="connsiteY162" fmla="*/ 399099 h 6858001"/>
              <a:gd name="connsiteX163" fmla="*/ 1330373 w 9595474"/>
              <a:gd name="connsiteY163" fmla="*/ 397194 h 6858001"/>
              <a:gd name="connsiteX164" fmla="*/ 1336285 w 9595474"/>
              <a:gd name="connsiteY164" fmla="*/ 396241 h 6858001"/>
              <a:gd name="connsiteX165" fmla="*/ 1341901 w 9595474"/>
              <a:gd name="connsiteY165" fmla="*/ 395289 h 6858001"/>
              <a:gd name="connsiteX166" fmla="*/ 1348108 w 9595474"/>
              <a:gd name="connsiteY166" fmla="*/ 394336 h 6858001"/>
              <a:gd name="connsiteX167" fmla="*/ 1353723 w 9595474"/>
              <a:gd name="connsiteY167" fmla="*/ 394019 h 6858001"/>
              <a:gd name="connsiteX168" fmla="*/ 1359930 w 9595474"/>
              <a:gd name="connsiteY168" fmla="*/ 393701 h 6858001"/>
              <a:gd name="connsiteX169" fmla="*/ 1365546 w 9595474"/>
              <a:gd name="connsiteY169" fmla="*/ 394019 h 6858001"/>
              <a:gd name="connsiteX170" fmla="*/ 1371458 w 9595474"/>
              <a:gd name="connsiteY170" fmla="*/ 394336 h 6858001"/>
              <a:gd name="connsiteX171" fmla="*/ 1377665 w 9595474"/>
              <a:gd name="connsiteY171" fmla="*/ 395289 h 6858001"/>
              <a:gd name="connsiteX172" fmla="*/ 1383281 w 9595474"/>
              <a:gd name="connsiteY172" fmla="*/ 396241 h 6858001"/>
              <a:gd name="connsiteX173" fmla="*/ 1388897 w 9595474"/>
              <a:gd name="connsiteY173" fmla="*/ 397194 h 6858001"/>
              <a:gd name="connsiteX174" fmla="*/ 1394808 w 9595474"/>
              <a:gd name="connsiteY174" fmla="*/ 399099 h 6858001"/>
              <a:gd name="connsiteX175" fmla="*/ 1400424 w 9595474"/>
              <a:gd name="connsiteY175" fmla="*/ 401004 h 6858001"/>
              <a:gd name="connsiteX176" fmla="*/ 1406335 w 9595474"/>
              <a:gd name="connsiteY176" fmla="*/ 402909 h 6858001"/>
              <a:gd name="connsiteX177" fmla="*/ 1411656 w 9595474"/>
              <a:gd name="connsiteY177" fmla="*/ 405131 h 6858001"/>
              <a:gd name="connsiteX178" fmla="*/ 1416976 w 9595474"/>
              <a:gd name="connsiteY178" fmla="*/ 407989 h 6858001"/>
              <a:gd name="connsiteX179" fmla="*/ 1422296 w 9595474"/>
              <a:gd name="connsiteY179" fmla="*/ 410846 h 6858001"/>
              <a:gd name="connsiteX180" fmla="*/ 1427617 w 9595474"/>
              <a:gd name="connsiteY180" fmla="*/ 414339 h 6858001"/>
              <a:gd name="connsiteX181" fmla="*/ 1432641 w 9595474"/>
              <a:gd name="connsiteY181" fmla="*/ 417831 h 6858001"/>
              <a:gd name="connsiteX182" fmla="*/ 1437666 w 9595474"/>
              <a:gd name="connsiteY182" fmla="*/ 421324 h 6858001"/>
              <a:gd name="connsiteX183" fmla="*/ 1442100 w 9595474"/>
              <a:gd name="connsiteY183" fmla="*/ 425769 h 6858001"/>
              <a:gd name="connsiteX184" fmla="*/ 1446829 w 9595474"/>
              <a:gd name="connsiteY184" fmla="*/ 429896 h 6858001"/>
              <a:gd name="connsiteX185" fmla="*/ 1907036 w 9595474"/>
              <a:gd name="connsiteY185" fmla="*/ 890271 h 6858001"/>
              <a:gd name="connsiteX186" fmla="*/ 2165662 w 9595474"/>
              <a:gd name="connsiteY186" fmla="*/ 1148716 h 6858001"/>
              <a:gd name="connsiteX187" fmla="*/ 2170391 w 9595474"/>
              <a:gd name="connsiteY187" fmla="*/ 1153161 h 6858001"/>
              <a:gd name="connsiteX188" fmla="*/ 2175416 w 9595474"/>
              <a:gd name="connsiteY188" fmla="*/ 1157289 h 6858001"/>
              <a:gd name="connsiteX189" fmla="*/ 2180145 w 9595474"/>
              <a:gd name="connsiteY189" fmla="*/ 1161099 h 6858001"/>
              <a:gd name="connsiteX190" fmla="*/ 2185170 w 9595474"/>
              <a:gd name="connsiteY190" fmla="*/ 1164591 h 6858001"/>
              <a:gd name="connsiteX191" fmla="*/ 2190490 w 9595474"/>
              <a:gd name="connsiteY191" fmla="*/ 1167766 h 6858001"/>
              <a:gd name="connsiteX192" fmla="*/ 2195810 w 9595474"/>
              <a:gd name="connsiteY192" fmla="*/ 1170624 h 6858001"/>
              <a:gd name="connsiteX193" fmla="*/ 2201130 w 9595474"/>
              <a:gd name="connsiteY193" fmla="*/ 1173481 h 6858001"/>
              <a:gd name="connsiteX194" fmla="*/ 2206746 w 9595474"/>
              <a:gd name="connsiteY194" fmla="*/ 1176021 h 6858001"/>
              <a:gd name="connsiteX195" fmla="*/ 2212362 w 9595474"/>
              <a:gd name="connsiteY195" fmla="*/ 1177926 h 6858001"/>
              <a:gd name="connsiteX196" fmla="*/ 2217683 w 9595474"/>
              <a:gd name="connsiteY196" fmla="*/ 1180149 h 6858001"/>
              <a:gd name="connsiteX197" fmla="*/ 2223594 w 9595474"/>
              <a:gd name="connsiteY197" fmla="*/ 1181419 h 6858001"/>
              <a:gd name="connsiteX198" fmla="*/ 2229505 w 9595474"/>
              <a:gd name="connsiteY198" fmla="*/ 1182689 h 6858001"/>
              <a:gd name="connsiteX199" fmla="*/ 2235417 w 9595474"/>
              <a:gd name="connsiteY199" fmla="*/ 1183641 h 6858001"/>
              <a:gd name="connsiteX200" fmla="*/ 2241033 w 9595474"/>
              <a:gd name="connsiteY200" fmla="*/ 1184276 h 6858001"/>
              <a:gd name="connsiteX201" fmla="*/ 2247240 w 9595474"/>
              <a:gd name="connsiteY201" fmla="*/ 1184594 h 6858001"/>
              <a:gd name="connsiteX202" fmla="*/ 2252856 w 9595474"/>
              <a:gd name="connsiteY202" fmla="*/ 1185229 h 6858001"/>
              <a:gd name="connsiteX203" fmla="*/ 2259063 w 9595474"/>
              <a:gd name="connsiteY203" fmla="*/ 1184594 h 6858001"/>
              <a:gd name="connsiteX204" fmla="*/ 2264679 w 9595474"/>
              <a:gd name="connsiteY204" fmla="*/ 1184276 h 6858001"/>
              <a:gd name="connsiteX205" fmla="*/ 2270590 w 9595474"/>
              <a:gd name="connsiteY205" fmla="*/ 1183641 h 6858001"/>
              <a:gd name="connsiteX206" fmla="*/ 2276797 w 9595474"/>
              <a:gd name="connsiteY206" fmla="*/ 1182689 h 6858001"/>
              <a:gd name="connsiteX207" fmla="*/ 2282413 w 9595474"/>
              <a:gd name="connsiteY207" fmla="*/ 1181419 h 6858001"/>
              <a:gd name="connsiteX208" fmla="*/ 2288029 w 9595474"/>
              <a:gd name="connsiteY208" fmla="*/ 1180149 h 6858001"/>
              <a:gd name="connsiteX209" fmla="*/ 2293940 w 9595474"/>
              <a:gd name="connsiteY209" fmla="*/ 1177926 h 6858001"/>
              <a:gd name="connsiteX210" fmla="*/ 2299261 w 9595474"/>
              <a:gd name="connsiteY210" fmla="*/ 1176021 h 6858001"/>
              <a:gd name="connsiteX211" fmla="*/ 2304581 w 9595474"/>
              <a:gd name="connsiteY211" fmla="*/ 1173481 h 6858001"/>
              <a:gd name="connsiteX212" fmla="*/ 2310492 w 9595474"/>
              <a:gd name="connsiteY212" fmla="*/ 1170624 h 6858001"/>
              <a:gd name="connsiteX213" fmla="*/ 2315517 w 9595474"/>
              <a:gd name="connsiteY213" fmla="*/ 1167766 h 6858001"/>
              <a:gd name="connsiteX214" fmla="*/ 2320837 w 9595474"/>
              <a:gd name="connsiteY214" fmla="*/ 1164591 h 6858001"/>
              <a:gd name="connsiteX215" fmla="*/ 2325862 w 9595474"/>
              <a:gd name="connsiteY215" fmla="*/ 1161099 h 6858001"/>
              <a:gd name="connsiteX216" fmla="*/ 2330887 w 9595474"/>
              <a:gd name="connsiteY216" fmla="*/ 1157289 h 6858001"/>
              <a:gd name="connsiteX217" fmla="*/ 2335616 w 9595474"/>
              <a:gd name="connsiteY217" fmla="*/ 1153161 h 6858001"/>
              <a:gd name="connsiteX218" fmla="*/ 2340345 w 9595474"/>
              <a:gd name="connsiteY218" fmla="*/ 1148716 h 6858001"/>
              <a:gd name="connsiteX219" fmla="*/ 2344483 w 9595474"/>
              <a:gd name="connsiteY219" fmla="*/ 1144271 h 6858001"/>
              <a:gd name="connsiteX220" fmla="*/ 2348621 w 9595474"/>
              <a:gd name="connsiteY220" fmla="*/ 1139509 h 6858001"/>
              <a:gd name="connsiteX221" fmla="*/ 2352464 w 9595474"/>
              <a:gd name="connsiteY221" fmla="*/ 1134429 h 6858001"/>
              <a:gd name="connsiteX222" fmla="*/ 2356011 w 9595474"/>
              <a:gd name="connsiteY222" fmla="*/ 1129349 h 6858001"/>
              <a:gd name="connsiteX223" fmla="*/ 2359262 w 9595474"/>
              <a:gd name="connsiteY223" fmla="*/ 1124269 h 6858001"/>
              <a:gd name="connsiteX224" fmla="*/ 2362218 w 9595474"/>
              <a:gd name="connsiteY224" fmla="*/ 1118871 h 6858001"/>
              <a:gd name="connsiteX225" fmla="*/ 2364582 w 9595474"/>
              <a:gd name="connsiteY225" fmla="*/ 1113474 h 6858001"/>
              <a:gd name="connsiteX226" fmla="*/ 2367242 w 9595474"/>
              <a:gd name="connsiteY226" fmla="*/ 1108076 h 6858001"/>
              <a:gd name="connsiteX227" fmla="*/ 2369311 w 9595474"/>
              <a:gd name="connsiteY227" fmla="*/ 1102361 h 6858001"/>
              <a:gd name="connsiteX228" fmla="*/ 2371085 w 9595474"/>
              <a:gd name="connsiteY228" fmla="*/ 1096646 h 6858001"/>
              <a:gd name="connsiteX229" fmla="*/ 2372563 w 9595474"/>
              <a:gd name="connsiteY229" fmla="*/ 1090931 h 6858001"/>
              <a:gd name="connsiteX230" fmla="*/ 2374041 w 9595474"/>
              <a:gd name="connsiteY230" fmla="*/ 1085216 h 6858001"/>
              <a:gd name="connsiteX231" fmla="*/ 2375223 w 9595474"/>
              <a:gd name="connsiteY231" fmla="*/ 1079501 h 6858001"/>
              <a:gd name="connsiteX232" fmla="*/ 2375814 w 9595474"/>
              <a:gd name="connsiteY232" fmla="*/ 1073786 h 6858001"/>
              <a:gd name="connsiteX233" fmla="*/ 2376110 w 9595474"/>
              <a:gd name="connsiteY233" fmla="*/ 1067754 h 6858001"/>
              <a:gd name="connsiteX234" fmla="*/ 2376110 w 9595474"/>
              <a:gd name="connsiteY234" fmla="*/ 1061721 h 6858001"/>
              <a:gd name="connsiteX235" fmla="*/ 2376110 w 9595474"/>
              <a:gd name="connsiteY235" fmla="*/ 1055689 h 6858001"/>
              <a:gd name="connsiteX236" fmla="*/ 2375814 w 9595474"/>
              <a:gd name="connsiteY236" fmla="*/ 1049974 h 6858001"/>
              <a:gd name="connsiteX237" fmla="*/ 2375223 w 9595474"/>
              <a:gd name="connsiteY237" fmla="*/ 1043941 h 6858001"/>
              <a:gd name="connsiteX238" fmla="*/ 2374041 w 9595474"/>
              <a:gd name="connsiteY238" fmla="*/ 1038226 h 6858001"/>
              <a:gd name="connsiteX239" fmla="*/ 2372563 w 9595474"/>
              <a:gd name="connsiteY239" fmla="*/ 1032511 h 6858001"/>
              <a:gd name="connsiteX240" fmla="*/ 2371085 w 9595474"/>
              <a:gd name="connsiteY240" fmla="*/ 1026796 h 6858001"/>
              <a:gd name="connsiteX241" fmla="*/ 2369311 w 9595474"/>
              <a:gd name="connsiteY241" fmla="*/ 1021081 h 6858001"/>
              <a:gd name="connsiteX242" fmla="*/ 2367242 w 9595474"/>
              <a:gd name="connsiteY242" fmla="*/ 1015684 h 6858001"/>
              <a:gd name="connsiteX243" fmla="*/ 2364582 w 9595474"/>
              <a:gd name="connsiteY243" fmla="*/ 1009651 h 6858001"/>
              <a:gd name="connsiteX244" fmla="*/ 2362218 w 9595474"/>
              <a:gd name="connsiteY244" fmla="*/ 1004254 h 6858001"/>
              <a:gd name="connsiteX245" fmla="*/ 2359262 w 9595474"/>
              <a:gd name="connsiteY245" fmla="*/ 998856 h 6858001"/>
              <a:gd name="connsiteX246" fmla="*/ 2356011 w 9595474"/>
              <a:gd name="connsiteY246" fmla="*/ 994094 h 6858001"/>
              <a:gd name="connsiteX247" fmla="*/ 2352464 w 9595474"/>
              <a:gd name="connsiteY247" fmla="*/ 989014 h 6858001"/>
              <a:gd name="connsiteX248" fmla="*/ 2348621 w 9595474"/>
              <a:gd name="connsiteY248" fmla="*/ 983934 h 6858001"/>
              <a:gd name="connsiteX249" fmla="*/ 2344483 w 9595474"/>
              <a:gd name="connsiteY249" fmla="*/ 979171 h 6858001"/>
              <a:gd name="connsiteX250" fmla="*/ 2340345 w 9595474"/>
              <a:gd name="connsiteY250" fmla="*/ 974726 h 6858001"/>
              <a:gd name="connsiteX251" fmla="*/ 2240737 w 9595474"/>
              <a:gd name="connsiteY251" fmla="*/ 875031 h 6858001"/>
              <a:gd name="connsiteX252" fmla="*/ 1991865 w 9595474"/>
              <a:gd name="connsiteY252" fmla="*/ 626429 h 6858001"/>
              <a:gd name="connsiteX253" fmla="*/ 1987431 w 9595474"/>
              <a:gd name="connsiteY253" fmla="*/ 621666 h 6858001"/>
              <a:gd name="connsiteX254" fmla="*/ 1983589 w 9595474"/>
              <a:gd name="connsiteY254" fmla="*/ 616904 h 6858001"/>
              <a:gd name="connsiteX255" fmla="*/ 1979451 w 9595474"/>
              <a:gd name="connsiteY255" fmla="*/ 612141 h 6858001"/>
              <a:gd name="connsiteX256" fmla="*/ 1975904 w 9595474"/>
              <a:gd name="connsiteY256" fmla="*/ 607061 h 6858001"/>
              <a:gd name="connsiteX257" fmla="*/ 1972653 w 9595474"/>
              <a:gd name="connsiteY257" fmla="*/ 601664 h 6858001"/>
              <a:gd name="connsiteX258" fmla="*/ 1969993 w 9595474"/>
              <a:gd name="connsiteY258" fmla="*/ 596266 h 6858001"/>
              <a:gd name="connsiteX259" fmla="*/ 1967037 w 9595474"/>
              <a:gd name="connsiteY259" fmla="*/ 590869 h 6858001"/>
              <a:gd name="connsiteX260" fmla="*/ 1964968 w 9595474"/>
              <a:gd name="connsiteY260" fmla="*/ 585471 h 6858001"/>
              <a:gd name="connsiteX261" fmla="*/ 1962603 w 9595474"/>
              <a:gd name="connsiteY261" fmla="*/ 579756 h 6858001"/>
              <a:gd name="connsiteX262" fmla="*/ 1960830 w 9595474"/>
              <a:gd name="connsiteY262" fmla="*/ 574359 h 6858001"/>
              <a:gd name="connsiteX263" fmla="*/ 1959056 w 9595474"/>
              <a:gd name="connsiteY263" fmla="*/ 568644 h 6858001"/>
              <a:gd name="connsiteX264" fmla="*/ 1958170 w 9595474"/>
              <a:gd name="connsiteY264" fmla="*/ 562611 h 6858001"/>
              <a:gd name="connsiteX265" fmla="*/ 1956987 w 9595474"/>
              <a:gd name="connsiteY265" fmla="*/ 556896 h 6858001"/>
              <a:gd name="connsiteX266" fmla="*/ 1956396 w 9595474"/>
              <a:gd name="connsiteY266" fmla="*/ 551181 h 6858001"/>
              <a:gd name="connsiteX267" fmla="*/ 1955805 w 9595474"/>
              <a:gd name="connsiteY267" fmla="*/ 544831 h 6858001"/>
              <a:gd name="connsiteX268" fmla="*/ 1955805 w 9595474"/>
              <a:gd name="connsiteY268" fmla="*/ 539116 h 6858001"/>
              <a:gd name="connsiteX269" fmla="*/ 1955805 w 9595474"/>
              <a:gd name="connsiteY269" fmla="*/ 533084 h 6858001"/>
              <a:gd name="connsiteX270" fmla="*/ 1956396 w 9595474"/>
              <a:gd name="connsiteY270" fmla="*/ 527369 h 6858001"/>
              <a:gd name="connsiteX271" fmla="*/ 1956987 w 9595474"/>
              <a:gd name="connsiteY271" fmla="*/ 521654 h 6858001"/>
              <a:gd name="connsiteX272" fmla="*/ 1958170 w 9595474"/>
              <a:gd name="connsiteY272" fmla="*/ 515621 h 6858001"/>
              <a:gd name="connsiteX273" fmla="*/ 1959056 w 9595474"/>
              <a:gd name="connsiteY273" fmla="*/ 509589 h 6858001"/>
              <a:gd name="connsiteX274" fmla="*/ 1960830 w 9595474"/>
              <a:gd name="connsiteY274" fmla="*/ 503874 h 6858001"/>
              <a:gd name="connsiteX275" fmla="*/ 1962603 w 9595474"/>
              <a:gd name="connsiteY275" fmla="*/ 498159 h 6858001"/>
              <a:gd name="connsiteX276" fmla="*/ 1964968 w 9595474"/>
              <a:gd name="connsiteY276" fmla="*/ 492761 h 6858001"/>
              <a:gd name="connsiteX277" fmla="*/ 1967037 w 9595474"/>
              <a:gd name="connsiteY277" fmla="*/ 487364 h 6858001"/>
              <a:gd name="connsiteX278" fmla="*/ 1969993 w 9595474"/>
              <a:gd name="connsiteY278" fmla="*/ 481649 h 6858001"/>
              <a:gd name="connsiteX279" fmla="*/ 1972653 w 9595474"/>
              <a:gd name="connsiteY279" fmla="*/ 476569 h 6858001"/>
              <a:gd name="connsiteX280" fmla="*/ 1975904 w 9595474"/>
              <a:gd name="connsiteY280" fmla="*/ 471171 h 6858001"/>
              <a:gd name="connsiteX281" fmla="*/ 1979451 w 9595474"/>
              <a:gd name="connsiteY281" fmla="*/ 466409 h 6858001"/>
              <a:gd name="connsiteX282" fmla="*/ 1983589 w 9595474"/>
              <a:gd name="connsiteY282" fmla="*/ 461329 h 6858001"/>
              <a:gd name="connsiteX283" fmla="*/ 1987431 w 9595474"/>
              <a:gd name="connsiteY283" fmla="*/ 456566 h 6858001"/>
              <a:gd name="connsiteX284" fmla="*/ 1991865 w 9595474"/>
              <a:gd name="connsiteY284" fmla="*/ 451804 h 6858001"/>
              <a:gd name="connsiteX285" fmla="*/ 1996594 w 9595474"/>
              <a:gd name="connsiteY285" fmla="*/ 447676 h 6858001"/>
              <a:gd name="connsiteX286" fmla="*/ 2001028 w 9595474"/>
              <a:gd name="connsiteY286" fmla="*/ 443549 h 6858001"/>
              <a:gd name="connsiteX287" fmla="*/ 2006052 w 9595474"/>
              <a:gd name="connsiteY287" fmla="*/ 439739 h 6858001"/>
              <a:gd name="connsiteX288" fmla="*/ 2011077 w 9595474"/>
              <a:gd name="connsiteY288" fmla="*/ 436246 h 6858001"/>
              <a:gd name="connsiteX289" fmla="*/ 2016102 w 9595474"/>
              <a:gd name="connsiteY289" fmla="*/ 432754 h 6858001"/>
              <a:gd name="connsiteX290" fmla="*/ 2021718 w 9595474"/>
              <a:gd name="connsiteY290" fmla="*/ 429896 h 6858001"/>
              <a:gd name="connsiteX291" fmla="*/ 2027038 w 9595474"/>
              <a:gd name="connsiteY291" fmla="*/ 427356 h 6858001"/>
              <a:gd name="connsiteX292" fmla="*/ 2032654 w 9595474"/>
              <a:gd name="connsiteY292" fmla="*/ 424816 h 6858001"/>
              <a:gd name="connsiteX293" fmla="*/ 2038270 w 9595474"/>
              <a:gd name="connsiteY293" fmla="*/ 422911 h 6858001"/>
              <a:gd name="connsiteX294" fmla="*/ 2043886 w 9595474"/>
              <a:gd name="connsiteY294" fmla="*/ 421006 h 6858001"/>
              <a:gd name="connsiteX295" fmla="*/ 2049502 w 9595474"/>
              <a:gd name="connsiteY295" fmla="*/ 419736 h 6858001"/>
              <a:gd name="connsiteX296" fmla="*/ 2055413 w 9595474"/>
              <a:gd name="connsiteY296" fmla="*/ 418149 h 6858001"/>
              <a:gd name="connsiteX297" fmla="*/ 2061029 w 9595474"/>
              <a:gd name="connsiteY297" fmla="*/ 417196 h 6858001"/>
              <a:gd name="connsiteX298" fmla="*/ 2067236 w 9595474"/>
              <a:gd name="connsiteY298" fmla="*/ 416244 h 6858001"/>
              <a:gd name="connsiteX299" fmla="*/ 2072852 w 9595474"/>
              <a:gd name="connsiteY299" fmla="*/ 415926 h 6858001"/>
              <a:gd name="connsiteX300" fmla="*/ 2079059 w 9595474"/>
              <a:gd name="connsiteY300" fmla="*/ 415926 h 6858001"/>
              <a:gd name="connsiteX301" fmla="*/ 2084970 w 9595474"/>
              <a:gd name="connsiteY301" fmla="*/ 415926 h 6858001"/>
              <a:gd name="connsiteX302" fmla="*/ 2090882 w 9595474"/>
              <a:gd name="connsiteY302" fmla="*/ 416244 h 6858001"/>
              <a:gd name="connsiteX303" fmla="*/ 2096793 w 9595474"/>
              <a:gd name="connsiteY303" fmla="*/ 417196 h 6858001"/>
              <a:gd name="connsiteX304" fmla="*/ 2102409 w 9595474"/>
              <a:gd name="connsiteY304" fmla="*/ 418149 h 6858001"/>
              <a:gd name="connsiteX305" fmla="*/ 2108321 w 9595474"/>
              <a:gd name="connsiteY305" fmla="*/ 419736 h 6858001"/>
              <a:gd name="connsiteX306" fmla="*/ 2113936 w 9595474"/>
              <a:gd name="connsiteY306" fmla="*/ 421006 h 6858001"/>
              <a:gd name="connsiteX307" fmla="*/ 2119552 w 9595474"/>
              <a:gd name="connsiteY307" fmla="*/ 422911 h 6858001"/>
              <a:gd name="connsiteX308" fmla="*/ 2125464 w 9595474"/>
              <a:gd name="connsiteY308" fmla="*/ 424816 h 6858001"/>
              <a:gd name="connsiteX309" fmla="*/ 2130784 w 9595474"/>
              <a:gd name="connsiteY309" fmla="*/ 427356 h 6858001"/>
              <a:gd name="connsiteX310" fmla="*/ 2136104 w 9595474"/>
              <a:gd name="connsiteY310" fmla="*/ 429896 h 6858001"/>
              <a:gd name="connsiteX311" fmla="*/ 2141720 w 9595474"/>
              <a:gd name="connsiteY311" fmla="*/ 432754 h 6858001"/>
              <a:gd name="connsiteX312" fmla="*/ 2146745 w 9595474"/>
              <a:gd name="connsiteY312" fmla="*/ 436246 h 6858001"/>
              <a:gd name="connsiteX313" fmla="*/ 2152065 w 9595474"/>
              <a:gd name="connsiteY313" fmla="*/ 439739 h 6858001"/>
              <a:gd name="connsiteX314" fmla="*/ 2156795 w 9595474"/>
              <a:gd name="connsiteY314" fmla="*/ 443549 h 6858001"/>
              <a:gd name="connsiteX315" fmla="*/ 2161819 w 9595474"/>
              <a:gd name="connsiteY315" fmla="*/ 447676 h 6858001"/>
              <a:gd name="connsiteX316" fmla="*/ 2165957 w 9595474"/>
              <a:gd name="connsiteY316" fmla="*/ 451804 h 6858001"/>
              <a:gd name="connsiteX317" fmla="*/ 2966073 w 9595474"/>
              <a:gd name="connsiteY317" fmla="*/ 1251904 h 6858001"/>
              <a:gd name="connsiteX318" fmla="*/ 5612631 w 9595474"/>
              <a:gd name="connsiteY318" fmla="*/ 3898584 h 6858001"/>
              <a:gd name="connsiteX319" fmla="*/ 5617360 w 9595474"/>
              <a:gd name="connsiteY319" fmla="*/ 3903346 h 6858001"/>
              <a:gd name="connsiteX320" fmla="*/ 5621498 w 9595474"/>
              <a:gd name="connsiteY320" fmla="*/ 3908426 h 6858001"/>
              <a:gd name="connsiteX321" fmla="*/ 5625341 w 9595474"/>
              <a:gd name="connsiteY321" fmla="*/ 3913506 h 6858001"/>
              <a:gd name="connsiteX322" fmla="*/ 5628888 w 9595474"/>
              <a:gd name="connsiteY322" fmla="*/ 3918586 h 6858001"/>
              <a:gd name="connsiteX323" fmla="*/ 5632139 w 9595474"/>
              <a:gd name="connsiteY323" fmla="*/ 3923349 h 6858001"/>
              <a:gd name="connsiteX324" fmla="*/ 5635094 w 9595474"/>
              <a:gd name="connsiteY324" fmla="*/ 3928746 h 6858001"/>
              <a:gd name="connsiteX325" fmla="*/ 5638050 w 9595474"/>
              <a:gd name="connsiteY325" fmla="*/ 3934461 h 6858001"/>
              <a:gd name="connsiteX326" fmla="*/ 5640415 w 9595474"/>
              <a:gd name="connsiteY326" fmla="*/ 3939859 h 6858001"/>
              <a:gd name="connsiteX327" fmla="*/ 5642484 w 9595474"/>
              <a:gd name="connsiteY327" fmla="*/ 3945891 h 6858001"/>
              <a:gd name="connsiteX328" fmla="*/ 5644257 w 9595474"/>
              <a:gd name="connsiteY328" fmla="*/ 3951606 h 6858001"/>
              <a:gd name="connsiteX329" fmla="*/ 5645735 w 9595474"/>
              <a:gd name="connsiteY329" fmla="*/ 3957321 h 6858001"/>
              <a:gd name="connsiteX330" fmla="*/ 5647213 w 9595474"/>
              <a:gd name="connsiteY330" fmla="*/ 3963354 h 6858001"/>
              <a:gd name="connsiteX331" fmla="*/ 5648100 w 9595474"/>
              <a:gd name="connsiteY331" fmla="*/ 3969069 h 6858001"/>
              <a:gd name="connsiteX332" fmla="*/ 5648691 w 9595474"/>
              <a:gd name="connsiteY332" fmla="*/ 3975101 h 6858001"/>
              <a:gd name="connsiteX333" fmla="*/ 5649282 w 9595474"/>
              <a:gd name="connsiteY333" fmla="*/ 3980816 h 6858001"/>
              <a:gd name="connsiteX334" fmla="*/ 5649282 w 9595474"/>
              <a:gd name="connsiteY334" fmla="*/ 3987166 h 6858001"/>
              <a:gd name="connsiteX335" fmla="*/ 5649282 w 9595474"/>
              <a:gd name="connsiteY335" fmla="*/ 3992881 h 6858001"/>
              <a:gd name="connsiteX336" fmla="*/ 5648691 w 9595474"/>
              <a:gd name="connsiteY336" fmla="*/ 3998914 h 6858001"/>
              <a:gd name="connsiteX337" fmla="*/ 5648100 w 9595474"/>
              <a:gd name="connsiteY337" fmla="*/ 4004946 h 6858001"/>
              <a:gd name="connsiteX338" fmla="*/ 5647213 w 9595474"/>
              <a:gd name="connsiteY338" fmla="*/ 4010661 h 6858001"/>
              <a:gd name="connsiteX339" fmla="*/ 5645735 w 9595474"/>
              <a:gd name="connsiteY339" fmla="*/ 4016376 h 6858001"/>
              <a:gd name="connsiteX340" fmla="*/ 5644257 w 9595474"/>
              <a:gd name="connsiteY340" fmla="*/ 4022726 h 6858001"/>
              <a:gd name="connsiteX341" fmla="*/ 5642484 w 9595474"/>
              <a:gd name="connsiteY341" fmla="*/ 4028441 h 6858001"/>
              <a:gd name="connsiteX342" fmla="*/ 5640415 w 9595474"/>
              <a:gd name="connsiteY342" fmla="*/ 4033839 h 6858001"/>
              <a:gd name="connsiteX343" fmla="*/ 5638050 w 9595474"/>
              <a:gd name="connsiteY343" fmla="*/ 4039554 h 6858001"/>
              <a:gd name="connsiteX344" fmla="*/ 5635094 w 9595474"/>
              <a:gd name="connsiteY344" fmla="*/ 4044951 h 6858001"/>
              <a:gd name="connsiteX345" fmla="*/ 5632139 w 9595474"/>
              <a:gd name="connsiteY345" fmla="*/ 4050349 h 6858001"/>
              <a:gd name="connsiteX346" fmla="*/ 5628888 w 9595474"/>
              <a:gd name="connsiteY346" fmla="*/ 4055746 h 6858001"/>
              <a:gd name="connsiteX347" fmla="*/ 5625341 w 9595474"/>
              <a:gd name="connsiteY347" fmla="*/ 4060826 h 6858001"/>
              <a:gd name="connsiteX348" fmla="*/ 5621498 w 9595474"/>
              <a:gd name="connsiteY348" fmla="*/ 4065589 h 6858001"/>
              <a:gd name="connsiteX349" fmla="*/ 5617360 w 9595474"/>
              <a:gd name="connsiteY349" fmla="*/ 4070351 h 6858001"/>
              <a:gd name="connsiteX350" fmla="*/ 5612631 w 9595474"/>
              <a:gd name="connsiteY350" fmla="*/ 4075114 h 6858001"/>
              <a:gd name="connsiteX351" fmla="*/ 5608198 w 9595474"/>
              <a:gd name="connsiteY351" fmla="*/ 4079876 h 6858001"/>
              <a:gd name="connsiteX352" fmla="*/ 5603468 w 9595474"/>
              <a:gd name="connsiteY352" fmla="*/ 4083686 h 6858001"/>
              <a:gd name="connsiteX353" fmla="*/ 5598443 w 9595474"/>
              <a:gd name="connsiteY353" fmla="*/ 4087496 h 6858001"/>
              <a:gd name="connsiteX354" fmla="*/ 5593419 w 9595474"/>
              <a:gd name="connsiteY354" fmla="*/ 4091306 h 6858001"/>
              <a:gd name="connsiteX355" fmla="*/ 5588098 w 9595474"/>
              <a:gd name="connsiteY355" fmla="*/ 4094481 h 6858001"/>
              <a:gd name="connsiteX356" fmla="*/ 5582482 w 9595474"/>
              <a:gd name="connsiteY356" fmla="*/ 4097339 h 6858001"/>
              <a:gd name="connsiteX357" fmla="*/ 5577162 w 9595474"/>
              <a:gd name="connsiteY357" fmla="*/ 4100196 h 6858001"/>
              <a:gd name="connsiteX358" fmla="*/ 5571842 w 9595474"/>
              <a:gd name="connsiteY358" fmla="*/ 4102419 h 6858001"/>
              <a:gd name="connsiteX359" fmla="*/ 5565931 w 9595474"/>
              <a:gd name="connsiteY359" fmla="*/ 4104641 h 6858001"/>
              <a:gd name="connsiteX360" fmla="*/ 5560315 w 9595474"/>
              <a:gd name="connsiteY360" fmla="*/ 4106546 h 6858001"/>
              <a:gd name="connsiteX361" fmla="*/ 5554699 w 9595474"/>
              <a:gd name="connsiteY361" fmla="*/ 4108134 h 6858001"/>
              <a:gd name="connsiteX362" fmla="*/ 5548492 w 9595474"/>
              <a:gd name="connsiteY362" fmla="*/ 4109404 h 6858001"/>
              <a:gd name="connsiteX363" fmla="*/ 5542580 w 9595474"/>
              <a:gd name="connsiteY363" fmla="*/ 4110356 h 6858001"/>
              <a:gd name="connsiteX364" fmla="*/ 5536669 w 9595474"/>
              <a:gd name="connsiteY364" fmla="*/ 4110991 h 6858001"/>
              <a:gd name="connsiteX365" fmla="*/ 5530758 w 9595474"/>
              <a:gd name="connsiteY365" fmla="*/ 4111309 h 6858001"/>
              <a:gd name="connsiteX366" fmla="*/ 5524846 w 9595474"/>
              <a:gd name="connsiteY366" fmla="*/ 4111626 h 6858001"/>
              <a:gd name="connsiteX367" fmla="*/ 5518639 w 9595474"/>
              <a:gd name="connsiteY367" fmla="*/ 4111309 h 6858001"/>
              <a:gd name="connsiteX368" fmla="*/ 5513023 w 9595474"/>
              <a:gd name="connsiteY368" fmla="*/ 4110991 h 6858001"/>
              <a:gd name="connsiteX369" fmla="*/ 5506816 w 9595474"/>
              <a:gd name="connsiteY369" fmla="*/ 4110356 h 6858001"/>
              <a:gd name="connsiteX370" fmla="*/ 5501200 w 9595474"/>
              <a:gd name="connsiteY370" fmla="*/ 4109404 h 6858001"/>
              <a:gd name="connsiteX371" fmla="*/ 5494993 w 9595474"/>
              <a:gd name="connsiteY371" fmla="*/ 4108134 h 6858001"/>
              <a:gd name="connsiteX372" fmla="*/ 5489081 w 9595474"/>
              <a:gd name="connsiteY372" fmla="*/ 4106546 h 6858001"/>
              <a:gd name="connsiteX373" fmla="*/ 5483466 w 9595474"/>
              <a:gd name="connsiteY373" fmla="*/ 4104641 h 6858001"/>
              <a:gd name="connsiteX374" fmla="*/ 5477850 w 9595474"/>
              <a:gd name="connsiteY374" fmla="*/ 4102419 h 6858001"/>
              <a:gd name="connsiteX375" fmla="*/ 5472234 w 9595474"/>
              <a:gd name="connsiteY375" fmla="*/ 4100196 h 6858001"/>
              <a:gd name="connsiteX376" fmla="*/ 5466913 w 9595474"/>
              <a:gd name="connsiteY376" fmla="*/ 4097339 h 6858001"/>
              <a:gd name="connsiteX377" fmla="*/ 5461593 w 9595474"/>
              <a:gd name="connsiteY377" fmla="*/ 4094481 h 6858001"/>
              <a:gd name="connsiteX378" fmla="*/ 5456273 w 9595474"/>
              <a:gd name="connsiteY378" fmla="*/ 4091306 h 6858001"/>
              <a:gd name="connsiteX379" fmla="*/ 5451248 w 9595474"/>
              <a:gd name="connsiteY379" fmla="*/ 4087496 h 6858001"/>
              <a:gd name="connsiteX380" fmla="*/ 5446223 w 9595474"/>
              <a:gd name="connsiteY380" fmla="*/ 4083686 h 6858001"/>
              <a:gd name="connsiteX381" fmla="*/ 5441495 w 9595474"/>
              <a:gd name="connsiteY381" fmla="*/ 4079876 h 6858001"/>
              <a:gd name="connsiteX382" fmla="*/ 5436765 w 9595474"/>
              <a:gd name="connsiteY382" fmla="*/ 4075114 h 6858001"/>
              <a:gd name="connsiteX383" fmla="*/ 5322379 w 9595474"/>
              <a:gd name="connsiteY383" fmla="*/ 3960814 h 6858001"/>
              <a:gd name="connsiteX384" fmla="*/ 5317945 w 9595474"/>
              <a:gd name="connsiteY384" fmla="*/ 3956369 h 6858001"/>
              <a:gd name="connsiteX385" fmla="*/ 5312921 w 9595474"/>
              <a:gd name="connsiteY385" fmla="*/ 3952241 h 6858001"/>
              <a:gd name="connsiteX386" fmla="*/ 5307896 w 9595474"/>
              <a:gd name="connsiteY386" fmla="*/ 3948749 h 6858001"/>
              <a:gd name="connsiteX387" fmla="*/ 5302871 w 9595474"/>
              <a:gd name="connsiteY387" fmla="*/ 3944939 h 6858001"/>
              <a:gd name="connsiteX388" fmla="*/ 5297255 w 9595474"/>
              <a:gd name="connsiteY388" fmla="*/ 3941764 h 6858001"/>
              <a:gd name="connsiteX389" fmla="*/ 5292230 w 9595474"/>
              <a:gd name="connsiteY389" fmla="*/ 3938589 h 6858001"/>
              <a:gd name="connsiteX390" fmla="*/ 5286615 w 9595474"/>
              <a:gd name="connsiteY390" fmla="*/ 3936049 h 6858001"/>
              <a:gd name="connsiteX391" fmla="*/ 5281294 w 9595474"/>
              <a:gd name="connsiteY391" fmla="*/ 3933509 h 6858001"/>
              <a:gd name="connsiteX392" fmla="*/ 5275383 w 9595474"/>
              <a:gd name="connsiteY392" fmla="*/ 3931286 h 6858001"/>
              <a:gd name="connsiteX393" fmla="*/ 5269767 w 9595474"/>
              <a:gd name="connsiteY393" fmla="*/ 3929699 h 6858001"/>
              <a:gd name="connsiteX394" fmla="*/ 5263855 w 9595474"/>
              <a:gd name="connsiteY394" fmla="*/ 3927794 h 6858001"/>
              <a:gd name="connsiteX395" fmla="*/ 5257944 w 9595474"/>
              <a:gd name="connsiteY395" fmla="*/ 3926841 h 6858001"/>
              <a:gd name="connsiteX396" fmla="*/ 5252033 w 9595474"/>
              <a:gd name="connsiteY396" fmla="*/ 3925571 h 6858001"/>
              <a:gd name="connsiteX397" fmla="*/ 5246121 w 9595474"/>
              <a:gd name="connsiteY397" fmla="*/ 3924936 h 6858001"/>
              <a:gd name="connsiteX398" fmla="*/ 5240210 w 9595474"/>
              <a:gd name="connsiteY398" fmla="*/ 3924619 h 6858001"/>
              <a:gd name="connsiteX399" fmla="*/ 5234298 w 9595474"/>
              <a:gd name="connsiteY399" fmla="*/ 3924619 h 6858001"/>
              <a:gd name="connsiteX400" fmla="*/ 5228091 w 9595474"/>
              <a:gd name="connsiteY400" fmla="*/ 3924619 h 6858001"/>
              <a:gd name="connsiteX401" fmla="*/ 5222180 w 9595474"/>
              <a:gd name="connsiteY401" fmla="*/ 3924936 h 6858001"/>
              <a:gd name="connsiteX402" fmla="*/ 5216268 w 9595474"/>
              <a:gd name="connsiteY402" fmla="*/ 3925571 h 6858001"/>
              <a:gd name="connsiteX403" fmla="*/ 5210357 w 9595474"/>
              <a:gd name="connsiteY403" fmla="*/ 3926841 h 6858001"/>
              <a:gd name="connsiteX404" fmla="*/ 5204741 w 9595474"/>
              <a:gd name="connsiteY404" fmla="*/ 3927794 h 6858001"/>
              <a:gd name="connsiteX405" fmla="*/ 5198534 w 9595474"/>
              <a:gd name="connsiteY405" fmla="*/ 3929699 h 6858001"/>
              <a:gd name="connsiteX406" fmla="*/ 5192918 w 9595474"/>
              <a:gd name="connsiteY406" fmla="*/ 3931286 h 6858001"/>
              <a:gd name="connsiteX407" fmla="*/ 5187598 w 9595474"/>
              <a:gd name="connsiteY407" fmla="*/ 3933509 h 6858001"/>
              <a:gd name="connsiteX408" fmla="*/ 5181686 w 9595474"/>
              <a:gd name="connsiteY408" fmla="*/ 3936049 h 6858001"/>
              <a:gd name="connsiteX409" fmla="*/ 5176366 w 9595474"/>
              <a:gd name="connsiteY409" fmla="*/ 3938589 h 6858001"/>
              <a:gd name="connsiteX410" fmla="*/ 5171046 w 9595474"/>
              <a:gd name="connsiteY410" fmla="*/ 3941764 h 6858001"/>
              <a:gd name="connsiteX411" fmla="*/ 5165430 w 9595474"/>
              <a:gd name="connsiteY411" fmla="*/ 3944939 h 6858001"/>
              <a:gd name="connsiteX412" fmla="*/ 5160405 w 9595474"/>
              <a:gd name="connsiteY412" fmla="*/ 3948749 h 6858001"/>
              <a:gd name="connsiteX413" fmla="*/ 5155380 w 9595474"/>
              <a:gd name="connsiteY413" fmla="*/ 3952241 h 6858001"/>
              <a:gd name="connsiteX414" fmla="*/ 5150947 w 9595474"/>
              <a:gd name="connsiteY414" fmla="*/ 3956369 h 6858001"/>
              <a:gd name="connsiteX415" fmla="*/ 5146218 w 9595474"/>
              <a:gd name="connsiteY415" fmla="*/ 3960814 h 6858001"/>
              <a:gd name="connsiteX416" fmla="*/ 5141488 w 9595474"/>
              <a:gd name="connsiteY416" fmla="*/ 3965576 h 6858001"/>
              <a:gd name="connsiteX417" fmla="*/ 5137646 w 9595474"/>
              <a:gd name="connsiteY417" fmla="*/ 3970656 h 6858001"/>
              <a:gd name="connsiteX418" fmla="*/ 5133508 w 9595474"/>
              <a:gd name="connsiteY418" fmla="*/ 3975101 h 6858001"/>
              <a:gd name="connsiteX419" fmla="*/ 5129961 w 9595474"/>
              <a:gd name="connsiteY419" fmla="*/ 3980499 h 6858001"/>
              <a:gd name="connsiteX420" fmla="*/ 5126710 w 9595474"/>
              <a:gd name="connsiteY420" fmla="*/ 3985579 h 6858001"/>
              <a:gd name="connsiteX421" fmla="*/ 5123754 w 9595474"/>
              <a:gd name="connsiteY421" fmla="*/ 3990976 h 6858001"/>
              <a:gd name="connsiteX422" fmla="*/ 5121094 w 9595474"/>
              <a:gd name="connsiteY422" fmla="*/ 3996374 h 6858001"/>
              <a:gd name="connsiteX423" fmla="*/ 5118729 w 9595474"/>
              <a:gd name="connsiteY423" fmla="*/ 4002089 h 6858001"/>
              <a:gd name="connsiteX424" fmla="*/ 5116660 w 9595474"/>
              <a:gd name="connsiteY424" fmla="*/ 4007804 h 6858001"/>
              <a:gd name="connsiteX425" fmla="*/ 5114591 w 9595474"/>
              <a:gd name="connsiteY425" fmla="*/ 4013519 h 6858001"/>
              <a:gd name="connsiteX426" fmla="*/ 5113113 w 9595474"/>
              <a:gd name="connsiteY426" fmla="*/ 4019234 h 6858001"/>
              <a:gd name="connsiteX427" fmla="*/ 5111636 w 9595474"/>
              <a:gd name="connsiteY427" fmla="*/ 4025266 h 6858001"/>
              <a:gd name="connsiteX428" fmla="*/ 5111044 w 9595474"/>
              <a:gd name="connsiteY428" fmla="*/ 4031299 h 6858001"/>
              <a:gd name="connsiteX429" fmla="*/ 5110158 w 9595474"/>
              <a:gd name="connsiteY429" fmla="*/ 4037014 h 6858001"/>
              <a:gd name="connsiteX430" fmla="*/ 5109862 w 9595474"/>
              <a:gd name="connsiteY430" fmla="*/ 4043046 h 6858001"/>
              <a:gd name="connsiteX431" fmla="*/ 5109567 w 9595474"/>
              <a:gd name="connsiteY431" fmla="*/ 4049079 h 6858001"/>
              <a:gd name="connsiteX432" fmla="*/ 5109862 w 9595474"/>
              <a:gd name="connsiteY432" fmla="*/ 4055111 h 6858001"/>
              <a:gd name="connsiteX433" fmla="*/ 5110158 w 9595474"/>
              <a:gd name="connsiteY433" fmla="*/ 4061144 h 6858001"/>
              <a:gd name="connsiteX434" fmla="*/ 5111044 w 9595474"/>
              <a:gd name="connsiteY434" fmla="*/ 4066859 h 6858001"/>
              <a:gd name="connsiteX435" fmla="*/ 5111636 w 9595474"/>
              <a:gd name="connsiteY435" fmla="*/ 4072891 h 6858001"/>
              <a:gd name="connsiteX436" fmla="*/ 5113113 w 9595474"/>
              <a:gd name="connsiteY436" fmla="*/ 4078606 h 6858001"/>
              <a:gd name="connsiteX437" fmla="*/ 5114591 w 9595474"/>
              <a:gd name="connsiteY437" fmla="*/ 4084321 h 6858001"/>
              <a:gd name="connsiteX438" fmla="*/ 5116660 w 9595474"/>
              <a:gd name="connsiteY438" fmla="*/ 4090036 h 6858001"/>
              <a:gd name="connsiteX439" fmla="*/ 5118729 w 9595474"/>
              <a:gd name="connsiteY439" fmla="*/ 4095751 h 6858001"/>
              <a:gd name="connsiteX440" fmla="*/ 5121094 w 9595474"/>
              <a:gd name="connsiteY440" fmla="*/ 4101784 h 6858001"/>
              <a:gd name="connsiteX441" fmla="*/ 5123754 w 9595474"/>
              <a:gd name="connsiteY441" fmla="*/ 4107181 h 6858001"/>
              <a:gd name="connsiteX442" fmla="*/ 5126710 w 9595474"/>
              <a:gd name="connsiteY442" fmla="*/ 4112579 h 6858001"/>
              <a:gd name="connsiteX443" fmla="*/ 5129961 w 9595474"/>
              <a:gd name="connsiteY443" fmla="*/ 4117976 h 6858001"/>
              <a:gd name="connsiteX444" fmla="*/ 5133508 w 9595474"/>
              <a:gd name="connsiteY444" fmla="*/ 4122739 h 6858001"/>
              <a:gd name="connsiteX445" fmla="*/ 5137646 w 9595474"/>
              <a:gd name="connsiteY445" fmla="*/ 4127819 h 6858001"/>
              <a:gd name="connsiteX446" fmla="*/ 5141488 w 9595474"/>
              <a:gd name="connsiteY446" fmla="*/ 4132581 h 6858001"/>
              <a:gd name="connsiteX447" fmla="*/ 5146218 w 9595474"/>
              <a:gd name="connsiteY447" fmla="*/ 4137344 h 6858001"/>
              <a:gd name="connsiteX448" fmla="*/ 5870075 w 9595474"/>
              <a:gd name="connsiteY448" fmla="*/ 4860926 h 6858001"/>
              <a:gd name="connsiteX449" fmla="*/ 5874509 w 9595474"/>
              <a:gd name="connsiteY449" fmla="*/ 4865689 h 6858001"/>
              <a:gd name="connsiteX450" fmla="*/ 5878646 w 9595474"/>
              <a:gd name="connsiteY450" fmla="*/ 4870769 h 6858001"/>
              <a:gd name="connsiteX451" fmla="*/ 5882489 w 9595474"/>
              <a:gd name="connsiteY451" fmla="*/ 4875849 h 6858001"/>
              <a:gd name="connsiteX452" fmla="*/ 5886036 w 9595474"/>
              <a:gd name="connsiteY452" fmla="*/ 4880929 h 6858001"/>
              <a:gd name="connsiteX453" fmla="*/ 5889287 w 9595474"/>
              <a:gd name="connsiteY453" fmla="*/ 4885691 h 6858001"/>
              <a:gd name="connsiteX454" fmla="*/ 5892243 w 9595474"/>
              <a:gd name="connsiteY454" fmla="*/ 4891089 h 6858001"/>
              <a:gd name="connsiteX455" fmla="*/ 5895199 w 9595474"/>
              <a:gd name="connsiteY455" fmla="*/ 4897121 h 6858001"/>
              <a:gd name="connsiteX456" fmla="*/ 5897268 w 9595474"/>
              <a:gd name="connsiteY456" fmla="*/ 4902519 h 6858001"/>
              <a:gd name="connsiteX457" fmla="*/ 5899336 w 9595474"/>
              <a:gd name="connsiteY457" fmla="*/ 4908234 h 6858001"/>
              <a:gd name="connsiteX458" fmla="*/ 5901701 w 9595474"/>
              <a:gd name="connsiteY458" fmla="*/ 4913949 h 6858001"/>
              <a:gd name="connsiteX459" fmla="*/ 5902883 w 9595474"/>
              <a:gd name="connsiteY459" fmla="*/ 4919664 h 6858001"/>
              <a:gd name="connsiteX460" fmla="*/ 5904066 w 9595474"/>
              <a:gd name="connsiteY460" fmla="*/ 4925696 h 6858001"/>
              <a:gd name="connsiteX461" fmla="*/ 5905248 w 9595474"/>
              <a:gd name="connsiteY461" fmla="*/ 4931411 h 6858001"/>
              <a:gd name="connsiteX462" fmla="*/ 5905840 w 9595474"/>
              <a:gd name="connsiteY462" fmla="*/ 4937444 h 6858001"/>
              <a:gd name="connsiteX463" fmla="*/ 5906135 w 9595474"/>
              <a:gd name="connsiteY463" fmla="*/ 4943476 h 6858001"/>
              <a:gd name="connsiteX464" fmla="*/ 5906726 w 9595474"/>
              <a:gd name="connsiteY464" fmla="*/ 4949509 h 6858001"/>
              <a:gd name="connsiteX465" fmla="*/ 5906135 w 9595474"/>
              <a:gd name="connsiteY465" fmla="*/ 4955224 h 6858001"/>
              <a:gd name="connsiteX466" fmla="*/ 5905840 w 9595474"/>
              <a:gd name="connsiteY466" fmla="*/ 4961256 h 6858001"/>
              <a:gd name="connsiteX467" fmla="*/ 5905248 w 9595474"/>
              <a:gd name="connsiteY467" fmla="*/ 4967289 h 6858001"/>
              <a:gd name="connsiteX468" fmla="*/ 5904066 w 9595474"/>
              <a:gd name="connsiteY468" fmla="*/ 4973004 h 6858001"/>
              <a:gd name="connsiteX469" fmla="*/ 5902883 w 9595474"/>
              <a:gd name="connsiteY469" fmla="*/ 4979036 h 6858001"/>
              <a:gd name="connsiteX470" fmla="*/ 5901701 w 9595474"/>
              <a:gd name="connsiteY470" fmla="*/ 4985069 h 6858001"/>
              <a:gd name="connsiteX471" fmla="*/ 5899336 w 9595474"/>
              <a:gd name="connsiteY471" fmla="*/ 4990784 h 6858001"/>
              <a:gd name="connsiteX472" fmla="*/ 5897268 w 9595474"/>
              <a:gd name="connsiteY472" fmla="*/ 4996181 h 6858001"/>
              <a:gd name="connsiteX473" fmla="*/ 5895199 w 9595474"/>
              <a:gd name="connsiteY473" fmla="*/ 5001896 h 6858001"/>
              <a:gd name="connsiteX474" fmla="*/ 5892243 w 9595474"/>
              <a:gd name="connsiteY474" fmla="*/ 5007294 h 6858001"/>
              <a:gd name="connsiteX475" fmla="*/ 5889287 w 9595474"/>
              <a:gd name="connsiteY475" fmla="*/ 5012691 h 6858001"/>
              <a:gd name="connsiteX476" fmla="*/ 5886036 w 9595474"/>
              <a:gd name="connsiteY476" fmla="*/ 5018089 h 6858001"/>
              <a:gd name="connsiteX477" fmla="*/ 5882489 w 9595474"/>
              <a:gd name="connsiteY477" fmla="*/ 5023169 h 6858001"/>
              <a:gd name="connsiteX478" fmla="*/ 5878646 w 9595474"/>
              <a:gd name="connsiteY478" fmla="*/ 5028249 h 6858001"/>
              <a:gd name="connsiteX479" fmla="*/ 5874509 w 9595474"/>
              <a:gd name="connsiteY479" fmla="*/ 5032694 h 6858001"/>
              <a:gd name="connsiteX480" fmla="*/ 5870075 w 9595474"/>
              <a:gd name="connsiteY480" fmla="*/ 5037456 h 6858001"/>
              <a:gd name="connsiteX481" fmla="*/ 5865346 w 9595474"/>
              <a:gd name="connsiteY481" fmla="*/ 5041901 h 6858001"/>
              <a:gd name="connsiteX482" fmla="*/ 5860617 w 9595474"/>
              <a:gd name="connsiteY482" fmla="*/ 5046029 h 6858001"/>
              <a:gd name="connsiteX483" fmla="*/ 5855592 w 9595474"/>
              <a:gd name="connsiteY483" fmla="*/ 5050156 h 6858001"/>
              <a:gd name="connsiteX484" fmla="*/ 5850567 w 9595474"/>
              <a:gd name="connsiteY484" fmla="*/ 5053649 h 6858001"/>
              <a:gd name="connsiteX485" fmla="*/ 5845247 w 9595474"/>
              <a:gd name="connsiteY485" fmla="*/ 5056824 h 6858001"/>
              <a:gd name="connsiteX486" fmla="*/ 5839926 w 9595474"/>
              <a:gd name="connsiteY486" fmla="*/ 5059681 h 6858001"/>
              <a:gd name="connsiteX487" fmla="*/ 5834311 w 9595474"/>
              <a:gd name="connsiteY487" fmla="*/ 5062539 h 6858001"/>
              <a:gd name="connsiteX488" fmla="*/ 5828695 w 9595474"/>
              <a:gd name="connsiteY488" fmla="*/ 5064761 h 6858001"/>
              <a:gd name="connsiteX489" fmla="*/ 5823375 w 9595474"/>
              <a:gd name="connsiteY489" fmla="*/ 5066984 h 6858001"/>
              <a:gd name="connsiteX490" fmla="*/ 5817463 w 9595474"/>
              <a:gd name="connsiteY490" fmla="*/ 5069206 h 6858001"/>
              <a:gd name="connsiteX491" fmla="*/ 5811552 w 9595474"/>
              <a:gd name="connsiteY491" fmla="*/ 5070476 h 6858001"/>
              <a:gd name="connsiteX492" fmla="*/ 5805640 w 9595474"/>
              <a:gd name="connsiteY492" fmla="*/ 5071429 h 6858001"/>
              <a:gd name="connsiteX493" fmla="*/ 5800024 w 9595474"/>
              <a:gd name="connsiteY493" fmla="*/ 5072699 h 6858001"/>
              <a:gd name="connsiteX494" fmla="*/ 5793817 w 9595474"/>
              <a:gd name="connsiteY494" fmla="*/ 5073334 h 6858001"/>
              <a:gd name="connsiteX495" fmla="*/ 5787610 w 9595474"/>
              <a:gd name="connsiteY495" fmla="*/ 5073651 h 6858001"/>
              <a:gd name="connsiteX496" fmla="*/ 5781994 w 9595474"/>
              <a:gd name="connsiteY496" fmla="*/ 5073969 h 6858001"/>
              <a:gd name="connsiteX497" fmla="*/ 5775787 w 9595474"/>
              <a:gd name="connsiteY497" fmla="*/ 5073651 h 6858001"/>
              <a:gd name="connsiteX498" fmla="*/ 5770171 w 9595474"/>
              <a:gd name="connsiteY498" fmla="*/ 5073334 h 6858001"/>
              <a:gd name="connsiteX499" fmla="*/ 5763965 w 9595474"/>
              <a:gd name="connsiteY499" fmla="*/ 5072699 h 6858001"/>
              <a:gd name="connsiteX500" fmla="*/ 5758349 w 9595474"/>
              <a:gd name="connsiteY500" fmla="*/ 5071429 h 6858001"/>
              <a:gd name="connsiteX501" fmla="*/ 5752141 w 9595474"/>
              <a:gd name="connsiteY501" fmla="*/ 5070476 h 6858001"/>
              <a:gd name="connsiteX502" fmla="*/ 5746526 w 9595474"/>
              <a:gd name="connsiteY502" fmla="*/ 5069206 h 6858001"/>
              <a:gd name="connsiteX503" fmla="*/ 5740614 w 9595474"/>
              <a:gd name="connsiteY503" fmla="*/ 5066984 h 6858001"/>
              <a:gd name="connsiteX504" fmla="*/ 5734998 w 9595474"/>
              <a:gd name="connsiteY504" fmla="*/ 5064761 h 6858001"/>
              <a:gd name="connsiteX505" fmla="*/ 5729382 w 9595474"/>
              <a:gd name="connsiteY505" fmla="*/ 5062539 h 6858001"/>
              <a:gd name="connsiteX506" fmla="*/ 5723767 w 9595474"/>
              <a:gd name="connsiteY506" fmla="*/ 5059681 h 6858001"/>
              <a:gd name="connsiteX507" fmla="*/ 5718446 w 9595474"/>
              <a:gd name="connsiteY507" fmla="*/ 5056824 h 6858001"/>
              <a:gd name="connsiteX508" fmla="*/ 5713421 w 9595474"/>
              <a:gd name="connsiteY508" fmla="*/ 5053649 h 6858001"/>
              <a:gd name="connsiteX509" fmla="*/ 5708396 w 9595474"/>
              <a:gd name="connsiteY509" fmla="*/ 5050156 h 6858001"/>
              <a:gd name="connsiteX510" fmla="*/ 5703372 w 9595474"/>
              <a:gd name="connsiteY510" fmla="*/ 5046029 h 6858001"/>
              <a:gd name="connsiteX511" fmla="*/ 5698347 w 9595474"/>
              <a:gd name="connsiteY511" fmla="*/ 5041901 h 6858001"/>
              <a:gd name="connsiteX512" fmla="*/ 5693618 w 9595474"/>
              <a:gd name="connsiteY512" fmla="*/ 5037456 h 6858001"/>
              <a:gd name="connsiteX513" fmla="*/ 5598148 w 9595474"/>
              <a:gd name="connsiteY513" fmla="*/ 4941889 h 6858001"/>
              <a:gd name="connsiteX514" fmla="*/ 5490560 w 9595474"/>
              <a:gd name="connsiteY514" fmla="*/ 4834574 h 6858001"/>
              <a:gd name="connsiteX515" fmla="*/ 5485830 w 9595474"/>
              <a:gd name="connsiteY515" fmla="*/ 4830129 h 6858001"/>
              <a:gd name="connsiteX516" fmla="*/ 5481397 w 9595474"/>
              <a:gd name="connsiteY516" fmla="*/ 4826001 h 6858001"/>
              <a:gd name="connsiteX517" fmla="*/ 5476372 w 9595474"/>
              <a:gd name="connsiteY517" fmla="*/ 4821874 h 6858001"/>
              <a:gd name="connsiteX518" fmla="*/ 5471348 w 9595474"/>
              <a:gd name="connsiteY518" fmla="*/ 4818381 h 6858001"/>
              <a:gd name="connsiteX519" fmla="*/ 5465732 w 9595474"/>
              <a:gd name="connsiteY519" fmla="*/ 4815206 h 6858001"/>
              <a:gd name="connsiteX520" fmla="*/ 5460411 w 9595474"/>
              <a:gd name="connsiteY520" fmla="*/ 4812349 h 6858001"/>
              <a:gd name="connsiteX521" fmla="*/ 5455091 w 9595474"/>
              <a:gd name="connsiteY521" fmla="*/ 4809174 h 6858001"/>
              <a:gd name="connsiteX522" fmla="*/ 5449475 w 9595474"/>
              <a:gd name="connsiteY522" fmla="*/ 4807269 h 6858001"/>
              <a:gd name="connsiteX523" fmla="*/ 5443563 w 9595474"/>
              <a:gd name="connsiteY523" fmla="*/ 4805046 h 6858001"/>
              <a:gd name="connsiteX524" fmla="*/ 5437948 w 9595474"/>
              <a:gd name="connsiteY524" fmla="*/ 4802824 h 6858001"/>
              <a:gd name="connsiteX525" fmla="*/ 5432036 w 9595474"/>
              <a:gd name="connsiteY525" fmla="*/ 4801554 h 6858001"/>
              <a:gd name="connsiteX526" fmla="*/ 5426420 w 9595474"/>
              <a:gd name="connsiteY526" fmla="*/ 4800284 h 6858001"/>
              <a:gd name="connsiteX527" fmla="*/ 5420509 w 9595474"/>
              <a:gd name="connsiteY527" fmla="*/ 4799331 h 6858001"/>
              <a:gd name="connsiteX528" fmla="*/ 5414597 w 9595474"/>
              <a:gd name="connsiteY528" fmla="*/ 4798696 h 6858001"/>
              <a:gd name="connsiteX529" fmla="*/ 5408391 w 9595474"/>
              <a:gd name="connsiteY529" fmla="*/ 4798061 h 6858001"/>
              <a:gd name="connsiteX530" fmla="*/ 5402775 w 9595474"/>
              <a:gd name="connsiteY530" fmla="*/ 4797744 h 6858001"/>
              <a:gd name="connsiteX531" fmla="*/ 5396568 w 9595474"/>
              <a:gd name="connsiteY531" fmla="*/ 4798061 h 6858001"/>
              <a:gd name="connsiteX532" fmla="*/ 5390361 w 9595474"/>
              <a:gd name="connsiteY532" fmla="*/ 4798696 h 6858001"/>
              <a:gd name="connsiteX533" fmla="*/ 5384745 w 9595474"/>
              <a:gd name="connsiteY533" fmla="*/ 4799331 h 6858001"/>
              <a:gd name="connsiteX534" fmla="*/ 5378538 w 9595474"/>
              <a:gd name="connsiteY534" fmla="*/ 4800284 h 6858001"/>
              <a:gd name="connsiteX535" fmla="*/ 5372922 w 9595474"/>
              <a:gd name="connsiteY535" fmla="*/ 4801554 h 6858001"/>
              <a:gd name="connsiteX536" fmla="*/ 5367010 w 9595474"/>
              <a:gd name="connsiteY536" fmla="*/ 4802824 h 6858001"/>
              <a:gd name="connsiteX537" fmla="*/ 5361394 w 9595474"/>
              <a:gd name="connsiteY537" fmla="*/ 4805046 h 6858001"/>
              <a:gd name="connsiteX538" fmla="*/ 5355483 w 9595474"/>
              <a:gd name="connsiteY538" fmla="*/ 4807269 h 6858001"/>
              <a:gd name="connsiteX539" fmla="*/ 5350163 w 9595474"/>
              <a:gd name="connsiteY539" fmla="*/ 4809174 h 6858001"/>
              <a:gd name="connsiteX540" fmla="*/ 5344547 w 9595474"/>
              <a:gd name="connsiteY540" fmla="*/ 4812349 h 6858001"/>
              <a:gd name="connsiteX541" fmla="*/ 5338931 w 9595474"/>
              <a:gd name="connsiteY541" fmla="*/ 4815206 h 6858001"/>
              <a:gd name="connsiteX542" fmla="*/ 5333906 w 9595474"/>
              <a:gd name="connsiteY542" fmla="*/ 4818381 h 6858001"/>
              <a:gd name="connsiteX543" fmla="*/ 5328881 w 9595474"/>
              <a:gd name="connsiteY543" fmla="*/ 4821874 h 6858001"/>
              <a:gd name="connsiteX544" fmla="*/ 5323857 w 9595474"/>
              <a:gd name="connsiteY544" fmla="*/ 4826001 h 6858001"/>
              <a:gd name="connsiteX545" fmla="*/ 5318832 w 9595474"/>
              <a:gd name="connsiteY545" fmla="*/ 4830129 h 6858001"/>
              <a:gd name="connsiteX546" fmla="*/ 5314398 w 9595474"/>
              <a:gd name="connsiteY546" fmla="*/ 4834574 h 6858001"/>
              <a:gd name="connsiteX547" fmla="*/ 5307305 w 9595474"/>
              <a:gd name="connsiteY547" fmla="*/ 4841876 h 6858001"/>
              <a:gd name="connsiteX548" fmla="*/ 5301393 w 9595474"/>
              <a:gd name="connsiteY548" fmla="*/ 4849814 h 6858001"/>
              <a:gd name="connsiteX549" fmla="*/ 5295482 w 9595474"/>
              <a:gd name="connsiteY549" fmla="*/ 4858069 h 6858001"/>
              <a:gd name="connsiteX550" fmla="*/ 5291048 w 9595474"/>
              <a:gd name="connsiteY550" fmla="*/ 4867276 h 6858001"/>
              <a:gd name="connsiteX551" fmla="*/ 5286910 w 9595474"/>
              <a:gd name="connsiteY551" fmla="*/ 4875849 h 6858001"/>
              <a:gd name="connsiteX552" fmla="*/ 5283659 w 9595474"/>
              <a:gd name="connsiteY552" fmla="*/ 4885056 h 6858001"/>
              <a:gd name="connsiteX553" fmla="*/ 5281294 w 9595474"/>
              <a:gd name="connsiteY553" fmla="*/ 4894581 h 6858001"/>
              <a:gd name="connsiteX554" fmla="*/ 5279521 w 9595474"/>
              <a:gd name="connsiteY554" fmla="*/ 4903789 h 6858001"/>
              <a:gd name="connsiteX555" fmla="*/ 5278339 w 9595474"/>
              <a:gd name="connsiteY555" fmla="*/ 4913631 h 6858001"/>
              <a:gd name="connsiteX556" fmla="*/ 5278339 w 9595474"/>
              <a:gd name="connsiteY556" fmla="*/ 4923156 h 6858001"/>
              <a:gd name="connsiteX557" fmla="*/ 5278634 w 9595474"/>
              <a:gd name="connsiteY557" fmla="*/ 4932999 h 6858001"/>
              <a:gd name="connsiteX558" fmla="*/ 5279816 w 9595474"/>
              <a:gd name="connsiteY558" fmla="*/ 4942206 h 6858001"/>
              <a:gd name="connsiteX559" fmla="*/ 5281885 w 9595474"/>
              <a:gd name="connsiteY559" fmla="*/ 4952049 h 6858001"/>
              <a:gd name="connsiteX560" fmla="*/ 5284546 w 9595474"/>
              <a:gd name="connsiteY560" fmla="*/ 4960939 h 6858001"/>
              <a:gd name="connsiteX561" fmla="*/ 5288092 w 9595474"/>
              <a:gd name="connsiteY561" fmla="*/ 4970146 h 6858001"/>
              <a:gd name="connsiteX562" fmla="*/ 5291935 w 9595474"/>
              <a:gd name="connsiteY562" fmla="*/ 4979354 h 6858001"/>
              <a:gd name="connsiteX563" fmla="*/ 5583665 w 9595474"/>
              <a:gd name="connsiteY563" fmla="*/ 5270501 h 6858001"/>
              <a:gd name="connsiteX564" fmla="*/ 5588098 w 9595474"/>
              <a:gd name="connsiteY564" fmla="*/ 5275264 h 6858001"/>
              <a:gd name="connsiteX565" fmla="*/ 5592237 w 9595474"/>
              <a:gd name="connsiteY565" fmla="*/ 5280344 h 6858001"/>
              <a:gd name="connsiteX566" fmla="*/ 5595784 w 9595474"/>
              <a:gd name="connsiteY566" fmla="*/ 5284789 h 6858001"/>
              <a:gd name="connsiteX567" fmla="*/ 5599626 w 9595474"/>
              <a:gd name="connsiteY567" fmla="*/ 5290186 h 6858001"/>
              <a:gd name="connsiteX568" fmla="*/ 5602582 w 9595474"/>
              <a:gd name="connsiteY568" fmla="*/ 5295266 h 6858001"/>
              <a:gd name="connsiteX569" fmla="*/ 5605833 w 9595474"/>
              <a:gd name="connsiteY569" fmla="*/ 5300664 h 6858001"/>
              <a:gd name="connsiteX570" fmla="*/ 5608493 w 9595474"/>
              <a:gd name="connsiteY570" fmla="*/ 5306061 h 6858001"/>
              <a:gd name="connsiteX571" fmla="*/ 5610857 w 9595474"/>
              <a:gd name="connsiteY571" fmla="*/ 5311776 h 6858001"/>
              <a:gd name="connsiteX572" fmla="*/ 5613222 w 9595474"/>
              <a:gd name="connsiteY572" fmla="*/ 5317491 h 6858001"/>
              <a:gd name="connsiteX573" fmla="*/ 5614996 w 9595474"/>
              <a:gd name="connsiteY573" fmla="*/ 5323524 h 6858001"/>
              <a:gd name="connsiteX574" fmla="*/ 5616474 w 9595474"/>
              <a:gd name="connsiteY574" fmla="*/ 5329239 h 6858001"/>
              <a:gd name="connsiteX575" fmla="*/ 5617656 w 9595474"/>
              <a:gd name="connsiteY575" fmla="*/ 5334954 h 6858001"/>
              <a:gd name="connsiteX576" fmla="*/ 5618838 w 9595474"/>
              <a:gd name="connsiteY576" fmla="*/ 5340986 h 6858001"/>
              <a:gd name="connsiteX577" fmla="*/ 5619725 w 9595474"/>
              <a:gd name="connsiteY577" fmla="*/ 5346701 h 6858001"/>
              <a:gd name="connsiteX578" fmla="*/ 5620021 w 9595474"/>
              <a:gd name="connsiteY578" fmla="*/ 5352734 h 6858001"/>
              <a:gd name="connsiteX579" fmla="*/ 5620021 w 9595474"/>
              <a:gd name="connsiteY579" fmla="*/ 5359084 h 6858001"/>
              <a:gd name="connsiteX580" fmla="*/ 5620021 w 9595474"/>
              <a:gd name="connsiteY580" fmla="*/ 5364799 h 6858001"/>
              <a:gd name="connsiteX581" fmla="*/ 5619725 w 9595474"/>
              <a:gd name="connsiteY581" fmla="*/ 5370831 h 6858001"/>
              <a:gd name="connsiteX582" fmla="*/ 5618838 w 9595474"/>
              <a:gd name="connsiteY582" fmla="*/ 5376546 h 6858001"/>
              <a:gd name="connsiteX583" fmla="*/ 5617656 w 9595474"/>
              <a:gd name="connsiteY583" fmla="*/ 5382579 h 6858001"/>
              <a:gd name="connsiteX584" fmla="*/ 5616474 w 9595474"/>
              <a:gd name="connsiteY584" fmla="*/ 5388294 h 6858001"/>
              <a:gd name="connsiteX585" fmla="*/ 5614996 w 9595474"/>
              <a:gd name="connsiteY585" fmla="*/ 5394009 h 6858001"/>
              <a:gd name="connsiteX586" fmla="*/ 5613222 w 9595474"/>
              <a:gd name="connsiteY586" fmla="*/ 5400041 h 6858001"/>
              <a:gd name="connsiteX587" fmla="*/ 5610857 w 9595474"/>
              <a:gd name="connsiteY587" fmla="*/ 5405756 h 6858001"/>
              <a:gd name="connsiteX588" fmla="*/ 5608493 w 9595474"/>
              <a:gd name="connsiteY588" fmla="*/ 5411471 h 6858001"/>
              <a:gd name="connsiteX589" fmla="*/ 5605833 w 9595474"/>
              <a:gd name="connsiteY589" fmla="*/ 5416869 h 6858001"/>
              <a:gd name="connsiteX590" fmla="*/ 5602582 w 9595474"/>
              <a:gd name="connsiteY590" fmla="*/ 5422266 h 6858001"/>
              <a:gd name="connsiteX591" fmla="*/ 5599626 w 9595474"/>
              <a:gd name="connsiteY591" fmla="*/ 5427664 h 6858001"/>
              <a:gd name="connsiteX592" fmla="*/ 5595784 w 9595474"/>
              <a:gd name="connsiteY592" fmla="*/ 5432744 h 6858001"/>
              <a:gd name="connsiteX593" fmla="*/ 5592237 w 9595474"/>
              <a:gd name="connsiteY593" fmla="*/ 5437506 h 6858001"/>
              <a:gd name="connsiteX594" fmla="*/ 5588098 w 9595474"/>
              <a:gd name="connsiteY594" fmla="*/ 5442269 h 6858001"/>
              <a:gd name="connsiteX595" fmla="*/ 5583665 w 9595474"/>
              <a:gd name="connsiteY595" fmla="*/ 5447031 h 6858001"/>
              <a:gd name="connsiteX596" fmla="*/ 5578936 w 9595474"/>
              <a:gd name="connsiteY596" fmla="*/ 5451159 h 6858001"/>
              <a:gd name="connsiteX597" fmla="*/ 5573911 w 9595474"/>
              <a:gd name="connsiteY597" fmla="*/ 5455604 h 6858001"/>
              <a:gd name="connsiteX598" fmla="*/ 5569182 w 9595474"/>
              <a:gd name="connsiteY598" fmla="*/ 5459096 h 6858001"/>
              <a:gd name="connsiteX599" fmla="*/ 5563862 w 9595474"/>
              <a:gd name="connsiteY599" fmla="*/ 5462906 h 6858001"/>
              <a:gd name="connsiteX600" fmla="*/ 5558837 w 9595474"/>
              <a:gd name="connsiteY600" fmla="*/ 5466081 h 6858001"/>
              <a:gd name="connsiteX601" fmla="*/ 5553517 w 9595474"/>
              <a:gd name="connsiteY601" fmla="*/ 5469256 h 6858001"/>
              <a:gd name="connsiteX602" fmla="*/ 5548196 w 9595474"/>
              <a:gd name="connsiteY602" fmla="*/ 5471796 h 6858001"/>
              <a:gd name="connsiteX603" fmla="*/ 5542285 w 9595474"/>
              <a:gd name="connsiteY603" fmla="*/ 5474336 h 6858001"/>
              <a:gd name="connsiteX604" fmla="*/ 5536964 w 9595474"/>
              <a:gd name="connsiteY604" fmla="*/ 5476559 h 6858001"/>
              <a:gd name="connsiteX605" fmla="*/ 5531348 w 9595474"/>
              <a:gd name="connsiteY605" fmla="*/ 5478146 h 6858001"/>
              <a:gd name="connsiteX606" fmla="*/ 5525437 w 9595474"/>
              <a:gd name="connsiteY606" fmla="*/ 5479734 h 6858001"/>
              <a:gd name="connsiteX607" fmla="*/ 5519230 w 9595474"/>
              <a:gd name="connsiteY607" fmla="*/ 5481004 h 6858001"/>
              <a:gd name="connsiteX608" fmla="*/ 5513614 w 9595474"/>
              <a:gd name="connsiteY608" fmla="*/ 5482274 h 6858001"/>
              <a:gd name="connsiteX609" fmla="*/ 5507999 w 9595474"/>
              <a:gd name="connsiteY609" fmla="*/ 5482909 h 6858001"/>
              <a:gd name="connsiteX610" fmla="*/ 5501791 w 9595474"/>
              <a:gd name="connsiteY610" fmla="*/ 5483226 h 6858001"/>
              <a:gd name="connsiteX611" fmla="*/ 5495585 w 9595474"/>
              <a:gd name="connsiteY611" fmla="*/ 5483544 h 6858001"/>
              <a:gd name="connsiteX612" fmla="*/ 6873545 w 9595474"/>
              <a:gd name="connsiteY612" fmla="*/ 6858001 h 6858001"/>
              <a:gd name="connsiteX613" fmla="*/ 9595474 w 9595474"/>
              <a:gd name="connsiteY613" fmla="*/ 6858001 h 6858001"/>
              <a:gd name="connsiteX614" fmla="*/ 9595474 w 9595474"/>
              <a:gd name="connsiteY614" fmla="*/ 1 h 6858001"/>
              <a:gd name="connsiteX615" fmla="*/ 3525498 w 9595474"/>
              <a:gd name="connsiteY615" fmla="*/ 1 h 6858001"/>
              <a:gd name="connsiteX616" fmla="*/ 3525497 w 9595474"/>
              <a:gd name="connsiteY616" fmla="*/ 0 h 6858001"/>
              <a:gd name="connsiteX0" fmla="*/ 3525498 w 9595474"/>
              <a:gd name="connsiteY0" fmla="*/ 1 h 6858001"/>
              <a:gd name="connsiteX1" fmla="*/ 2914258 w 9595474"/>
              <a:gd name="connsiteY1" fmla="*/ 0 h 6858001"/>
              <a:gd name="connsiteX2" fmla="*/ 2914259 w 9595474"/>
              <a:gd name="connsiteY2" fmla="*/ 1 h 6858001"/>
              <a:gd name="connsiteX3" fmla="*/ 0 w 9595474"/>
              <a:gd name="connsiteY3" fmla="*/ 1 h 6858001"/>
              <a:gd name="connsiteX4" fmla="*/ 692823 w 9595474"/>
              <a:gd name="connsiteY4" fmla="*/ 691199 h 6858001"/>
              <a:gd name="connsiteX5" fmla="*/ 691345 w 9595474"/>
              <a:gd name="connsiteY5" fmla="*/ 683896 h 6858001"/>
              <a:gd name="connsiteX6" fmla="*/ 690754 w 9595474"/>
              <a:gd name="connsiteY6" fmla="*/ 676276 h 6858001"/>
              <a:gd name="connsiteX7" fmla="*/ 690754 w 9595474"/>
              <a:gd name="connsiteY7" fmla="*/ 669291 h 6858001"/>
              <a:gd name="connsiteX8" fmla="*/ 690754 w 9595474"/>
              <a:gd name="connsiteY8" fmla="*/ 661989 h 6858001"/>
              <a:gd name="connsiteX9" fmla="*/ 691345 w 9595474"/>
              <a:gd name="connsiteY9" fmla="*/ 654369 h 6858001"/>
              <a:gd name="connsiteX10" fmla="*/ 692527 w 9595474"/>
              <a:gd name="connsiteY10" fmla="*/ 647384 h 6858001"/>
              <a:gd name="connsiteX11" fmla="*/ 694005 w 9595474"/>
              <a:gd name="connsiteY11" fmla="*/ 640081 h 6858001"/>
              <a:gd name="connsiteX12" fmla="*/ 695778 w 9595474"/>
              <a:gd name="connsiteY12" fmla="*/ 633096 h 6858001"/>
              <a:gd name="connsiteX13" fmla="*/ 698143 w 9595474"/>
              <a:gd name="connsiteY13" fmla="*/ 625794 h 6858001"/>
              <a:gd name="connsiteX14" fmla="*/ 700803 w 9595474"/>
              <a:gd name="connsiteY14" fmla="*/ 618809 h 6858001"/>
              <a:gd name="connsiteX15" fmla="*/ 704054 w 9595474"/>
              <a:gd name="connsiteY15" fmla="*/ 612141 h 6858001"/>
              <a:gd name="connsiteX16" fmla="*/ 707601 w 9595474"/>
              <a:gd name="connsiteY16" fmla="*/ 605791 h 6858001"/>
              <a:gd name="connsiteX17" fmla="*/ 712035 w 9595474"/>
              <a:gd name="connsiteY17" fmla="*/ 599124 h 6858001"/>
              <a:gd name="connsiteX18" fmla="*/ 716173 w 9595474"/>
              <a:gd name="connsiteY18" fmla="*/ 592774 h 6858001"/>
              <a:gd name="connsiteX19" fmla="*/ 721198 w 9595474"/>
              <a:gd name="connsiteY19" fmla="*/ 587059 h 6858001"/>
              <a:gd name="connsiteX20" fmla="*/ 726518 w 9595474"/>
              <a:gd name="connsiteY20" fmla="*/ 581344 h 6858001"/>
              <a:gd name="connsiteX21" fmla="*/ 731247 w 9595474"/>
              <a:gd name="connsiteY21" fmla="*/ 576899 h 6858001"/>
              <a:gd name="connsiteX22" fmla="*/ 735976 w 9595474"/>
              <a:gd name="connsiteY22" fmla="*/ 572454 h 6858001"/>
              <a:gd name="connsiteX23" fmla="*/ 741001 w 9595474"/>
              <a:gd name="connsiteY23" fmla="*/ 568961 h 6858001"/>
              <a:gd name="connsiteX24" fmla="*/ 746026 w 9595474"/>
              <a:gd name="connsiteY24" fmla="*/ 565469 h 6858001"/>
              <a:gd name="connsiteX25" fmla="*/ 751050 w 9595474"/>
              <a:gd name="connsiteY25" fmla="*/ 562294 h 6858001"/>
              <a:gd name="connsiteX26" fmla="*/ 756371 w 9595474"/>
              <a:gd name="connsiteY26" fmla="*/ 558801 h 6858001"/>
              <a:gd name="connsiteX27" fmla="*/ 761691 w 9595474"/>
              <a:gd name="connsiteY27" fmla="*/ 556579 h 6858001"/>
              <a:gd name="connsiteX28" fmla="*/ 767602 w 9595474"/>
              <a:gd name="connsiteY28" fmla="*/ 554039 h 6858001"/>
              <a:gd name="connsiteX29" fmla="*/ 772923 w 9595474"/>
              <a:gd name="connsiteY29" fmla="*/ 551816 h 6858001"/>
              <a:gd name="connsiteX30" fmla="*/ 778834 w 9595474"/>
              <a:gd name="connsiteY30" fmla="*/ 549911 h 6858001"/>
              <a:gd name="connsiteX31" fmla="*/ 784450 w 9595474"/>
              <a:gd name="connsiteY31" fmla="*/ 548641 h 6858001"/>
              <a:gd name="connsiteX32" fmla="*/ 790066 w 9595474"/>
              <a:gd name="connsiteY32" fmla="*/ 547371 h 6858001"/>
              <a:gd name="connsiteX33" fmla="*/ 795977 w 9595474"/>
              <a:gd name="connsiteY33" fmla="*/ 546419 h 6858001"/>
              <a:gd name="connsiteX34" fmla="*/ 802184 w 9595474"/>
              <a:gd name="connsiteY34" fmla="*/ 545784 h 6858001"/>
              <a:gd name="connsiteX35" fmla="*/ 807800 w 9595474"/>
              <a:gd name="connsiteY35" fmla="*/ 545466 h 6858001"/>
              <a:gd name="connsiteX36" fmla="*/ 814007 w 9595474"/>
              <a:gd name="connsiteY36" fmla="*/ 544831 h 6858001"/>
              <a:gd name="connsiteX37" fmla="*/ 819623 w 9595474"/>
              <a:gd name="connsiteY37" fmla="*/ 545466 h 6858001"/>
              <a:gd name="connsiteX38" fmla="*/ 825830 w 9595474"/>
              <a:gd name="connsiteY38" fmla="*/ 545784 h 6858001"/>
              <a:gd name="connsiteX39" fmla="*/ 831446 w 9595474"/>
              <a:gd name="connsiteY39" fmla="*/ 546419 h 6858001"/>
              <a:gd name="connsiteX40" fmla="*/ 837358 w 9595474"/>
              <a:gd name="connsiteY40" fmla="*/ 547371 h 6858001"/>
              <a:gd name="connsiteX41" fmla="*/ 842974 w 9595474"/>
              <a:gd name="connsiteY41" fmla="*/ 548641 h 6858001"/>
              <a:gd name="connsiteX42" fmla="*/ 848885 w 9595474"/>
              <a:gd name="connsiteY42" fmla="*/ 549911 h 6858001"/>
              <a:gd name="connsiteX43" fmla="*/ 854501 w 9595474"/>
              <a:gd name="connsiteY43" fmla="*/ 551816 h 6858001"/>
              <a:gd name="connsiteX44" fmla="*/ 860117 w 9595474"/>
              <a:gd name="connsiteY44" fmla="*/ 554039 h 6858001"/>
              <a:gd name="connsiteX45" fmla="*/ 865733 w 9595474"/>
              <a:gd name="connsiteY45" fmla="*/ 556579 h 6858001"/>
              <a:gd name="connsiteX46" fmla="*/ 871053 w 9595474"/>
              <a:gd name="connsiteY46" fmla="*/ 558801 h 6858001"/>
              <a:gd name="connsiteX47" fmla="*/ 876373 w 9595474"/>
              <a:gd name="connsiteY47" fmla="*/ 562294 h 6858001"/>
              <a:gd name="connsiteX48" fmla="*/ 881398 w 9595474"/>
              <a:gd name="connsiteY48" fmla="*/ 565469 h 6858001"/>
              <a:gd name="connsiteX49" fmla="*/ 886718 w 9595474"/>
              <a:gd name="connsiteY49" fmla="*/ 568961 h 6858001"/>
              <a:gd name="connsiteX50" fmla="*/ 891447 w 9595474"/>
              <a:gd name="connsiteY50" fmla="*/ 572454 h 6858001"/>
              <a:gd name="connsiteX51" fmla="*/ 896177 w 9595474"/>
              <a:gd name="connsiteY51" fmla="*/ 576899 h 6858001"/>
              <a:gd name="connsiteX52" fmla="*/ 900906 w 9595474"/>
              <a:gd name="connsiteY52" fmla="*/ 581344 h 6858001"/>
              <a:gd name="connsiteX53" fmla="*/ 1431459 w 9595474"/>
              <a:gd name="connsiteY53" fmla="*/ 1111569 h 6858001"/>
              <a:gd name="connsiteX54" fmla="*/ 2394731 w 9595474"/>
              <a:gd name="connsiteY54" fmla="*/ 2074864 h 6858001"/>
              <a:gd name="connsiteX55" fmla="*/ 2399164 w 9595474"/>
              <a:gd name="connsiteY55" fmla="*/ 2079309 h 6858001"/>
              <a:gd name="connsiteX56" fmla="*/ 2404189 w 9595474"/>
              <a:gd name="connsiteY56" fmla="*/ 2083436 h 6858001"/>
              <a:gd name="connsiteX57" fmla="*/ 2408918 w 9595474"/>
              <a:gd name="connsiteY57" fmla="*/ 2087246 h 6858001"/>
              <a:gd name="connsiteX58" fmla="*/ 2413943 w 9595474"/>
              <a:gd name="connsiteY58" fmla="*/ 2090739 h 6858001"/>
              <a:gd name="connsiteX59" fmla="*/ 2419263 w 9595474"/>
              <a:gd name="connsiteY59" fmla="*/ 2093914 h 6858001"/>
              <a:gd name="connsiteX60" fmla="*/ 2424583 w 9595474"/>
              <a:gd name="connsiteY60" fmla="*/ 2096771 h 6858001"/>
              <a:gd name="connsiteX61" fmla="*/ 2430199 w 9595474"/>
              <a:gd name="connsiteY61" fmla="*/ 2099629 h 6858001"/>
              <a:gd name="connsiteX62" fmla="*/ 2435520 w 9595474"/>
              <a:gd name="connsiteY62" fmla="*/ 2101851 h 6858001"/>
              <a:gd name="connsiteX63" fmla="*/ 2441136 w 9595474"/>
              <a:gd name="connsiteY63" fmla="*/ 2104074 h 6858001"/>
              <a:gd name="connsiteX64" fmla="*/ 2447047 w 9595474"/>
              <a:gd name="connsiteY64" fmla="*/ 2105661 h 6858001"/>
              <a:gd name="connsiteX65" fmla="*/ 2452663 w 9595474"/>
              <a:gd name="connsiteY65" fmla="*/ 2107566 h 6858001"/>
              <a:gd name="connsiteX66" fmla="*/ 2458574 w 9595474"/>
              <a:gd name="connsiteY66" fmla="*/ 2108519 h 6858001"/>
              <a:gd name="connsiteX67" fmla="*/ 2464190 w 9595474"/>
              <a:gd name="connsiteY67" fmla="*/ 2109789 h 6858001"/>
              <a:gd name="connsiteX68" fmla="*/ 2469806 w 9595474"/>
              <a:gd name="connsiteY68" fmla="*/ 2110424 h 6858001"/>
              <a:gd name="connsiteX69" fmla="*/ 2476013 w 9595474"/>
              <a:gd name="connsiteY69" fmla="*/ 2110741 h 6858001"/>
              <a:gd name="connsiteX70" fmla="*/ 2481925 w 9595474"/>
              <a:gd name="connsiteY70" fmla="*/ 2111059 h 6858001"/>
              <a:gd name="connsiteX71" fmla="*/ 2487836 w 9595474"/>
              <a:gd name="connsiteY71" fmla="*/ 2110741 h 6858001"/>
              <a:gd name="connsiteX72" fmla="*/ 2493747 w 9595474"/>
              <a:gd name="connsiteY72" fmla="*/ 2110424 h 6858001"/>
              <a:gd name="connsiteX73" fmla="*/ 2499363 w 9595474"/>
              <a:gd name="connsiteY73" fmla="*/ 2109789 h 6858001"/>
              <a:gd name="connsiteX74" fmla="*/ 2505570 w 9595474"/>
              <a:gd name="connsiteY74" fmla="*/ 2108519 h 6858001"/>
              <a:gd name="connsiteX75" fmla="*/ 2511186 w 9595474"/>
              <a:gd name="connsiteY75" fmla="*/ 2107566 h 6858001"/>
              <a:gd name="connsiteX76" fmla="*/ 2517098 w 9595474"/>
              <a:gd name="connsiteY76" fmla="*/ 2105661 h 6858001"/>
              <a:gd name="connsiteX77" fmla="*/ 2522714 w 9595474"/>
              <a:gd name="connsiteY77" fmla="*/ 2104074 h 6858001"/>
              <a:gd name="connsiteX78" fmla="*/ 2528034 w 9595474"/>
              <a:gd name="connsiteY78" fmla="*/ 2101851 h 6858001"/>
              <a:gd name="connsiteX79" fmla="*/ 2533945 w 9595474"/>
              <a:gd name="connsiteY79" fmla="*/ 2099629 h 6858001"/>
              <a:gd name="connsiteX80" fmla="*/ 2539266 w 9595474"/>
              <a:gd name="connsiteY80" fmla="*/ 2096771 h 6858001"/>
              <a:gd name="connsiteX81" fmla="*/ 2544290 w 9595474"/>
              <a:gd name="connsiteY81" fmla="*/ 2093914 h 6858001"/>
              <a:gd name="connsiteX82" fmla="*/ 2549611 w 9595474"/>
              <a:gd name="connsiteY82" fmla="*/ 2090739 h 6858001"/>
              <a:gd name="connsiteX83" fmla="*/ 2554635 w 9595474"/>
              <a:gd name="connsiteY83" fmla="*/ 2087246 h 6858001"/>
              <a:gd name="connsiteX84" fmla="*/ 2559660 w 9595474"/>
              <a:gd name="connsiteY84" fmla="*/ 2083436 h 6858001"/>
              <a:gd name="connsiteX85" fmla="*/ 2564389 w 9595474"/>
              <a:gd name="connsiteY85" fmla="*/ 2079309 h 6858001"/>
              <a:gd name="connsiteX86" fmla="*/ 2569119 w 9595474"/>
              <a:gd name="connsiteY86" fmla="*/ 2074864 h 6858001"/>
              <a:gd name="connsiteX87" fmla="*/ 2573257 w 9595474"/>
              <a:gd name="connsiteY87" fmla="*/ 2070101 h 6858001"/>
              <a:gd name="connsiteX88" fmla="*/ 2577395 w 9595474"/>
              <a:gd name="connsiteY88" fmla="*/ 2065656 h 6858001"/>
              <a:gd name="connsiteX89" fmla="*/ 2581237 w 9595474"/>
              <a:gd name="connsiteY89" fmla="*/ 2060576 h 6858001"/>
              <a:gd name="connsiteX90" fmla="*/ 2584784 w 9595474"/>
              <a:gd name="connsiteY90" fmla="*/ 2055496 h 6858001"/>
              <a:gd name="connsiteX91" fmla="*/ 2588035 w 9595474"/>
              <a:gd name="connsiteY91" fmla="*/ 2050416 h 6858001"/>
              <a:gd name="connsiteX92" fmla="*/ 2590991 w 9595474"/>
              <a:gd name="connsiteY92" fmla="*/ 2045019 h 6858001"/>
              <a:gd name="connsiteX93" fmla="*/ 2593651 w 9595474"/>
              <a:gd name="connsiteY93" fmla="*/ 2039621 h 6858001"/>
              <a:gd name="connsiteX94" fmla="*/ 2596016 w 9595474"/>
              <a:gd name="connsiteY94" fmla="*/ 2034224 h 6858001"/>
              <a:gd name="connsiteX95" fmla="*/ 2598085 w 9595474"/>
              <a:gd name="connsiteY95" fmla="*/ 2028509 h 6858001"/>
              <a:gd name="connsiteX96" fmla="*/ 2599858 w 9595474"/>
              <a:gd name="connsiteY96" fmla="*/ 2022794 h 6858001"/>
              <a:gd name="connsiteX97" fmla="*/ 2601336 w 9595474"/>
              <a:gd name="connsiteY97" fmla="*/ 2017079 h 6858001"/>
              <a:gd name="connsiteX98" fmla="*/ 2602814 w 9595474"/>
              <a:gd name="connsiteY98" fmla="*/ 2011364 h 6858001"/>
              <a:gd name="connsiteX99" fmla="*/ 2603996 w 9595474"/>
              <a:gd name="connsiteY99" fmla="*/ 2005649 h 6858001"/>
              <a:gd name="connsiteX100" fmla="*/ 2604587 w 9595474"/>
              <a:gd name="connsiteY100" fmla="*/ 1999616 h 6858001"/>
              <a:gd name="connsiteX101" fmla="*/ 2604883 w 9595474"/>
              <a:gd name="connsiteY101" fmla="*/ 1993584 h 6858001"/>
              <a:gd name="connsiteX102" fmla="*/ 2604883 w 9595474"/>
              <a:gd name="connsiteY102" fmla="*/ 1987551 h 6858001"/>
              <a:gd name="connsiteX103" fmla="*/ 2604883 w 9595474"/>
              <a:gd name="connsiteY103" fmla="*/ 1981836 h 6858001"/>
              <a:gd name="connsiteX104" fmla="*/ 2604587 w 9595474"/>
              <a:gd name="connsiteY104" fmla="*/ 1976121 h 6858001"/>
              <a:gd name="connsiteX105" fmla="*/ 2603996 w 9595474"/>
              <a:gd name="connsiteY105" fmla="*/ 1970089 h 6858001"/>
              <a:gd name="connsiteX106" fmla="*/ 2602814 w 9595474"/>
              <a:gd name="connsiteY106" fmla="*/ 1964374 h 6858001"/>
              <a:gd name="connsiteX107" fmla="*/ 2601336 w 9595474"/>
              <a:gd name="connsiteY107" fmla="*/ 1958659 h 6858001"/>
              <a:gd name="connsiteX108" fmla="*/ 2599858 w 9595474"/>
              <a:gd name="connsiteY108" fmla="*/ 1952626 h 6858001"/>
              <a:gd name="connsiteX109" fmla="*/ 2598085 w 9595474"/>
              <a:gd name="connsiteY109" fmla="*/ 1946911 h 6858001"/>
              <a:gd name="connsiteX110" fmla="*/ 2596016 w 9595474"/>
              <a:gd name="connsiteY110" fmla="*/ 1941196 h 6858001"/>
              <a:gd name="connsiteX111" fmla="*/ 2593651 w 9595474"/>
              <a:gd name="connsiteY111" fmla="*/ 1935799 h 6858001"/>
              <a:gd name="connsiteX112" fmla="*/ 2590991 w 9595474"/>
              <a:gd name="connsiteY112" fmla="*/ 1930401 h 6858001"/>
              <a:gd name="connsiteX113" fmla="*/ 2588035 w 9595474"/>
              <a:gd name="connsiteY113" fmla="*/ 1925004 h 6858001"/>
              <a:gd name="connsiteX114" fmla="*/ 2584784 w 9595474"/>
              <a:gd name="connsiteY114" fmla="*/ 1919924 h 6858001"/>
              <a:gd name="connsiteX115" fmla="*/ 2581237 w 9595474"/>
              <a:gd name="connsiteY115" fmla="*/ 1915161 h 6858001"/>
              <a:gd name="connsiteX116" fmla="*/ 2577395 w 9595474"/>
              <a:gd name="connsiteY116" fmla="*/ 1910081 h 6858001"/>
              <a:gd name="connsiteX117" fmla="*/ 2573257 w 9595474"/>
              <a:gd name="connsiteY117" fmla="*/ 1905319 h 6858001"/>
              <a:gd name="connsiteX118" fmla="*/ 2569119 w 9595474"/>
              <a:gd name="connsiteY118" fmla="*/ 1900556 h 6858001"/>
              <a:gd name="connsiteX119" fmla="*/ 1590477 w 9595474"/>
              <a:gd name="connsiteY119" fmla="*/ 922021 h 6858001"/>
              <a:gd name="connsiteX120" fmla="*/ 1272736 w 9595474"/>
              <a:gd name="connsiteY120" fmla="*/ 604204 h 6858001"/>
              <a:gd name="connsiteX121" fmla="*/ 1268303 w 9595474"/>
              <a:gd name="connsiteY121" fmla="*/ 599441 h 6858001"/>
              <a:gd name="connsiteX122" fmla="*/ 1264165 w 9595474"/>
              <a:gd name="connsiteY122" fmla="*/ 594996 h 6858001"/>
              <a:gd name="connsiteX123" fmla="*/ 1260322 w 9595474"/>
              <a:gd name="connsiteY123" fmla="*/ 589916 h 6858001"/>
              <a:gd name="connsiteX124" fmla="*/ 1256776 w 9595474"/>
              <a:gd name="connsiteY124" fmla="*/ 584836 h 6858001"/>
              <a:gd name="connsiteX125" fmla="*/ 1253524 w 9595474"/>
              <a:gd name="connsiteY125" fmla="*/ 579756 h 6858001"/>
              <a:gd name="connsiteX126" fmla="*/ 1250864 w 9595474"/>
              <a:gd name="connsiteY126" fmla="*/ 574359 h 6858001"/>
              <a:gd name="connsiteX127" fmla="*/ 1247908 w 9595474"/>
              <a:gd name="connsiteY127" fmla="*/ 568961 h 6858001"/>
              <a:gd name="connsiteX128" fmla="*/ 1245839 w 9595474"/>
              <a:gd name="connsiteY128" fmla="*/ 563564 h 6858001"/>
              <a:gd name="connsiteX129" fmla="*/ 1243475 w 9595474"/>
              <a:gd name="connsiteY129" fmla="*/ 557849 h 6858001"/>
              <a:gd name="connsiteX130" fmla="*/ 1241701 w 9595474"/>
              <a:gd name="connsiteY130" fmla="*/ 552134 h 6858001"/>
              <a:gd name="connsiteX131" fmla="*/ 1239928 w 9595474"/>
              <a:gd name="connsiteY131" fmla="*/ 546419 h 6858001"/>
              <a:gd name="connsiteX132" fmla="*/ 1238746 w 9595474"/>
              <a:gd name="connsiteY132" fmla="*/ 540704 h 6858001"/>
              <a:gd name="connsiteX133" fmla="*/ 1237859 w 9595474"/>
              <a:gd name="connsiteY133" fmla="*/ 534989 h 6858001"/>
              <a:gd name="connsiteX134" fmla="*/ 1236972 w 9595474"/>
              <a:gd name="connsiteY134" fmla="*/ 528639 h 6858001"/>
              <a:gd name="connsiteX135" fmla="*/ 1236677 w 9595474"/>
              <a:gd name="connsiteY135" fmla="*/ 522924 h 6858001"/>
              <a:gd name="connsiteX136" fmla="*/ 1236381 w 9595474"/>
              <a:gd name="connsiteY136" fmla="*/ 516891 h 6858001"/>
              <a:gd name="connsiteX137" fmla="*/ 1236677 w 9595474"/>
              <a:gd name="connsiteY137" fmla="*/ 511176 h 6858001"/>
              <a:gd name="connsiteX138" fmla="*/ 1236972 w 9595474"/>
              <a:gd name="connsiteY138" fmla="*/ 505461 h 6858001"/>
              <a:gd name="connsiteX139" fmla="*/ 1237859 w 9595474"/>
              <a:gd name="connsiteY139" fmla="*/ 499429 h 6858001"/>
              <a:gd name="connsiteX140" fmla="*/ 1238746 w 9595474"/>
              <a:gd name="connsiteY140" fmla="*/ 493714 h 6858001"/>
              <a:gd name="connsiteX141" fmla="*/ 1239928 w 9595474"/>
              <a:gd name="connsiteY141" fmla="*/ 487681 h 6858001"/>
              <a:gd name="connsiteX142" fmla="*/ 1241701 w 9595474"/>
              <a:gd name="connsiteY142" fmla="*/ 481966 h 6858001"/>
              <a:gd name="connsiteX143" fmla="*/ 1243475 w 9595474"/>
              <a:gd name="connsiteY143" fmla="*/ 476251 h 6858001"/>
              <a:gd name="connsiteX144" fmla="*/ 1245839 w 9595474"/>
              <a:gd name="connsiteY144" fmla="*/ 470536 h 6858001"/>
              <a:gd name="connsiteX145" fmla="*/ 1247908 w 9595474"/>
              <a:gd name="connsiteY145" fmla="*/ 465139 h 6858001"/>
              <a:gd name="connsiteX146" fmla="*/ 1250864 w 9595474"/>
              <a:gd name="connsiteY146" fmla="*/ 459741 h 6858001"/>
              <a:gd name="connsiteX147" fmla="*/ 1253524 w 9595474"/>
              <a:gd name="connsiteY147" fmla="*/ 454344 h 6858001"/>
              <a:gd name="connsiteX148" fmla="*/ 1256776 w 9595474"/>
              <a:gd name="connsiteY148" fmla="*/ 449264 h 6858001"/>
              <a:gd name="connsiteX149" fmla="*/ 1260322 w 9595474"/>
              <a:gd name="connsiteY149" fmla="*/ 444501 h 6858001"/>
              <a:gd name="connsiteX150" fmla="*/ 1264165 w 9595474"/>
              <a:gd name="connsiteY150" fmla="*/ 439421 h 6858001"/>
              <a:gd name="connsiteX151" fmla="*/ 1268303 w 9595474"/>
              <a:gd name="connsiteY151" fmla="*/ 434659 h 6858001"/>
              <a:gd name="connsiteX152" fmla="*/ 1272736 w 9595474"/>
              <a:gd name="connsiteY152" fmla="*/ 429896 h 6858001"/>
              <a:gd name="connsiteX153" fmla="*/ 1277466 w 9595474"/>
              <a:gd name="connsiteY153" fmla="*/ 425769 h 6858001"/>
              <a:gd name="connsiteX154" fmla="*/ 1281899 w 9595474"/>
              <a:gd name="connsiteY154" fmla="*/ 421324 h 6858001"/>
              <a:gd name="connsiteX155" fmla="*/ 1286924 w 9595474"/>
              <a:gd name="connsiteY155" fmla="*/ 417831 h 6858001"/>
              <a:gd name="connsiteX156" fmla="*/ 1291949 w 9595474"/>
              <a:gd name="connsiteY156" fmla="*/ 414339 h 6858001"/>
              <a:gd name="connsiteX157" fmla="*/ 1296973 w 9595474"/>
              <a:gd name="connsiteY157" fmla="*/ 410846 h 6858001"/>
              <a:gd name="connsiteX158" fmla="*/ 1302589 w 9595474"/>
              <a:gd name="connsiteY158" fmla="*/ 407989 h 6858001"/>
              <a:gd name="connsiteX159" fmla="*/ 1307910 w 9595474"/>
              <a:gd name="connsiteY159" fmla="*/ 405131 h 6858001"/>
              <a:gd name="connsiteX160" fmla="*/ 1313230 w 9595474"/>
              <a:gd name="connsiteY160" fmla="*/ 402909 h 6858001"/>
              <a:gd name="connsiteX161" fmla="*/ 1318846 w 9595474"/>
              <a:gd name="connsiteY161" fmla="*/ 401004 h 6858001"/>
              <a:gd name="connsiteX162" fmla="*/ 1324757 w 9595474"/>
              <a:gd name="connsiteY162" fmla="*/ 399099 h 6858001"/>
              <a:gd name="connsiteX163" fmla="*/ 1330373 w 9595474"/>
              <a:gd name="connsiteY163" fmla="*/ 397194 h 6858001"/>
              <a:gd name="connsiteX164" fmla="*/ 1336285 w 9595474"/>
              <a:gd name="connsiteY164" fmla="*/ 396241 h 6858001"/>
              <a:gd name="connsiteX165" fmla="*/ 1341901 w 9595474"/>
              <a:gd name="connsiteY165" fmla="*/ 395289 h 6858001"/>
              <a:gd name="connsiteX166" fmla="*/ 1348108 w 9595474"/>
              <a:gd name="connsiteY166" fmla="*/ 394336 h 6858001"/>
              <a:gd name="connsiteX167" fmla="*/ 1353723 w 9595474"/>
              <a:gd name="connsiteY167" fmla="*/ 394019 h 6858001"/>
              <a:gd name="connsiteX168" fmla="*/ 1359930 w 9595474"/>
              <a:gd name="connsiteY168" fmla="*/ 393701 h 6858001"/>
              <a:gd name="connsiteX169" fmla="*/ 1365546 w 9595474"/>
              <a:gd name="connsiteY169" fmla="*/ 394019 h 6858001"/>
              <a:gd name="connsiteX170" fmla="*/ 1371458 w 9595474"/>
              <a:gd name="connsiteY170" fmla="*/ 394336 h 6858001"/>
              <a:gd name="connsiteX171" fmla="*/ 1377665 w 9595474"/>
              <a:gd name="connsiteY171" fmla="*/ 395289 h 6858001"/>
              <a:gd name="connsiteX172" fmla="*/ 1383281 w 9595474"/>
              <a:gd name="connsiteY172" fmla="*/ 396241 h 6858001"/>
              <a:gd name="connsiteX173" fmla="*/ 1388897 w 9595474"/>
              <a:gd name="connsiteY173" fmla="*/ 397194 h 6858001"/>
              <a:gd name="connsiteX174" fmla="*/ 1394808 w 9595474"/>
              <a:gd name="connsiteY174" fmla="*/ 399099 h 6858001"/>
              <a:gd name="connsiteX175" fmla="*/ 1400424 w 9595474"/>
              <a:gd name="connsiteY175" fmla="*/ 401004 h 6858001"/>
              <a:gd name="connsiteX176" fmla="*/ 1406335 w 9595474"/>
              <a:gd name="connsiteY176" fmla="*/ 402909 h 6858001"/>
              <a:gd name="connsiteX177" fmla="*/ 1411656 w 9595474"/>
              <a:gd name="connsiteY177" fmla="*/ 405131 h 6858001"/>
              <a:gd name="connsiteX178" fmla="*/ 1416976 w 9595474"/>
              <a:gd name="connsiteY178" fmla="*/ 407989 h 6858001"/>
              <a:gd name="connsiteX179" fmla="*/ 1422296 w 9595474"/>
              <a:gd name="connsiteY179" fmla="*/ 410846 h 6858001"/>
              <a:gd name="connsiteX180" fmla="*/ 1427617 w 9595474"/>
              <a:gd name="connsiteY180" fmla="*/ 414339 h 6858001"/>
              <a:gd name="connsiteX181" fmla="*/ 1432641 w 9595474"/>
              <a:gd name="connsiteY181" fmla="*/ 417831 h 6858001"/>
              <a:gd name="connsiteX182" fmla="*/ 1437666 w 9595474"/>
              <a:gd name="connsiteY182" fmla="*/ 421324 h 6858001"/>
              <a:gd name="connsiteX183" fmla="*/ 1442100 w 9595474"/>
              <a:gd name="connsiteY183" fmla="*/ 425769 h 6858001"/>
              <a:gd name="connsiteX184" fmla="*/ 1446829 w 9595474"/>
              <a:gd name="connsiteY184" fmla="*/ 429896 h 6858001"/>
              <a:gd name="connsiteX185" fmla="*/ 1907036 w 9595474"/>
              <a:gd name="connsiteY185" fmla="*/ 890271 h 6858001"/>
              <a:gd name="connsiteX186" fmla="*/ 2165662 w 9595474"/>
              <a:gd name="connsiteY186" fmla="*/ 1148716 h 6858001"/>
              <a:gd name="connsiteX187" fmla="*/ 2170391 w 9595474"/>
              <a:gd name="connsiteY187" fmla="*/ 1153161 h 6858001"/>
              <a:gd name="connsiteX188" fmla="*/ 2175416 w 9595474"/>
              <a:gd name="connsiteY188" fmla="*/ 1157289 h 6858001"/>
              <a:gd name="connsiteX189" fmla="*/ 2180145 w 9595474"/>
              <a:gd name="connsiteY189" fmla="*/ 1161099 h 6858001"/>
              <a:gd name="connsiteX190" fmla="*/ 2185170 w 9595474"/>
              <a:gd name="connsiteY190" fmla="*/ 1164591 h 6858001"/>
              <a:gd name="connsiteX191" fmla="*/ 2190490 w 9595474"/>
              <a:gd name="connsiteY191" fmla="*/ 1167766 h 6858001"/>
              <a:gd name="connsiteX192" fmla="*/ 2195810 w 9595474"/>
              <a:gd name="connsiteY192" fmla="*/ 1170624 h 6858001"/>
              <a:gd name="connsiteX193" fmla="*/ 2201130 w 9595474"/>
              <a:gd name="connsiteY193" fmla="*/ 1173481 h 6858001"/>
              <a:gd name="connsiteX194" fmla="*/ 2206746 w 9595474"/>
              <a:gd name="connsiteY194" fmla="*/ 1176021 h 6858001"/>
              <a:gd name="connsiteX195" fmla="*/ 2212362 w 9595474"/>
              <a:gd name="connsiteY195" fmla="*/ 1177926 h 6858001"/>
              <a:gd name="connsiteX196" fmla="*/ 2217683 w 9595474"/>
              <a:gd name="connsiteY196" fmla="*/ 1180149 h 6858001"/>
              <a:gd name="connsiteX197" fmla="*/ 2223594 w 9595474"/>
              <a:gd name="connsiteY197" fmla="*/ 1181419 h 6858001"/>
              <a:gd name="connsiteX198" fmla="*/ 2229505 w 9595474"/>
              <a:gd name="connsiteY198" fmla="*/ 1182689 h 6858001"/>
              <a:gd name="connsiteX199" fmla="*/ 2235417 w 9595474"/>
              <a:gd name="connsiteY199" fmla="*/ 1183641 h 6858001"/>
              <a:gd name="connsiteX200" fmla="*/ 2241033 w 9595474"/>
              <a:gd name="connsiteY200" fmla="*/ 1184276 h 6858001"/>
              <a:gd name="connsiteX201" fmla="*/ 2247240 w 9595474"/>
              <a:gd name="connsiteY201" fmla="*/ 1184594 h 6858001"/>
              <a:gd name="connsiteX202" fmla="*/ 2252856 w 9595474"/>
              <a:gd name="connsiteY202" fmla="*/ 1185229 h 6858001"/>
              <a:gd name="connsiteX203" fmla="*/ 2259063 w 9595474"/>
              <a:gd name="connsiteY203" fmla="*/ 1184594 h 6858001"/>
              <a:gd name="connsiteX204" fmla="*/ 2264679 w 9595474"/>
              <a:gd name="connsiteY204" fmla="*/ 1184276 h 6858001"/>
              <a:gd name="connsiteX205" fmla="*/ 2270590 w 9595474"/>
              <a:gd name="connsiteY205" fmla="*/ 1183641 h 6858001"/>
              <a:gd name="connsiteX206" fmla="*/ 2276797 w 9595474"/>
              <a:gd name="connsiteY206" fmla="*/ 1182689 h 6858001"/>
              <a:gd name="connsiteX207" fmla="*/ 2282413 w 9595474"/>
              <a:gd name="connsiteY207" fmla="*/ 1181419 h 6858001"/>
              <a:gd name="connsiteX208" fmla="*/ 2288029 w 9595474"/>
              <a:gd name="connsiteY208" fmla="*/ 1180149 h 6858001"/>
              <a:gd name="connsiteX209" fmla="*/ 2293940 w 9595474"/>
              <a:gd name="connsiteY209" fmla="*/ 1177926 h 6858001"/>
              <a:gd name="connsiteX210" fmla="*/ 2299261 w 9595474"/>
              <a:gd name="connsiteY210" fmla="*/ 1176021 h 6858001"/>
              <a:gd name="connsiteX211" fmla="*/ 2304581 w 9595474"/>
              <a:gd name="connsiteY211" fmla="*/ 1173481 h 6858001"/>
              <a:gd name="connsiteX212" fmla="*/ 2310492 w 9595474"/>
              <a:gd name="connsiteY212" fmla="*/ 1170624 h 6858001"/>
              <a:gd name="connsiteX213" fmla="*/ 2315517 w 9595474"/>
              <a:gd name="connsiteY213" fmla="*/ 1167766 h 6858001"/>
              <a:gd name="connsiteX214" fmla="*/ 2320837 w 9595474"/>
              <a:gd name="connsiteY214" fmla="*/ 1164591 h 6858001"/>
              <a:gd name="connsiteX215" fmla="*/ 2325862 w 9595474"/>
              <a:gd name="connsiteY215" fmla="*/ 1161099 h 6858001"/>
              <a:gd name="connsiteX216" fmla="*/ 2330887 w 9595474"/>
              <a:gd name="connsiteY216" fmla="*/ 1157289 h 6858001"/>
              <a:gd name="connsiteX217" fmla="*/ 2335616 w 9595474"/>
              <a:gd name="connsiteY217" fmla="*/ 1153161 h 6858001"/>
              <a:gd name="connsiteX218" fmla="*/ 2340345 w 9595474"/>
              <a:gd name="connsiteY218" fmla="*/ 1148716 h 6858001"/>
              <a:gd name="connsiteX219" fmla="*/ 2344483 w 9595474"/>
              <a:gd name="connsiteY219" fmla="*/ 1144271 h 6858001"/>
              <a:gd name="connsiteX220" fmla="*/ 2348621 w 9595474"/>
              <a:gd name="connsiteY220" fmla="*/ 1139509 h 6858001"/>
              <a:gd name="connsiteX221" fmla="*/ 2352464 w 9595474"/>
              <a:gd name="connsiteY221" fmla="*/ 1134429 h 6858001"/>
              <a:gd name="connsiteX222" fmla="*/ 2356011 w 9595474"/>
              <a:gd name="connsiteY222" fmla="*/ 1129349 h 6858001"/>
              <a:gd name="connsiteX223" fmla="*/ 2359262 w 9595474"/>
              <a:gd name="connsiteY223" fmla="*/ 1124269 h 6858001"/>
              <a:gd name="connsiteX224" fmla="*/ 2362218 w 9595474"/>
              <a:gd name="connsiteY224" fmla="*/ 1118871 h 6858001"/>
              <a:gd name="connsiteX225" fmla="*/ 2364582 w 9595474"/>
              <a:gd name="connsiteY225" fmla="*/ 1113474 h 6858001"/>
              <a:gd name="connsiteX226" fmla="*/ 2367242 w 9595474"/>
              <a:gd name="connsiteY226" fmla="*/ 1108076 h 6858001"/>
              <a:gd name="connsiteX227" fmla="*/ 2369311 w 9595474"/>
              <a:gd name="connsiteY227" fmla="*/ 1102361 h 6858001"/>
              <a:gd name="connsiteX228" fmla="*/ 2371085 w 9595474"/>
              <a:gd name="connsiteY228" fmla="*/ 1096646 h 6858001"/>
              <a:gd name="connsiteX229" fmla="*/ 2372563 w 9595474"/>
              <a:gd name="connsiteY229" fmla="*/ 1090931 h 6858001"/>
              <a:gd name="connsiteX230" fmla="*/ 2374041 w 9595474"/>
              <a:gd name="connsiteY230" fmla="*/ 1085216 h 6858001"/>
              <a:gd name="connsiteX231" fmla="*/ 2375223 w 9595474"/>
              <a:gd name="connsiteY231" fmla="*/ 1079501 h 6858001"/>
              <a:gd name="connsiteX232" fmla="*/ 2375814 w 9595474"/>
              <a:gd name="connsiteY232" fmla="*/ 1073786 h 6858001"/>
              <a:gd name="connsiteX233" fmla="*/ 2376110 w 9595474"/>
              <a:gd name="connsiteY233" fmla="*/ 1067754 h 6858001"/>
              <a:gd name="connsiteX234" fmla="*/ 2376110 w 9595474"/>
              <a:gd name="connsiteY234" fmla="*/ 1061721 h 6858001"/>
              <a:gd name="connsiteX235" fmla="*/ 2376110 w 9595474"/>
              <a:gd name="connsiteY235" fmla="*/ 1055689 h 6858001"/>
              <a:gd name="connsiteX236" fmla="*/ 2375814 w 9595474"/>
              <a:gd name="connsiteY236" fmla="*/ 1049974 h 6858001"/>
              <a:gd name="connsiteX237" fmla="*/ 2375223 w 9595474"/>
              <a:gd name="connsiteY237" fmla="*/ 1043941 h 6858001"/>
              <a:gd name="connsiteX238" fmla="*/ 2374041 w 9595474"/>
              <a:gd name="connsiteY238" fmla="*/ 1038226 h 6858001"/>
              <a:gd name="connsiteX239" fmla="*/ 2372563 w 9595474"/>
              <a:gd name="connsiteY239" fmla="*/ 1032511 h 6858001"/>
              <a:gd name="connsiteX240" fmla="*/ 2371085 w 9595474"/>
              <a:gd name="connsiteY240" fmla="*/ 1026796 h 6858001"/>
              <a:gd name="connsiteX241" fmla="*/ 2369311 w 9595474"/>
              <a:gd name="connsiteY241" fmla="*/ 1021081 h 6858001"/>
              <a:gd name="connsiteX242" fmla="*/ 2367242 w 9595474"/>
              <a:gd name="connsiteY242" fmla="*/ 1015684 h 6858001"/>
              <a:gd name="connsiteX243" fmla="*/ 2364582 w 9595474"/>
              <a:gd name="connsiteY243" fmla="*/ 1009651 h 6858001"/>
              <a:gd name="connsiteX244" fmla="*/ 2362218 w 9595474"/>
              <a:gd name="connsiteY244" fmla="*/ 1004254 h 6858001"/>
              <a:gd name="connsiteX245" fmla="*/ 2359262 w 9595474"/>
              <a:gd name="connsiteY245" fmla="*/ 998856 h 6858001"/>
              <a:gd name="connsiteX246" fmla="*/ 2356011 w 9595474"/>
              <a:gd name="connsiteY246" fmla="*/ 994094 h 6858001"/>
              <a:gd name="connsiteX247" fmla="*/ 2352464 w 9595474"/>
              <a:gd name="connsiteY247" fmla="*/ 989014 h 6858001"/>
              <a:gd name="connsiteX248" fmla="*/ 2348621 w 9595474"/>
              <a:gd name="connsiteY248" fmla="*/ 983934 h 6858001"/>
              <a:gd name="connsiteX249" fmla="*/ 2344483 w 9595474"/>
              <a:gd name="connsiteY249" fmla="*/ 979171 h 6858001"/>
              <a:gd name="connsiteX250" fmla="*/ 2340345 w 9595474"/>
              <a:gd name="connsiteY250" fmla="*/ 974726 h 6858001"/>
              <a:gd name="connsiteX251" fmla="*/ 2240737 w 9595474"/>
              <a:gd name="connsiteY251" fmla="*/ 875031 h 6858001"/>
              <a:gd name="connsiteX252" fmla="*/ 1991865 w 9595474"/>
              <a:gd name="connsiteY252" fmla="*/ 626429 h 6858001"/>
              <a:gd name="connsiteX253" fmla="*/ 1987431 w 9595474"/>
              <a:gd name="connsiteY253" fmla="*/ 621666 h 6858001"/>
              <a:gd name="connsiteX254" fmla="*/ 1983589 w 9595474"/>
              <a:gd name="connsiteY254" fmla="*/ 616904 h 6858001"/>
              <a:gd name="connsiteX255" fmla="*/ 1979451 w 9595474"/>
              <a:gd name="connsiteY255" fmla="*/ 612141 h 6858001"/>
              <a:gd name="connsiteX256" fmla="*/ 1975904 w 9595474"/>
              <a:gd name="connsiteY256" fmla="*/ 607061 h 6858001"/>
              <a:gd name="connsiteX257" fmla="*/ 1972653 w 9595474"/>
              <a:gd name="connsiteY257" fmla="*/ 601664 h 6858001"/>
              <a:gd name="connsiteX258" fmla="*/ 1969993 w 9595474"/>
              <a:gd name="connsiteY258" fmla="*/ 596266 h 6858001"/>
              <a:gd name="connsiteX259" fmla="*/ 1967037 w 9595474"/>
              <a:gd name="connsiteY259" fmla="*/ 590869 h 6858001"/>
              <a:gd name="connsiteX260" fmla="*/ 1964968 w 9595474"/>
              <a:gd name="connsiteY260" fmla="*/ 585471 h 6858001"/>
              <a:gd name="connsiteX261" fmla="*/ 1962603 w 9595474"/>
              <a:gd name="connsiteY261" fmla="*/ 579756 h 6858001"/>
              <a:gd name="connsiteX262" fmla="*/ 1960830 w 9595474"/>
              <a:gd name="connsiteY262" fmla="*/ 574359 h 6858001"/>
              <a:gd name="connsiteX263" fmla="*/ 1959056 w 9595474"/>
              <a:gd name="connsiteY263" fmla="*/ 568644 h 6858001"/>
              <a:gd name="connsiteX264" fmla="*/ 1958170 w 9595474"/>
              <a:gd name="connsiteY264" fmla="*/ 562611 h 6858001"/>
              <a:gd name="connsiteX265" fmla="*/ 1956987 w 9595474"/>
              <a:gd name="connsiteY265" fmla="*/ 556896 h 6858001"/>
              <a:gd name="connsiteX266" fmla="*/ 1956396 w 9595474"/>
              <a:gd name="connsiteY266" fmla="*/ 551181 h 6858001"/>
              <a:gd name="connsiteX267" fmla="*/ 1955805 w 9595474"/>
              <a:gd name="connsiteY267" fmla="*/ 544831 h 6858001"/>
              <a:gd name="connsiteX268" fmla="*/ 1955805 w 9595474"/>
              <a:gd name="connsiteY268" fmla="*/ 539116 h 6858001"/>
              <a:gd name="connsiteX269" fmla="*/ 1955805 w 9595474"/>
              <a:gd name="connsiteY269" fmla="*/ 533084 h 6858001"/>
              <a:gd name="connsiteX270" fmla="*/ 1956396 w 9595474"/>
              <a:gd name="connsiteY270" fmla="*/ 527369 h 6858001"/>
              <a:gd name="connsiteX271" fmla="*/ 1956987 w 9595474"/>
              <a:gd name="connsiteY271" fmla="*/ 521654 h 6858001"/>
              <a:gd name="connsiteX272" fmla="*/ 1958170 w 9595474"/>
              <a:gd name="connsiteY272" fmla="*/ 515621 h 6858001"/>
              <a:gd name="connsiteX273" fmla="*/ 1959056 w 9595474"/>
              <a:gd name="connsiteY273" fmla="*/ 509589 h 6858001"/>
              <a:gd name="connsiteX274" fmla="*/ 1960830 w 9595474"/>
              <a:gd name="connsiteY274" fmla="*/ 503874 h 6858001"/>
              <a:gd name="connsiteX275" fmla="*/ 1962603 w 9595474"/>
              <a:gd name="connsiteY275" fmla="*/ 498159 h 6858001"/>
              <a:gd name="connsiteX276" fmla="*/ 1964968 w 9595474"/>
              <a:gd name="connsiteY276" fmla="*/ 492761 h 6858001"/>
              <a:gd name="connsiteX277" fmla="*/ 1967037 w 9595474"/>
              <a:gd name="connsiteY277" fmla="*/ 487364 h 6858001"/>
              <a:gd name="connsiteX278" fmla="*/ 1969993 w 9595474"/>
              <a:gd name="connsiteY278" fmla="*/ 481649 h 6858001"/>
              <a:gd name="connsiteX279" fmla="*/ 1972653 w 9595474"/>
              <a:gd name="connsiteY279" fmla="*/ 476569 h 6858001"/>
              <a:gd name="connsiteX280" fmla="*/ 1975904 w 9595474"/>
              <a:gd name="connsiteY280" fmla="*/ 471171 h 6858001"/>
              <a:gd name="connsiteX281" fmla="*/ 1979451 w 9595474"/>
              <a:gd name="connsiteY281" fmla="*/ 466409 h 6858001"/>
              <a:gd name="connsiteX282" fmla="*/ 1983589 w 9595474"/>
              <a:gd name="connsiteY282" fmla="*/ 461329 h 6858001"/>
              <a:gd name="connsiteX283" fmla="*/ 1987431 w 9595474"/>
              <a:gd name="connsiteY283" fmla="*/ 456566 h 6858001"/>
              <a:gd name="connsiteX284" fmla="*/ 1991865 w 9595474"/>
              <a:gd name="connsiteY284" fmla="*/ 451804 h 6858001"/>
              <a:gd name="connsiteX285" fmla="*/ 1996594 w 9595474"/>
              <a:gd name="connsiteY285" fmla="*/ 447676 h 6858001"/>
              <a:gd name="connsiteX286" fmla="*/ 2001028 w 9595474"/>
              <a:gd name="connsiteY286" fmla="*/ 443549 h 6858001"/>
              <a:gd name="connsiteX287" fmla="*/ 2006052 w 9595474"/>
              <a:gd name="connsiteY287" fmla="*/ 439739 h 6858001"/>
              <a:gd name="connsiteX288" fmla="*/ 2011077 w 9595474"/>
              <a:gd name="connsiteY288" fmla="*/ 436246 h 6858001"/>
              <a:gd name="connsiteX289" fmla="*/ 2016102 w 9595474"/>
              <a:gd name="connsiteY289" fmla="*/ 432754 h 6858001"/>
              <a:gd name="connsiteX290" fmla="*/ 2021718 w 9595474"/>
              <a:gd name="connsiteY290" fmla="*/ 429896 h 6858001"/>
              <a:gd name="connsiteX291" fmla="*/ 2027038 w 9595474"/>
              <a:gd name="connsiteY291" fmla="*/ 427356 h 6858001"/>
              <a:gd name="connsiteX292" fmla="*/ 2032654 w 9595474"/>
              <a:gd name="connsiteY292" fmla="*/ 424816 h 6858001"/>
              <a:gd name="connsiteX293" fmla="*/ 2038270 w 9595474"/>
              <a:gd name="connsiteY293" fmla="*/ 422911 h 6858001"/>
              <a:gd name="connsiteX294" fmla="*/ 2043886 w 9595474"/>
              <a:gd name="connsiteY294" fmla="*/ 421006 h 6858001"/>
              <a:gd name="connsiteX295" fmla="*/ 2049502 w 9595474"/>
              <a:gd name="connsiteY295" fmla="*/ 419736 h 6858001"/>
              <a:gd name="connsiteX296" fmla="*/ 2055413 w 9595474"/>
              <a:gd name="connsiteY296" fmla="*/ 418149 h 6858001"/>
              <a:gd name="connsiteX297" fmla="*/ 2061029 w 9595474"/>
              <a:gd name="connsiteY297" fmla="*/ 417196 h 6858001"/>
              <a:gd name="connsiteX298" fmla="*/ 2067236 w 9595474"/>
              <a:gd name="connsiteY298" fmla="*/ 416244 h 6858001"/>
              <a:gd name="connsiteX299" fmla="*/ 2072852 w 9595474"/>
              <a:gd name="connsiteY299" fmla="*/ 415926 h 6858001"/>
              <a:gd name="connsiteX300" fmla="*/ 2079059 w 9595474"/>
              <a:gd name="connsiteY300" fmla="*/ 415926 h 6858001"/>
              <a:gd name="connsiteX301" fmla="*/ 2084970 w 9595474"/>
              <a:gd name="connsiteY301" fmla="*/ 415926 h 6858001"/>
              <a:gd name="connsiteX302" fmla="*/ 2090882 w 9595474"/>
              <a:gd name="connsiteY302" fmla="*/ 416244 h 6858001"/>
              <a:gd name="connsiteX303" fmla="*/ 2096793 w 9595474"/>
              <a:gd name="connsiteY303" fmla="*/ 417196 h 6858001"/>
              <a:gd name="connsiteX304" fmla="*/ 2102409 w 9595474"/>
              <a:gd name="connsiteY304" fmla="*/ 418149 h 6858001"/>
              <a:gd name="connsiteX305" fmla="*/ 2108321 w 9595474"/>
              <a:gd name="connsiteY305" fmla="*/ 419736 h 6858001"/>
              <a:gd name="connsiteX306" fmla="*/ 2113936 w 9595474"/>
              <a:gd name="connsiteY306" fmla="*/ 421006 h 6858001"/>
              <a:gd name="connsiteX307" fmla="*/ 2119552 w 9595474"/>
              <a:gd name="connsiteY307" fmla="*/ 422911 h 6858001"/>
              <a:gd name="connsiteX308" fmla="*/ 2125464 w 9595474"/>
              <a:gd name="connsiteY308" fmla="*/ 424816 h 6858001"/>
              <a:gd name="connsiteX309" fmla="*/ 2130784 w 9595474"/>
              <a:gd name="connsiteY309" fmla="*/ 427356 h 6858001"/>
              <a:gd name="connsiteX310" fmla="*/ 2136104 w 9595474"/>
              <a:gd name="connsiteY310" fmla="*/ 429896 h 6858001"/>
              <a:gd name="connsiteX311" fmla="*/ 2141720 w 9595474"/>
              <a:gd name="connsiteY311" fmla="*/ 432754 h 6858001"/>
              <a:gd name="connsiteX312" fmla="*/ 2146745 w 9595474"/>
              <a:gd name="connsiteY312" fmla="*/ 436246 h 6858001"/>
              <a:gd name="connsiteX313" fmla="*/ 2152065 w 9595474"/>
              <a:gd name="connsiteY313" fmla="*/ 439739 h 6858001"/>
              <a:gd name="connsiteX314" fmla="*/ 2156795 w 9595474"/>
              <a:gd name="connsiteY314" fmla="*/ 443549 h 6858001"/>
              <a:gd name="connsiteX315" fmla="*/ 2161819 w 9595474"/>
              <a:gd name="connsiteY315" fmla="*/ 447676 h 6858001"/>
              <a:gd name="connsiteX316" fmla="*/ 2165957 w 9595474"/>
              <a:gd name="connsiteY316" fmla="*/ 451804 h 6858001"/>
              <a:gd name="connsiteX317" fmla="*/ 2966073 w 9595474"/>
              <a:gd name="connsiteY317" fmla="*/ 1251904 h 6858001"/>
              <a:gd name="connsiteX318" fmla="*/ 5612631 w 9595474"/>
              <a:gd name="connsiteY318" fmla="*/ 3898584 h 6858001"/>
              <a:gd name="connsiteX319" fmla="*/ 5617360 w 9595474"/>
              <a:gd name="connsiteY319" fmla="*/ 3903346 h 6858001"/>
              <a:gd name="connsiteX320" fmla="*/ 5621498 w 9595474"/>
              <a:gd name="connsiteY320" fmla="*/ 3908426 h 6858001"/>
              <a:gd name="connsiteX321" fmla="*/ 5625341 w 9595474"/>
              <a:gd name="connsiteY321" fmla="*/ 3913506 h 6858001"/>
              <a:gd name="connsiteX322" fmla="*/ 5628888 w 9595474"/>
              <a:gd name="connsiteY322" fmla="*/ 3918586 h 6858001"/>
              <a:gd name="connsiteX323" fmla="*/ 5632139 w 9595474"/>
              <a:gd name="connsiteY323" fmla="*/ 3923349 h 6858001"/>
              <a:gd name="connsiteX324" fmla="*/ 5635094 w 9595474"/>
              <a:gd name="connsiteY324" fmla="*/ 3928746 h 6858001"/>
              <a:gd name="connsiteX325" fmla="*/ 5638050 w 9595474"/>
              <a:gd name="connsiteY325" fmla="*/ 3934461 h 6858001"/>
              <a:gd name="connsiteX326" fmla="*/ 5640415 w 9595474"/>
              <a:gd name="connsiteY326" fmla="*/ 3939859 h 6858001"/>
              <a:gd name="connsiteX327" fmla="*/ 5642484 w 9595474"/>
              <a:gd name="connsiteY327" fmla="*/ 3945891 h 6858001"/>
              <a:gd name="connsiteX328" fmla="*/ 5644257 w 9595474"/>
              <a:gd name="connsiteY328" fmla="*/ 3951606 h 6858001"/>
              <a:gd name="connsiteX329" fmla="*/ 5645735 w 9595474"/>
              <a:gd name="connsiteY329" fmla="*/ 3957321 h 6858001"/>
              <a:gd name="connsiteX330" fmla="*/ 5647213 w 9595474"/>
              <a:gd name="connsiteY330" fmla="*/ 3963354 h 6858001"/>
              <a:gd name="connsiteX331" fmla="*/ 5648100 w 9595474"/>
              <a:gd name="connsiteY331" fmla="*/ 3969069 h 6858001"/>
              <a:gd name="connsiteX332" fmla="*/ 5648691 w 9595474"/>
              <a:gd name="connsiteY332" fmla="*/ 3975101 h 6858001"/>
              <a:gd name="connsiteX333" fmla="*/ 5649282 w 9595474"/>
              <a:gd name="connsiteY333" fmla="*/ 3980816 h 6858001"/>
              <a:gd name="connsiteX334" fmla="*/ 5649282 w 9595474"/>
              <a:gd name="connsiteY334" fmla="*/ 3987166 h 6858001"/>
              <a:gd name="connsiteX335" fmla="*/ 5649282 w 9595474"/>
              <a:gd name="connsiteY335" fmla="*/ 3992881 h 6858001"/>
              <a:gd name="connsiteX336" fmla="*/ 5648691 w 9595474"/>
              <a:gd name="connsiteY336" fmla="*/ 3998914 h 6858001"/>
              <a:gd name="connsiteX337" fmla="*/ 5648100 w 9595474"/>
              <a:gd name="connsiteY337" fmla="*/ 4004946 h 6858001"/>
              <a:gd name="connsiteX338" fmla="*/ 5647213 w 9595474"/>
              <a:gd name="connsiteY338" fmla="*/ 4010661 h 6858001"/>
              <a:gd name="connsiteX339" fmla="*/ 5645735 w 9595474"/>
              <a:gd name="connsiteY339" fmla="*/ 4016376 h 6858001"/>
              <a:gd name="connsiteX340" fmla="*/ 5644257 w 9595474"/>
              <a:gd name="connsiteY340" fmla="*/ 4022726 h 6858001"/>
              <a:gd name="connsiteX341" fmla="*/ 5642484 w 9595474"/>
              <a:gd name="connsiteY341" fmla="*/ 4028441 h 6858001"/>
              <a:gd name="connsiteX342" fmla="*/ 5640415 w 9595474"/>
              <a:gd name="connsiteY342" fmla="*/ 4033839 h 6858001"/>
              <a:gd name="connsiteX343" fmla="*/ 5638050 w 9595474"/>
              <a:gd name="connsiteY343" fmla="*/ 4039554 h 6858001"/>
              <a:gd name="connsiteX344" fmla="*/ 5635094 w 9595474"/>
              <a:gd name="connsiteY344" fmla="*/ 4044951 h 6858001"/>
              <a:gd name="connsiteX345" fmla="*/ 5632139 w 9595474"/>
              <a:gd name="connsiteY345" fmla="*/ 4050349 h 6858001"/>
              <a:gd name="connsiteX346" fmla="*/ 5628888 w 9595474"/>
              <a:gd name="connsiteY346" fmla="*/ 4055746 h 6858001"/>
              <a:gd name="connsiteX347" fmla="*/ 5625341 w 9595474"/>
              <a:gd name="connsiteY347" fmla="*/ 4060826 h 6858001"/>
              <a:gd name="connsiteX348" fmla="*/ 5621498 w 9595474"/>
              <a:gd name="connsiteY348" fmla="*/ 4065589 h 6858001"/>
              <a:gd name="connsiteX349" fmla="*/ 5617360 w 9595474"/>
              <a:gd name="connsiteY349" fmla="*/ 4070351 h 6858001"/>
              <a:gd name="connsiteX350" fmla="*/ 5612631 w 9595474"/>
              <a:gd name="connsiteY350" fmla="*/ 4075114 h 6858001"/>
              <a:gd name="connsiteX351" fmla="*/ 5608198 w 9595474"/>
              <a:gd name="connsiteY351" fmla="*/ 4079876 h 6858001"/>
              <a:gd name="connsiteX352" fmla="*/ 5603468 w 9595474"/>
              <a:gd name="connsiteY352" fmla="*/ 4083686 h 6858001"/>
              <a:gd name="connsiteX353" fmla="*/ 5598443 w 9595474"/>
              <a:gd name="connsiteY353" fmla="*/ 4087496 h 6858001"/>
              <a:gd name="connsiteX354" fmla="*/ 5593419 w 9595474"/>
              <a:gd name="connsiteY354" fmla="*/ 4091306 h 6858001"/>
              <a:gd name="connsiteX355" fmla="*/ 5588098 w 9595474"/>
              <a:gd name="connsiteY355" fmla="*/ 4094481 h 6858001"/>
              <a:gd name="connsiteX356" fmla="*/ 5582482 w 9595474"/>
              <a:gd name="connsiteY356" fmla="*/ 4097339 h 6858001"/>
              <a:gd name="connsiteX357" fmla="*/ 5577162 w 9595474"/>
              <a:gd name="connsiteY357" fmla="*/ 4100196 h 6858001"/>
              <a:gd name="connsiteX358" fmla="*/ 5571842 w 9595474"/>
              <a:gd name="connsiteY358" fmla="*/ 4102419 h 6858001"/>
              <a:gd name="connsiteX359" fmla="*/ 5565931 w 9595474"/>
              <a:gd name="connsiteY359" fmla="*/ 4104641 h 6858001"/>
              <a:gd name="connsiteX360" fmla="*/ 5560315 w 9595474"/>
              <a:gd name="connsiteY360" fmla="*/ 4106546 h 6858001"/>
              <a:gd name="connsiteX361" fmla="*/ 5554699 w 9595474"/>
              <a:gd name="connsiteY361" fmla="*/ 4108134 h 6858001"/>
              <a:gd name="connsiteX362" fmla="*/ 5548492 w 9595474"/>
              <a:gd name="connsiteY362" fmla="*/ 4109404 h 6858001"/>
              <a:gd name="connsiteX363" fmla="*/ 5542580 w 9595474"/>
              <a:gd name="connsiteY363" fmla="*/ 4110356 h 6858001"/>
              <a:gd name="connsiteX364" fmla="*/ 5536669 w 9595474"/>
              <a:gd name="connsiteY364" fmla="*/ 4110991 h 6858001"/>
              <a:gd name="connsiteX365" fmla="*/ 5530758 w 9595474"/>
              <a:gd name="connsiteY365" fmla="*/ 4111309 h 6858001"/>
              <a:gd name="connsiteX366" fmla="*/ 5524846 w 9595474"/>
              <a:gd name="connsiteY366" fmla="*/ 4111626 h 6858001"/>
              <a:gd name="connsiteX367" fmla="*/ 5518639 w 9595474"/>
              <a:gd name="connsiteY367" fmla="*/ 4111309 h 6858001"/>
              <a:gd name="connsiteX368" fmla="*/ 5513023 w 9595474"/>
              <a:gd name="connsiteY368" fmla="*/ 4110991 h 6858001"/>
              <a:gd name="connsiteX369" fmla="*/ 5506816 w 9595474"/>
              <a:gd name="connsiteY369" fmla="*/ 4110356 h 6858001"/>
              <a:gd name="connsiteX370" fmla="*/ 5501200 w 9595474"/>
              <a:gd name="connsiteY370" fmla="*/ 4109404 h 6858001"/>
              <a:gd name="connsiteX371" fmla="*/ 5494993 w 9595474"/>
              <a:gd name="connsiteY371" fmla="*/ 4108134 h 6858001"/>
              <a:gd name="connsiteX372" fmla="*/ 5489081 w 9595474"/>
              <a:gd name="connsiteY372" fmla="*/ 4106546 h 6858001"/>
              <a:gd name="connsiteX373" fmla="*/ 5483466 w 9595474"/>
              <a:gd name="connsiteY373" fmla="*/ 4104641 h 6858001"/>
              <a:gd name="connsiteX374" fmla="*/ 5477850 w 9595474"/>
              <a:gd name="connsiteY374" fmla="*/ 4102419 h 6858001"/>
              <a:gd name="connsiteX375" fmla="*/ 5472234 w 9595474"/>
              <a:gd name="connsiteY375" fmla="*/ 4100196 h 6858001"/>
              <a:gd name="connsiteX376" fmla="*/ 5466913 w 9595474"/>
              <a:gd name="connsiteY376" fmla="*/ 4097339 h 6858001"/>
              <a:gd name="connsiteX377" fmla="*/ 5461593 w 9595474"/>
              <a:gd name="connsiteY377" fmla="*/ 4094481 h 6858001"/>
              <a:gd name="connsiteX378" fmla="*/ 5456273 w 9595474"/>
              <a:gd name="connsiteY378" fmla="*/ 4091306 h 6858001"/>
              <a:gd name="connsiteX379" fmla="*/ 5451248 w 9595474"/>
              <a:gd name="connsiteY379" fmla="*/ 4087496 h 6858001"/>
              <a:gd name="connsiteX380" fmla="*/ 5446223 w 9595474"/>
              <a:gd name="connsiteY380" fmla="*/ 4083686 h 6858001"/>
              <a:gd name="connsiteX381" fmla="*/ 5441495 w 9595474"/>
              <a:gd name="connsiteY381" fmla="*/ 4079876 h 6858001"/>
              <a:gd name="connsiteX382" fmla="*/ 5436765 w 9595474"/>
              <a:gd name="connsiteY382" fmla="*/ 4075114 h 6858001"/>
              <a:gd name="connsiteX383" fmla="*/ 5322379 w 9595474"/>
              <a:gd name="connsiteY383" fmla="*/ 3960814 h 6858001"/>
              <a:gd name="connsiteX384" fmla="*/ 5317945 w 9595474"/>
              <a:gd name="connsiteY384" fmla="*/ 3956369 h 6858001"/>
              <a:gd name="connsiteX385" fmla="*/ 5312921 w 9595474"/>
              <a:gd name="connsiteY385" fmla="*/ 3952241 h 6858001"/>
              <a:gd name="connsiteX386" fmla="*/ 5307896 w 9595474"/>
              <a:gd name="connsiteY386" fmla="*/ 3948749 h 6858001"/>
              <a:gd name="connsiteX387" fmla="*/ 5302871 w 9595474"/>
              <a:gd name="connsiteY387" fmla="*/ 3944939 h 6858001"/>
              <a:gd name="connsiteX388" fmla="*/ 5297255 w 9595474"/>
              <a:gd name="connsiteY388" fmla="*/ 3941764 h 6858001"/>
              <a:gd name="connsiteX389" fmla="*/ 5292230 w 9595474"/>
              <a:gd name="connsiteY389" fmla="*/ 3938589 h 6858001"/>
              <a:gd name="connsiteX390" fmla="*/ 5286615 w 9595474"/>
              <a:gd name="connsiteY390" fmla="*/ 3936049 h 6858001"/>
              <a:gd name="connsiteX391" fmla="*/ 5281294 w 9595474"/>
              <a:gd name="connsiteY391" fmla="*/ 3933509 h 6858001"/>
              <a:gd name="connsiteX392" fmla="*/ 5275383 w 9595474"/>
              <a:gd name="connsiteY392" fmla="*/ 3931286 h 6858001"/>
              <a:gd name="connsiteX393" fmla="*/ 5269767 w 9595474"/>
              <a:gd name="connsiteY393" fmla="*/ 3929699 h 6858001"/>
              <a:gd name="connsiteX394" fmla="*/ 5263855 w 9595474"/>
              <a:gd name="connsiteY394" fmla="*/ 3927794 h 6858001"/>
              <a:gd name="connsiteX395" fmla="*/ 5257944 w 9595474"/>
              <a:gd name="connsiteY395" fmla="*/ 3926841 h 6858001"/>
              <a:gd name="connsiteX396" fmla="*/ 5252033 w 9595474"/>
              <a:gd name="connsiteY396" fmla="*/ 3925571 h 6858001"/>
              <a:gd name="connsiteX397" fmla="*/ 5246121 w 9595474"/>
              <a:gd name="connsiteY397" fmla="*/ 3924936 h 6858001"/>
              <a:gd name="connsiteX398" fmla="*/ 5240210 w 9595474"/>
              <a:gd name="connsiteY398" fmla="*/ 3924619 h 6858001"/>
              <a:gd name="connsiteX399" fmla="*/ 5234298 w 9595474"/>
              <a:gd name="connsiteY399" fmla="*/ 3924619 h 6858001"/>
              <a:gd name="connsiteX400" fmla="*/ 5228091 w 9595474"/>
              <a:gd name="connsiteY400" fmla="*/ 3924619 h 6858001"/>
              <a:gd name="connsiteX401" fmla="*/ 5222180 w 9595474"/>
              <a:gd name="connsiteY401" fmla="*/ 3924936 h 6858001"/>
              <a:gd name="connsiteX402" fmla="*/ 5216268 w 9595474"/>
              <a:gd name="connsiteY402" fmla="*/ 3925571 h 6858001"/>
              <a:gd name="connsiteX403" fmla="*/ 5210357 w 9595474"/>
              <a:gd name="connsiteY403" fmla="*/ 3926841 h 6858001"/>
              <a:gd name="connsiteX404" fmla="*/ 5204741 w 9595474"/>
              <a:gd name="connsiteY404" fmla="*/ 3927794 h 6858001"/>
              <a:gd name="connsiteX405" fmla="*/ 5198534 w 9595474"/>
              <a:gd name="connsiteY405" fmla="*/ 3929699 h 6858001"/>
              <a:gd name="connsiteX406" fmla="*/ 5192918 w 9595474"/>
              <a:gd name="connsiteY406" fmla="*/ 3931286 h 6858001"/>
              <a:gd name="connsiteX407" fmla="*/ 5187598 w 9595474"/>
              <a:gd name="connsiteY407" fmla="*/ 3933509 h 6858001"/>
              <a:gd name="connsiteX408" fmla="*/ 5181686 w 9595474"/>
              <a:gd name="connsiteY408" fmla="*/ 3936049 h 6858001"/>
              <a:gd name="connsiteX409" fmla="*/ 5176366 w 9595474"/>
              <a:gd name="connsiteY409" fmla="*/ 3938589 h 6858001"/>
              <a:gd name="connsiteX410" fmla="*/ 5171046 w 9595474"/>
              <a:gd name="connsiteY410" fmla="*/ 3941764 h 6858001"/>
              <a:gd name="connsiteX411" fmla="*/ 5165430 w 9595474"/>
              <a:gd name="connsiteY411" fmla="*/ 3944939 h 6858001"/>
              <a:gd name="connsiteX412" fmla="*/ 5160405 w 9595474"/>
              <a:gd name="connsiteY412" fmla="*/ 3948749 h 6858001"/>
              <a:gd name="connsiteX413" fmla="*/ 5155380 w 9595474"/>
              <a:gd name="connsiteY413" fmla="*/ 3952241 h 6858001"/>
              <a:gd name="connsiteX414" fmla="*/ 5150947 w 9595474"/>
              <a:gd name="connsiteY414" fmla="*/ 3956369 h 6858001"/>
              <a:gd name="connsiteX415" fmla="*/ 5146218 w 9595474"/>
              <a:gd name="connsiteY415" fmla="*/ 3960814 h 6858001"/>
              <a:gd name="connsiteX416" fmla="*/ 5141488 w 9595474"/>
              <a:gd name="connsiteY416" fmla="*/ 3965576 h 6858001"/>
              <a:gd name="connsiteX417" fmla="*/ 5137646 w 9595474"/>
              <a:gd name="connsiteY417" fmla="*/ 3970656 h 6858001"/>
              <a:gd name="connsiteX418" fmla="*/ 5133508 w 9595474"/>
              <a:gd name="connsiteY418" fmla="*/ 3975101 h 6858001"/>
              <a:gd name="connsiteX419" fmla="*/ 5129961 w 9595474"/>
              <a:gd name="connsiteY419" fmla="*/ 3980499 h 6858001"/>
              <a:gd name="connsiteX420" fmla="*/ 5126710 w 9595474"/>
              <a:gd name="connsiteY420" fmla="*/ 3985579 h 6858001"/>
              <a:gd name="connsiteX421" fmla="*/ 5123754 w 9595474"/>
              <a:gd name="connsiteY421" fmla="*/ 3990976 h 6858001"/>
              <a:gd name="connsiteX422" fmla="*/ 5121094 w 9595474"/>
              <a:gd name="connsiteY422" fmla="*/ 3996374 h 6858001"/>
              <a:gd name="connsiteX423" fmla="*/ 5118729 w 9595474"/>
              <a:gd name="connsiteY423" fmla="*/ 4002089 h 6858001"/>
              <a:gd name="connsiteX424" fmla="*/ 5116660 w 9595474"/>
              <a:gd name="connsiteY424" fmla="*/ 4007804 h 6858001"/>
              <a:gd name="connsiteX425" fmla="*/ 5114591 w 9595474"/>
              <a:gd name="connsiteY425" fmla="*/ 4013519 h 6858001"/>
              <a:gd name="connsiteX426" fmla="*/ 5113113 w 9595474"/>
              <a:gd name="connsiteY426" fmla="*/ 4019234 h 6858001"/>
              <a:gd name="connsiteX427" fmla="*/ 5111636 w 9595474"/>
              <a:gd name="connsiteY427" fmla="*/ 4025266 h 6858001"/>
              <a:gd name="connsiteX428" fmla="*/ 5111044 w 9595474"/>
              <a:gd name="connsiteY428" fmla="*/ 4031299 h 6858001"/>
              <a:gd name="connsiteX429" fmla="*/ 5110158 w 9595474"/>
              <a:gd name="connsiteY429" fmla="*/ 4037014 h 6858001"/>
              <a:gd name="connsiteX430" fmla="*/ 5109862 w 9595474"/>
              <a:gd name="connsiteY430" fmla="*/ 4043046 h 6858001"/>
              <a:gd name="connsiteX431" fmla="*/ 5109567 w 9595474"/>
              <a:gd name="connsiteY431" fmla="*/ 4049079 h 6858001"/>
              <a:gd name="connsiteX432" fmla="*/ 5109862 w 9595474"/>
              <a:gd name="connsiteY432" fmla="*/ 4055111 h 6858001"/>
              <a:gd name="connsiteX433" fmla="*/ 5110158 w 9595474"/>
              <a:gd name="connsiteY433" fmla="*/ 4061144 h 6858001"/>
              <a:gd name="connsiteX434" fmla="*/ 5111044 w 9595474"/>
              <a:gd name="connsiteY434" fmla="*/ 4066859 h 6858001"/>
              <a:gd name="connsiteX435" fmla="*/ 5111636 w 9595474"/>
              <a:gd name="connsiteY435" fmla="*/ 4072891 h 6858001"/>
              <a:gd name="connsiteX436" fmla="*/ 5113113 w 9595474"/>
              <a:gd name="connsiteY436" fmla="*/ 4078606 h 6858001"/>
              <a:gd name="connsiteX437" fmla="*/ 5114591 w 9595474"/>
              <a:gd name="connsiteY437" fmla="*/ 4084321 h 6858001"/>
              <a:gd name="connsiteX438" fmla="*/ 5116660 w 9595474"/>
              <a:gd name="connsiteY438" fmla="*/ 4090036 h 6858001"/>
              <a:gd name="connsiteX439" fmla="*/ 5118729 w 9595474"/>
              <a:gd name="connsiteY439" fmla="*/ 4095751 h 6858001"/>
              <a:gd name="connsiteX440" fmla="*/ 5121094 w 9595474"/>
              <a:gd name="connsiteY440" fmla="*/ 4101784 h 6858001"/>
              <a:gd name="connsiteX441" fmla="*/ 5123754 w 9595474"/>
              <a:gd name="connsiteY441" fmla="*/ 4107181 h 6858001"/>
              <a:gd name="connsiteX442" fmla="*/ 5126710 w 9595474"/>
              <a:gd name="connsiteY442" fmla="*/ 4112579 h 6858001"/>
              <a:gd name="connsiteX443" fmla="*/ 5129961 w 9595474"/>
              <a:gd name="connsiteY443" fmla="*/ 4117976 h 6858001"/>
              <a:gd name="connsiteX444" fmla="*/ 5133508 w 9595474"/>
              <a:gd name="connsiteY444" fmla="*/ 4122739 h 6858001"/>
              <a:gd name="connsiteX445" fmla="*/ 5137646 w 9595474"/>
              <a:gd name="connsiteY445" fmla="*/ 4127819 h 6858001"/>
              <a:gd name="connsiteX446" fmla="*/ 5141488 w 9595474"/>
              <a:gd name="connsiteY446" fmla="*/ 4132581 h 6858001"/>
              <a:gd name="connsiteX447" fmla="*/ 5146218 w 9595474"/>
              <a:gd name="connsiteY447" fmla="*/ 4137344 h 6858001"/>
              <a:gd name="connsiteX448" fmla="*/ 5870075 w 9595474"/>
              <a:gd name="connsiteY448" fmla="*/ 4860926 h 6858001"/>
              <a:gd name="connsiteX449" fmla="*/ 5874509 w 9595474"/>
              <a:gd name="connsiteY449" fmla="*/ 4865689 h 6858001"/>
              <a:gd name="connsiteX450" fmla="*/ 5878646 w 9595474"/>
              <a:gd name="connsiteY450" fmla="*/ 4870769 h 6858001"/>
              <a:gd name="connsiteX451" fmla="*/ 5882489 w 9595474"/>
              <a:gd name="connsiteY451" fmla="*/ 4875849 h 6858001"/>
              <a:gd name="connsiteX452" fmla="*/ 5886036 w 9595474"/>
              <a:gd name="connsiteY452" fmla="*/ 4880929 h 6858001"/>
              <a:gd name="connsiteX453" fmla="*/ 5889287 w 9595474"/>
              <a:gd name="connsiteY453" fmla="*/ 4885691 h 6858001"/>
              <a:gd name="connsiteX454" fmla="*/ 5892243 w 9595474"/>
              <a:gd name="connsiteY454" fmla="*/ 4891089 h 6858001"/>
              <a:gd name="connsiteX455" fmla="*/ 5895199 w 9595474"/>
              <a:gd name="connsiteY455" fmla="*/ 4897121 h 6858001"/>
              <a:gd name="connsiteX456" fmla="*/ 5897268 w 9595474"/>
              <a:gd name="connsiteY456" fmla="*/ 4902519 h 6858001"/>
              <a:gd name="connsiteX457" fmla="*/ 5899336 w 9595474"/>
              <a:gd name="connsiteY457" fmla="*/ 4908234 h 6858001"/>
              <a:gd name="connsiteX458" fmla="*/ 5901701 w 9595474"/>
              <a:gd name="connsiteY458" fmla="*/ 4913949 h 6858001"/>
              <a:gd name="connsiteX459" fmla="*/ 5902883 w 9595474"/>
              <a:gd name="connsiteY459" fmla="*/ 4919664 h 6858001"/>
              <a:gd name="connsiteX460" fmla="*/ 5904066 w 9595474"/>
              <a:gd name="connsiteY460" fmla="*/ 4925696 h 6858001"/>
              <a:gd name="connsiteX461" fmla="*/ 5905248 w 9595474"/>
              <a:gd name="connsiteY461" fmla="*/ 4931411 h 6858001"/>
              <a:gd name="connsiteX462" fmla="*/ 5905840 w 9595474"/>
              <a:gd name="connsiteY462" fmla="*/ 4937444 h 6858001"/>
              <a:gd name="connsiteX463" fmla="*/ 5906135 w 9595474"/>
              <a:gd name="connsiteY463" fmla="*/ 4943476 h 6858001"/>
              <a:gd name="connsiteX464" fmla="*/ 5906726 w 9595474"/>
              <a:gd name="connsiteY464" fmla="*/ 4949509 h 6858001"/>
              <a:gd name="connsiteX465" fmla="*/ 5906135 w 9595474"/>
              <a:gd name="connsiteY465" fmla="*/ 4955224 h 6858001"/>
              <a:gd name="connsiteX466" fmla="*/ 5905840 w 9595474"/>
              <a:gd name="connsiteY466" fmla="*/ 4961256 h 6858001"/>
              <a:gd name="connsiteX467" fmla="*/ 5905248 w 9595474"/>
              <a:gd name="connsiteY467" fmla="*/ 4967289 h 6858001"/>
              <a:gd name="connsiteX468" fmla="*/ 5904066 w 9595474"/>
              <a:gd name="connsiteY468" fmla="*/ 4973004 h 6858001"/>
              <a:gd name="connsiteX469" fmla="*/ 5902883 w 9595474"/>
              <a:gd name="connsiteY469" fmla="*/ 4979036 h 6858001"/>
              <a:gd name="connsiteX470" fmla="*/ 5901701 w 9595474"/>
              <a:gd name="connsiteY470" fmla="*/ 4985069 h 6858001"/>
              <a:gd name="connsiteX471" fmla="*/ 5899336 w 9595474"/>
              <a:gd name="connsiteY471" fmla="*/ 4990784 h 6858001"/>
              <a:gd name="connsiteX472" fmla="*/ 5897268 w 9595474"/>
              <a:gd name="connsiteY472" fmla="*/ 4996181 h 6858001"/>
              <a:gd name="connsiteX473" fmla="*/ 5895199 w 9595474"/>
              <a:gd name="connsiteY473" fmla="*/ 5001896 h 6858001"/>
              <a:gd name="connsiteX474" fmla="*/ 5892243 w 9595474"/>
              <a:gd name="connsiteY474" fmla="*/ 5007294 h 6858001"/>
              <a:gd name="connsiteX475" fmla="*/ 5889287 w 9595474"/>
              <a:gd name="connsiteY475" fmla="*/ 5012691 h 6858001"/>
              <a:gd name="connsiteX476" fmla="*/ 5886036 w 9595474"/>
              <a:gd name="connsiteY476" fmla="*/ 5018089 h 6858001"/>
              <a:gd name="connsiteX477" fmla="*/ 5882489 w 9595474"/>
              <a:gd name="connsiteY477" fmla="*/ 5023169 h 6858001"/>
              <a:gd name="connsiteX478" fmla="*/ 5878646 w 9595474"/>
              <a:gd name="connsiteY478" fmla="*/ 5028249 h 6858001"/>
              <a:gd name="connsiteX479" fmla="*/ 5874509 w 9595474"/>
              <a:gd name="connsiteY479" fmla="*/ 5032694 h 6858001"/>
              <a:gd name="connsiteX480" fmla="*/ 5870075 w 9595474"/>
              <a:gd name="connsiteY480" fmla="*/ 5037456 h 6858001"/>
              <a:gd name="connsiteX481" fmla="*/ 5865346 w 9595474"/>
              <a:gd name="connsiteY481" fmla="*/ 5041901 h 6858001"/>
              <a:gd name="connsiteX482" fmla="*/ 5860617 w 9595474"/>
              <a:gd name="connsiteY482" fmla="*/ 5046029 h 6858001"/>
              <a:gd name="connsiteX483" fmla="*/ 5855592 w 9595474"/>
              <a:gd name="connsiteY483" fmla="*/ 5050156 h 6858001"/>
              <a:gd name="connsiteX484" fmla="*/ 5850567 w 9595474"/>
              <a:gd name="connsiteY484" fmla="*/ 5053649 h 6858001"/>
              <a:gd name="connsiteX485" fmla="*/ 5845247 w 9595474"/>
              <a:gd name="connsiteY485" fmla="*/ 5056824 h 6858001"/>
              <a:gd name="connsiteX486" fmla="*/ 5839926 w 9595474"/>
              <a:gd name="connsiteY486" fmla="*/ 5059681 h 6858001"/>
              <a:gd name="connsiteX487" fmla="*/ 5834311 w 9595474"/>
              <a:gd name="connsiteY487" fmla="*/ 5062539 h 6858001"/>
              <a:gd name="connsiteX488" fmla="*/ 5828695 w 9595474"/>
              <a:gd name="connsiteY488" fmla="*/ 5064761 h 6858001"/>
              <a:gd name="connsiteX489" fmla="*/ 5823375 w 9595474"/>
              <a:gd name="connsiteY489" fmla="*/ 5066984 h 6858001"/>
              <a:gd name="connsiteX490" fmla="*/ 5817463 w 9595474"/>
              <a:gd name="connsiteY490" fmla="*/ 5069206 h 6858001"/>
              <a:gd name="connsiteX491" fmla="*/ 5811552 w 9595474"/>
              <a:gd name="connsiteY491" fmla="*/ 5070476 h 6858001"/>
              <a:gd name="connsiteX492" fmla="*/ 5805640 w 9595474"/>
              <a:gd name="connsiteY492" fmla="*/ 5071429 h 6858001"/>
              <a:gd name="connsiteX493" fmla="*/ 5800024 w 9595474"/>
              <a:gd name="connsiteY493" fmla="*/ 5072699 h 6858001"/>
              <a:gd name="connsiteX494" fmla="*/ 5793817 w 9595474"/>
              <a:gd name="connsiteY494" fmla="*/ 5073334 h 6858001"/>
              <a:gd name="connsiteX495" fmla="*/ 5787610 w 9595474"/>
              <a:gd name="connsiteY495" fmla="*/ 5073651 h 6858001"/>
              <a:gd name="connsiteX496" fmla="*/ 5781994 w 9595474"/>
              <a:gd name="connsiteY496" fmla="*/ 5073969 h 6858001"/>
              <a:gd name="connsiteX497" fmla="*/ 5775787 w 9595474"/>
              <a:gd name="connsiteY497" fmla="*/ 5073651 h 6858001"/>
              <a:gd name="connsiteX498" fmla="*/ 5770171 w 9595474"/>
              <a:gd name="connsiteY498" fmla="*/ 5073334 h 6858001"/>
              <a:gd name="connsiteX499" fmla="*/ 5763965 w 9595474"/>
              <a:gd name="connsiteY499" fmla="*/ 5072699 h 6858001"/>
              <a:gd name="connsiteX500" fmla="*/ 5758349 w 9595474"/>
              <a:gd name="connsiteY500" fmla="*/ 5071429 h 6858001"/>
              <a:gd name="connsiteX501" fmla="*/ 5752141 w 9595474"/>
              <a:gd name="connsiteY501" fmla="*/ 5070476 h 6858001"/>
              <a:gd name="connsiteX502" fmla="*/ 5746526 w 9595474"/>
              <a:gd name="connsiteY502" fmla="*/ 5069206 h 6858001"/>
              <a:gd name="connsiteX503" fmla="*/ 5740614 w 9595474"/>
              <a:gd name="connsiteY503" fmla="*/ 5066984 h 6858001"/>
              <a:gd name="connsiteX504" fmla="*/ 5734998 w 9595474"/>
              <a:gd name="connsiteY504" fmla="*/ 5064761 h 6858001"/>
              <a:gd name="connsiteX505" fmla="*/ 5729382 w 9595474"/>
              <a:gd name="connsiteY505" fmla="*/ 5062539 h 6858001"/>
              <a:gd name="connsiteX506" fmla="*/ 5723767 w 9595474"/>
              <a:gd name="connsiteY506" fmla="*/ 5059681 h 6858001"/>
              <a:gd name="connsiteX507" fmla="*/ 5718446 w 9595474"/>
              <a:gd name="connsiteY507" fmla="*/ 5056824 h 6858001"/>
              <a:gd name="connsiteX508" fmla="*/ 5713421 w 9595474"/>
              <a:gd name="connsiteY508" fmla="*/ 5053649 h 6858001"/>
              <a:gd name="connsiteX509" fmla="*/ 5708396 w 9595474"/>
              <a:gd name="connsiteY509" fmla="*/ 5050156 h 6858001"/>
              <a:gd name="connsiteX510" fmla="*/ 5703372 w 9595474"/>
              <a:gd name="connsiteY510" fmla="*/ 5046029 h 6858001"/>
              <a:gd name="connsiteX511" fmla="*/ 5698347 w 9595474"/>
              <a:gd name="connsiteY511" fmla="*/ 5041901 h 6858001"/>
              <a:gd name="connsiteX512" fmla="*/ 5693618 w 9595474"/>
              <a:gd name="connsiteY512" fmla="*/ 5037456 h 6858001"/>
              <a:gd name="connsiteX513" fmla="*/ 5598148 w 9595474"/>
              <a:gd name="connsiteY513" fmla="*/ 4941889 h 6858001"/>
              <a:gd name="connsiteX514" fmla="*/ 5490560 w 9595474"/>
              <a:gd name="connsiteY514" fmla="*/ 4834574 h 6858001"/>
              <a:gd name="connsiteX515" fmla="*/ 5485830 w 9595474"/>
              <a:gd name="connsiteY515" fmla="*/ 4830129 h 6858001"/>
              <a:gd name="connsiteX516" fmla="*/ 5481397 w 9595474"/>
              <a:gd name="connsiteY516" fmla="*/ 4826001 h 6858001"/>
              <a:gd name="connsiteX517" fmla="*/ 5476372 w 9595474"/>
              <a:gd name="connsiteY517" fmla="*/ 4821874 h 6858001"/>
              <a:gd name="connsiteX518" fmla="*/ 5471348 w 9595474"/>
              <a:gd name="connsiteY518" fmla="*/ 4818381 h 6858001"/>
              <a:gd name="connsiteX519" fmla="*/ 5465732 w 9595474"/>
              <a:gd name="connsiteY519" fmla="*/ 4815206 h 6858001"/>
              <a:gd name="connsiteX520" fmla="*/ 5460411 w 9595474"/>
              <a:gd name="connsiteY520" fmla="*/ 4812349 h 6858001"/>
              <a:gd name="connsiteX521" fmla="*/ 5455091 w 9595474"/>
              <a:gd name="connsiteY521" fmla="*/ 4809174 h 6858001"/>
              <a:gd name="connsiteX522" fmla="*/ 5449475 w 9595474"/>
              <a:gd name="connsiteY522" fmla="*/ 4807269 h 6858001"/>
              <a:gd name="connsiteX523" fmla="*/ 5443563 w 9595474"/>
              <a:gd name="connsiteY523" fmla="*/ 4805046 h 6858001"/>
              <a:gd name="connsiteX524" fmla="*/ 5437948 w 9595474"/>
              <a:gd name="connsiteY524" fmla="*/ 4802824 h 6858001"/>
              <a:gd name="connsiteX525" fmla="*/ 5432036 w 9595474"/>
              <a:gd name="connsiteY525" fmla="*/ 4801554 h 6858001"/>
              <a:gd name="connsiteX526" fmla="*/ 5426420 w 9595474"/>
              <a:gd name="connsiteY526" fmla="*/ 4800284 h 6858001"/>
              <a:gd name="connsiteX527" fmla="*/ 5420509 w 9595474"/>
              <a:gd name="connsiteY527" fmla="*/ 4799331 h 6858001"/>
              <a:gd name="connsiteX528" fmla="*/ 5414597 w 9595474"/>
              <a:gd name="connsiteY528" fmla="*/ 4798696 h 6858001"/>
              <a:gd name="connsiteX529" fmla="*/ 5408391 w 9595474"/>
              <a:gd name="connsiteY529" fmla="*/ 4798061 h 6858001"/>
              <a:gd name="connsiteX530" fmla="*/ 5402775 w 9595474"/>
              <a:gd name="connsiteY530" fmla="*/ 4797744 h 6858001"/>
              <a:gd name="connsiteX531" fmla="*/ 5396568 w 9595474"/>
              <a:gd name="connsiteY531" fmla="*/ 4798061 h 6858001"/>
              <a:gd name="connsiteX532" fmla="*/ 5390361 w 9595474"/>
              <a:gd name="connsiteY532" fmla="*/ 4798696 h 6858001"/>
              <a:gd name="connsiteX533" fmla="*/ 5384745 w 9595474"/>
              <a:gd name="connsiteY533" fmla="*/ 4799331 h 6858001"/>
              <a:gd name="connsiteX534" fmla="*/ 5378538 w 9595474"/>
              <a:gd name="connsiteY534" fmla="*/ 4800284 h 6858001"/>
              <a:gd name="connsiteX535" fmla="*/ 5372922 w 9595474"/>
              <a:gd name="connsiteY535" fmla="*/ 4801554 h 6858001"/>
              <a:gd name="connsiteX536" fmla="*/ 5367010 w 9595474"/>
              <a:gd name="connsiteY536" fmla="*/ 4802824 h 6858001"/>
              <a:gd name="connsiteX537" fmla="*/ 5361394 w 9595474"/>
              <a:gd name="connsiteY537" fmla="*/ 4805046 h 6858001"/>
              <a:gd name="connsiteX538" fmla="*/ 5355483 w 9595474"/>
              <a:gd name="connsiteY538" fmla="*/ 4807269 h 6858001"/>
              <a:gd name="connsiteX539" fmla="*/ 5350163 w 9595474"/>
              <a:gd name="connsiteY539" fmla="*/ 4809174 h 6858001"/>
              <a:gd name="connsiteX540" fmla="*/ 5344547 w 9595474"/>
              <a:gd name="connsiteY540" fmla="*/ 4812349 h 6858001"/>
              <a:gd name="connsiteX541" fmla="*/ 5338931 w 9595474"/>
              <a:gd name="connsiteY541" fmla="*/ 4815206 h 6858001"/>
              <a:gd name="connsiteX542" fmla="*/ 5333906 w 9595474"/>
              <a:gd name="connsiteY542" fmla="*/ 4818381 h 6858001"/>
              <a:gd name="connsiteX543" fmla="*/ 5328881 w 9595474"/>
              <a:gd name="connsiteY543" fmla="*/ 4821874 h 6858001"/>
              <a:gd name="connsiteX544" fmla="*/ 5323857 w 9595474"/>
              <a:gd name="connsiteY544" fmla="*/ 4826001 h 6858001"/>
              <a:gd name="connsiteX545" fmla="*/ 5318832 w 9595474"/>
              <a:gd name="connsiteY545" fmla="*/ 4830129 h 6858001"/>
              <a:gd name="connsiteX546" fmla="*/ 5314398 w 9595474"/>
              <a:gd name="connsiteY546" fmla="*/ 4834574 h 6858001"/>
              <a:gd name="connsiteX547" fmla="*/ 5307305 w 9595474"/>
              <a:gd name="connsiteY547" fmla="*/ 4841876 h 6858001"/>
              <a:gd name="connsiteX548" fmla="*/ 5301393 w 9595474"/>
              <a:gd name="connsiteY548" fmla="*/ 4849814 h 6858001"/>
              <a:gd name="connsiteX549" fmla="*/ 5295482 w 9595474"/>
              <a:gd name="connsiteY549" fmla="*/ 4858069 h 6858001"/>
              <a:gd name="connsiteX550" fmla="*/ 5291048 w 9595474"/>
              <a:gd name="connsiteY550" fmla="*/ 4867276 h 6858001"/>
              <a:gd name="connsiteX551" fmla="*/ 5286910 w 9595474"/>
              <a:gd name="connsiteY551" fmla="*/ 4875849 h 6858001"/>
              <a:gd name="connsiteX552" fmla="*/ 5283659 w 9595474"/>
              <a:gd name="connsiteY552" fmla="*/ 4885056 h 6858001"/>
              <a:gd name="connsiteX553" fmla="*/ 5281294 w 9595474"/>
              <a:gd name="connsiteY553" fmla="*/ 4894581 h 6858001"/>
              <a:gd name="connsiteX554" fmla="*/ 5279521 w 9595474"/>
              <a:gd name="connsiteY554" fmla="*/ 4903789 h 6858001"/>
              <a:gd name="connsiteX555" fmla="*/ 5278339 w 9595474"/>
              <a:gd name="connsiteY555" fmla="*/ 4913631 h 6858001"/>
              <a:gd name="connsiteX556" fmla="*/ 5278339 w 9595474"/>
              <a:gd name="connsiteY556" fmla="*/ 4923156 h 6858001"/>
              <a:gd name="connsiteX557" fmla="*/ 5278634 w 9595474"/>
              <a:gd name="connsiteY557" fmla="*/ 4932999 h 6858001"/>
              <a:gd name="connsiteX558" fmla="*/ 5279816 w 9595474"/>
              <a:gd name="connsiteY558" fmla="*/ 4942206 h 6858001"/>
              <a:gd name="connsiteX559" fmla="*/ 5281885 w 9595474"/>
              <a:gd name="connsiteY559" fmla="*/ 4952049 h 6858001"/>
              <a:gd name="connsiteX560" fmla="*/ 5284546 w 9595474"/>
              <a:gd name="connsiteY560" fmla="*/ 4960939 h 6858001"/>
              <a:gd name="connsiteX561" fmla="*/ 5288092 w 9595474"/>
              <a:gd name="connsiteY561" fmla="*/ 4970146 h 6858001"/>
              <a:gd name="connsiteX562" fmla="*/ 5291935 w 9595474"/>
              <a:gd name="connsiteY562" fmla="*/ 4979354 h 6858001"/>
              <a:gd name="connsiteX563" fmla="*/ 5583665 w 9595474"/>
              <a:gd name="connsiteY563" fmla="*/ 5270501 h 6858001"/>
              <a:gd name="connsiteX564" fmla="*/ 5588098 w 9595474"/>
              <a:gd name="connsiteY564" fmla="*/ 5275264 h 6858001"/>
              <a:gd name="connsiteX565" fmla="*/ 5592237 w 9595474"/>
              <a:gd name="connsiteY565" fmla="*/ 5280344 h 6858001"/>
              <a:gd name="connsiteX566" fmla="*/ 5595784 w 9595474"/>
              <a:gd name="connsiteY566" fmla="*/ 5284789 h 6858001"/>
              <a:gd name="connsiteX567" fmla="*/ 5599626 w 9595474"/>
              <a:gd name="connsiteY567" fmla="*/ 5290186 h 6858001"/>
              <a:gd name="connsiteX568" fmla="*/ 5602582 w 9595474"/>
              <a:gd name="connsiteY568" fmla="*/ 5295266 h 6858001"/>
              <a:gd name="connsiteX569" fmla="*/ 5605833 w 9595474"/>
              <a:gd name="connsiteY569" fmla="*/ 5300664 h 6858001"/>
              <a:gd name="connsiteX570" fmla="*/ 5608493 w 9595474"/>
              <a:gd name="connsiteY570" fmla="*/ 5306061 h 6858001"/>
              <a:gd name="connsiteX571" fmla="*/ 5610857 w 9595474"/>
              <a:gd name="connsiteY571" fmla="*/ 5311776 h 6858001"/>
              <a:gd name="connsiteX572" fmla="*/ 5613222 w 9595474"/>
              <a:gd name="connsiteY572" fmla="*/ 5317491 h 6858001"/>
              <a:gd name="connsiteX573" fmla="*/ 5614996 w 9595474"/>
              <a:gd name="connsiteY573" fmla="*/ 5323524 h 6858001"/>
              <a:gd name="connsiteX574" fmla="*/ 5616474 w 9595474"/>
              <a:gd name="connsiteY574" fmla="*/ 5329239 h 6858001"/>
              <a:gd name="connsiteX575" fmla="*/ 5617656 w 9595474"/>
              <a:gd name="connsiteY575" fmla="*/ 5334954 h 6858001"/>
              <a:gd name="connsiteX576" fmla="*/ 5618838 w 9595474"/>
              <a:gd name="connsiteY576" fmla="*/ 5340986 h 6858001"/>
              <a:gd name="connsiteX577" fmla="*/ 5619725 w 9595474"/>
              <a:gd name="connsiteY577" fmla="*/ 5346701 h 6858001"/>
              <a:gd name="connsiteX578" fmla="*/ 5620021 w 9595474"/>
              <a:gd name="connsiteY578" fmla="*/ 5352734 h 6858001"/>
              <a:gd name="connsiteX579" fmla="*/ 5620021 w 9595474"/>
              <a:gd name="connsiteY579" fmla="*/ 5359084 h 6858001"/>
              <a:gd name="connsiteX580" fmla="*/ 5620021 w 9595474"/>
              <a:gd name="connsiteY580" fmla="*/ 5364799 h 6858001"/>
              <a:gd name="connsiteX581" fmla="*/ 5619725 w 9595474"/>
              <a:gd name="connsiteY581" fmla="*/ 5370831 h 6858001"/>
              <a:gd name="connsiteX582" fmla="*/ 5618838 w 9595474"/>
              <a:gd name="connsiteY582" fmla="*/ 5376546 h 6858001"/>
              <a:gd name="connsiteX583" fmla="*/ 5617656 w 9595474"/>
              <a:gd name="connsiteY583" fmla="*/ 5382579 h 6858001"/>
              <a:gd name="connsiteX584" fmla="*/ 5616474 w 9595474"/>
              <a:gd name="connsiteY584" fmla="*/ 5388294 h 6858001"/>
              <a:gd name="connsiteX585" fmla="*/ 5614996 w 9595474"/>
              <a:gd name="connsiteY585" fmla="*/ 5394009 h 6858001"/>
              <a:gd name="connsiteX586" fmla="*/ 5613222 w 9595474"/>
              <a:gd name="connsiteY586" fmla="*/ 5400041 h 6858001"/>
              <a:gd name="connsiteX587" fmla="*/ 5610857 w 9595474"/>
              <a:gd name="connsiteY587" fmla="*/ 5405756 h 6858001"/>
              <a:gd name="connsiteX588" fmla="*/ 5608493 w 9595474"/>
              <a:gd name="connsiteY588" fmla="*/ 5411471 h 6858001"/>
              <a:gd name="connsiteX589" fmla="*/ 5605833 w 9595474"/>
              <a:gd name="connsiteY589" fmla="*/ 5416869 h 6858001"/>
              <a:gd name="connsiteX590" fmla="*/ 5602582 w 9595474"/>
              <a:gd name="connsiteY590" fmla="*/ 5422266 h 6858001"/>
              <a:gd name="connsiteX591" fmla="*/ 5599626 w 9595474"/>
              <a:gd name="connsiteY591" fmla="*/ 5427664 h 6858001"/>
              <a:gd name="connsiteX592" fmla="*/ 5595784 w 9595474"/>
              <a:gd name="connsiteY592" fmla="*/ 5432744 h 6858001"/>
              <a:gd name="connsiteX593" fmla="*/ 5592237 w 9595474"/>
              <a:gd name="connsiteY593" fmla="*/ 5437506 h 6858001"/>
              <a:gd name="connsiteX594" fmla="*/ 5588098 w 9595474"/>
              <a:gd name="connsiteY594" fmla="*/ 5442269 h 6858001"/>
              <a:gd name="connsiteX595" fmla="*/ 5583665 w 9595474"/>
              <a:gd name="connsiteY595" fmla="*/ 5447031 h 6858001"/>
              <a:gd name="connsiteX596" fmla="*/ 5578936 w 9595474"/>
              <a:gd name="connsiteY596" fmla="*/ 5451159 h 6858001"/>
              <a:gd name="connsiteX597" fmla="*/ 5573911 w 9595474"/>
              <a:gd name="connsiteY597" fmla="*/ 5455604 h 6858001"/>
              <a:gd name="connsiteX598" fmla="*/ 5569182 w 9595474"/>
              <a:gd name="connsiteY598" fmla="*/ 5459096 h 6858001"/>
              <a:gd name="connsiteX599" fmla="*/ 5563862 w 9595474"/>
              <a:gd name="connsiteY599" fmla="*/ 5462906 h 6858001"/>
              <a:gd name="connsiteX600" fmla="*/ 5558837 w 9595474"/>
              <a:gd name="connsiteY600" fmla="*/ 5466081 h 6858001"/>
              <a:gd name="connsiteX601" fmla="*/ 5553517 w 9595474"/>
              <a:gd name="connsiteY601" fmla="*/ 5469256 h 6858001"/>
              <a:gd name="connsiteX602" fmla="*/ 5548196 w 9595474"/>
              <a:gd name="connsiteY602" fmla="*/ 5471796 h 6858001"/>
              <a:gd name="connsiteX603" fmla="*/ 5542285 w 9595474"/>
              <a:gd name="connsiteY603" fmla="*/ 5474336 h 6858001"/>
              <a:gd name="connsiteX604" fmla="*/ 5536964 w 9595474"/>
              <a:gd name="connsiteY604" fmla="*/ 5476559 h 6858001"/>
              <a:gd name="connsiteX605" fmla="*/ 5531348 w 9595474"/>
              <a:gd name="connsiteY605" fmla="*/ 5478146 h 6858001"/>
              <a:gd name="connsiteX606" fmla="*/ 5525437 w 9595474"/>
              <a:gd name="connsiteY606" fmla="*/ 5479734 h 6858001"/>
              <a:gd name="connsiteX607" fmla="*/ 5519230 w 9595474"/>
              <a:gd name="connsiteY607" fmla="*/ 5481004 h 6858001"/>
              <a:gd name="connsiteX608" fmla="*/ 5513614 w 9595474"/>
              <a:gd name="connsiteY608" fmla="*/ 5482274 h 6858001"/>
              <a:gd name="connsiteX609" fmla="*/ 5507999 w 9595474"/>
              <a:gd name="connsiteY609" fmla="*/ 5482909 h 6858001"/>
              <a:gd name="connsiteX610" fmla="*/ 5501791 w 9595474"/>
              <a:gd name="connsiteY610" fmla="*/ 5483226 h 6858001"/>
              <a:gd name="connsiteX611" fmla="*/ 5495585 w 9595474"/>
              <a:gd name="connsiteY611" fmla="*/ 5483544 h 6858001"/>
              <a:gd name="connsiteX612" fmla="*/ 6873545 w 9595474"/>
              <a:gd name="connsiteY612" fmla="*/ 6858001 h 6858001"/>
              <a:gd name="connsiteX613" fmla="*/ 9595474 w 9595474"/>
              <a:gd name="connsiteY613" fmla="*/ 6858001 h 6858001"/>
              <a:gd name="connsiteX614" fmla="*/ 9595474 w 9595474"/>
              <a:gd name="connsiteY614" fmla="*/ 1 h 6858001"/>
              <a:gd name="connsiteX615" fmla="*/ 3525498 w 9595474"/>
              <a:gd name="connsiteY615" fmla="*/ 1 h 6858001"/>
              <a:gd name="connsiteX0" fmla="*/ 3525498 w 9595474"/>
              <a:gd name="connsiteY0" fmla="*/ 1 h 6858001"/>
              <a:gd name="connsiteX1" fmla="*/ 2914258 w 9595474"/>
              <a:gd name="connsiteY1" fmla="*/ 0 h 6858001"/>
              <a:gd name="connsiteX2" fmla="*/ 0 w 9595474"/>
              <a:gd name="connsiteY2" fmla="*/ 1 h 6858001"/>
              <a:gd name="connsiteX3" fmla="*/ 692823 w 9595474"/>
              <a:gd name="connsiteY3" fmla="*/ 691199 h 6858001"/>
              <a:gd name="connsiteX4" fmla="*/ 691345 w 9595474"/>
              <a:gd name="connsiteY4" fmla="*/ 683896 h 6858001"/>
              <a:gd name="connsiteX5" fmla="*/ 690754 w 9595474"/>
              <a:gd name="connsiteY5" fmla="*/ 676276 h 6858001"/>
              <a:gd name="connsiteX6" fmla="*/ 690754 w 9595474"/>
              <a:gd name="connsiteY6" fmla="*/ 669291 h 6858001"/>
              <a:gd name="connsiteX7" fmla="*/ 690754 w 9595474"/>
              <a:gd name="connsiteY7" fmla="*/ 661989 h 6858001"/>
              <a:gd name="connsiteX8" fmla="*/ 691345 w 9595474"/>
              <a:gd name="connsiteY8" fmla="*/ 654369 h 6858001"/>
              <a:gd name="connsiteX9" fmla="*/ 692527 w 9595474"/>
              <a:gd name="connsiteY9" fmla="*/ 647384 h 6858001"/>
              <a:gd name="connsiteX10" fmla="*/ 694005 w 9595474"/>
              <a:gd name="connsiteY10" fmla="*/ 640081 h 6858001"/>
              <a:gd name="connsiteX11" fmla="*/ 695778 w 9595474"/>
              <a:gd name="connsiteY11" fmla="*/ 633096 h 6858001"/>
              <a:gd name="connsiteX12" fmla="*/ 698143 w 9595474"/>
              <a:gd name="connsiteY12" fmla="*/ 625794 h 6858001"/>
              <a:gd name="connsiteX13" fmla="*/ 700803 w 9595474"/>
              <a:gd name="connsiteY13" fmla="*/ 618809 h 6858001"/>
              <a:gd name="connsiteX14" fmla="*/ 704054 w 9595474"/>
              <a:gd name="connsiteY14" fmla="*/ 612141 h 6858001"/>
              <a:gd name="connsiteX15" fmla="*/ 707601 w 9595474"/>
              <a:gd name="connsiteY15" fmla="*/ 605791 h 6858001"/>
              <a:gd name="connsiteX16" fmla="*/ 712035 w 9595474"/>
              <a:gd name="connsiteY16" fmla="*/ 599124 h 6858001"/>
              <a:gd name="connsiteX17" fmla="*/ 716173 w 9595474"/>
              <a:gd name="connsiteY17" fmla="*/ 592774 h 6858001"/>
              <a:gd name="connsiteX18" fmla="*/ 721198 w 9595474"/>
              <a:gd name="connsiteY18" fmla="*/ 587059 h 6858001"/>
              <a:gd name="connsiteX19" fmla="*/ 726518 w 9595474"/>
              <a:gd name="connsiteY19" fmla="*/ 581344 h 6858001"/>
              <a:gd name="connsiteX20" fmla="*/ 731247 w 9595474"/>
              <a:gd name="connsiteY20" fmla="*/ 576899 h 6858001"/>
              <a:gd name="connsiteX21" fmla="*/ 735976 w 9595474"/>
              <a:gd name="connsiteY21" fmla="*/ 572454 h 6858001"/>
              <a:gd name="connsiteX22" fmla="*/ 741001 w 9595474"/>
              <a:gd name="connsiteY22" fmla="*/ 568961 h 6858001"/>
              <a:gd name="connsiteX23" fmla="*/ 746026 w 9595474"/>
              <a:gd name="connsiteY23" fmla="*/ 565469 h 6858001"/>
              <a:gd name="connsiteX24" fmla="*/ 751050 w 9595474"/>
              <a:gd name="connsiteY24" fmla="*/ 562294 h 6858001"/>
              <a:gd name="connsiteX25" fmla="*/ 756371 w 9595474"/>
              <a:gd name="connsiteY25" fmla="*/ 558801 h 6858001"/>
              <a:gd name="connsiteX26" fmla="*/ 761691 w 9595474"/>
              <a:gd name="connsiteY26" fmla="*/ 556579 h 6858001"/>
              <a:gd name="connsiteX27" fmla="*/ 767602 w 9595474"/>
              <a:gd name="connsiteY27" fmla="*/ 554039 h 6858001"/>
              <a:gd name="connsiteX28" fmla="*/ 772923 w 9595474"/>
              <a:gd name="connsiteY28" fmla="*/ 551816 h 6858001"/>
              <a:gd name="connsiteX29" fmla="*/ 778834 w 9595474"/>
              <a:gd name="connsiteY29" fmla="*/ 549911 h 6858001"/>
              <a:gd name="connsiteX30" fmla="*/ 784450 w 9595474"/>
              <a:gd name="connsiteY30" fmla="*/ 548641 h 6858001"/>
              <a:gd name="connsiteX31" fmla="*/ 790066 w 9595474"/>
              <a:gd name="connsiteY31" fmla="*/ 547371 h 6858001"/>
              <a:gd name="connsiteX32" fmla="*/ 795977 w 9595474"/>
              <a:gd name="connsiteY32" fmla="*/ 546419 h 6858001"/>
              <a:gd name="connsiteX33" fmla="*/ 802184 w 9595474"/>
              <a:gd name="connsiteY33" fmla="*/ 545784 h 6858001"/>
              <a:gd name="connsiteX34" fmla="*/ 807800 w 9595474"/>
              <a:gd name="connsiteY34" fmla="*/ 545466 h 6858001"/>
              <a:gd name="connsiteX35" fmla="*/ 814007 w 9595474"/>
              <a:gd name="connsiteY35" fmla="*/ 544831 h 6858001"/>
              <a:gd name="connsiteX36" fmla="*/ 819623 w 9595474"/>
              <a:gd name="connsiteY36" fmla="*/ 545466 h 6858001"/>
              <a:gd name="connsiteX37" fmla="*/ 825830 w 9595474"/>
              <a:gd name="connsiteY37" fmla="*/ 545784 h 6858001"/>
              <a:gd name="connsiteX38" fmla="*/ 831446 w 9595474"/>
              <a:gd name="connsiteY38" fmla="*/ 546419 h 6858001"/>
              <a:gd name="connsiteX39" fmla="*/ 837358 w 9595474"/>
              <a:gd name="connsiteY39" fmla="*/ 547371 h 6858001"/>
              <a:gd name="connsiteX40" fmla="*/ 842974 w 9595474"/>
              <a:gd name="connsiteY40" fmla="*/ 548641 h 6858001"/>
              <a:gd name="connsiteX41" fmla="*/ 848885 w 9595474"/>
              <a:gd name="connsiteY41" fmla="*/ 549911 h 6858001"/>
              <a:gd name="connsiteX42" fmla="*/ 854501 w 9595474"/>
              <a:gd name="connsiteY42" fmla="*/ 551816 h 6858001"/>
              <a:gd name="connsiteX43" fmla="*/ 860117 w 9595474"/>
              <a:gd name="connsiteY43" fmla="*/ 554039 h 6858001"/>
              <a:gd name="connsiteX44" fmla="*/ 865733 w 9595474"/>
              <a:gd name="connsiteY44" fmla="*/ 556579 h 6858001"/>
              <a:gd name="connsiteX45" fmla="*/ 871053 w 9595474"/>
              <a:gd name="connsiteY45" fmla="*/ 558801 h 6858001"/>
              <a:gd name="connsiteX46" fmla="*/ 876373 w 9595474"/>
              <a:gd name="connsiteY46" fmla="*/ 562294 h 6858001"/>
              <a:gd name="connsiteX47" fmla="*/ 881398 w 9595474"/>
              <a:gd name="connsiteY47" fmla="*/ 565469 h 6858001"/>
              <a:gd name="connsiteX48" fmla="*/ 886718 w 9595474"/>
              <a:gd name="connsiteY48" fmla="*/ 568961 h 6858001"/>
              <a:gd name="connsiteX49" fmla="*/ 891447 w 9595474"/>
              <a:gd name="connsiteY49" fmla="*/ 572454 h 6858001"/>
              <a:gd name="connsiteX50" fmla="*/ 896177 w 9595474"/>
              <a:gd name="connsiteY50" fmla="*/ 576899 h 6858001"/>
              <a:gd name="connsiteX51" fmla="*/ 900906 w 9595474"/>
              <a:gd name="connsiteY51" fmla="*/ 581344 h 6858001"/>
              <a:gd name="connsiteX52" fmla="*/ 1431459 w 9595474"/>
              <a:gd name="connsiteY52" fmla="*/ 1111569 h 6858001"/>
              <a:gd name="connsiteX53" fmla="*/ 2394731 w 9595474"/>
              <a:gd name="connsiteY53" fmla="*/ 2074864 h 6858001"/>
              <a:gd name="connsiteX54" fmla="*/ 2399164 w 9595474"/>
              <a:gd name="connsiteY54" fmla="*/ 2079309 h 6858001"/>
              <a:gd name="connsiteX55" fmla="*/ 2404189 w 9595474"/>
              <a:gd name="connsiteY55" fmla="*/ 2083436 h 6858001"/>
              <a:gd name="connsiteX56" fmla="*/ 2408918 w 9595474"/>
              <a:gd name="connsiteY56" fmla="*/ 2087246 h 6858001"/>
              <a:gd name="connsiteX57" fmla="*/ 2413943 w 9595474"/>
              <a:gd name="connsiteY57" fmla="*/ 2090739 h 6858001"/>
              <a:gd name="connsiteX58" fmla="*/ 2419263 w 9595474"/>
              <a:gd name="connsiteY58" fmla="*/ 2093914 h 6858001"/>
              <a:gd name="connsiteX59" fmla="*/ 2424583 w 9595474"/>
              <a:gd name="connsiteY59" fmla="*/ 2096771 h 6858001"/>
              <a:gd name="connsiteX60" fmla="*/ 2430199 w 9595474"/>
              <a:gd name="connsiteY60" fmla="*/ 2099629 h 6858001"/>
              <a:gd name="connsiteX61" fmla="*/ 2435520 w 9595474"/>
              <a:gd name="connsiteY61" fmla="*/ 2101851 h 6858001"/>
              <a:gd name="connsiteX62" fmla="*/ 2441136 w 9595474"/>
              <a:gd name="connsiteY62" fmla="*/ 2104074 h 6858001"/>
              <a:gd name="connsiteX63" fmla="*/ 2447047 w 9595474"/>
              <a:gd name="connsiteY63" fmla="*/ 2105661 h 6858001"/>
              <a:gd name="connsiteX64" fmla="*/ 2452663 w 9595474"/>
              <a:gd name="connsiteY64" fmla="*/ 2107566 h 6858001"/>
              <a:gd name="connsiteX65" fmla="*/ 2458574 w 9595474"/>
              <a:gd name="connsiteY65" fmla="*/ 2108519 h 6858001"/>
              <a:gd name="connsiteX66" fmla="*/ 2464190 w 9595474"/>
              <a:gd name="connsiteY66" fmla="*/ 2109789 h 6858001"/>
              <a:gd name="connsiteX67" fmla="*/ 2469806 w 9595474"/>
              <a:gd name="connsiteY67" fmla="*/ 2110424 h 6858001"/>
              <a:gd name="connsiteX68" fmla="*/ 2476013 w 9595474"/>
              <a:gd name="connsiteY68" fmla="*/ 2110741 h 6858001"/>
              <a:gd name="connsiteX69" fmla="*/ 2481925 w 9595474"/>
              <a:gd name="connsiteY69" fmla="*/ 2111059 h 6858001"/>
              <a:gd name="connsiteX70" fmla="*/ 2487836 w 9595474"/>
              <a:gd name="connsiteY70" fmla="*/ 2110741 h 6858001"/>
              <a:gd name="connsiteX71" fmla="*/ 2493747 w 9595474"/>
              <a:gd name="connsiteY71" fmla="*/ 2110424 h 6858001"/>
              <a:gd name="connsiteX72" fmla="*/ 2499363 w 9595474"/>
              <a:gd name="connsiteY72" fmla="*/ 2109789 h 6858001"/>
              <a:gd name="connsiteX73" fmla="*/ 2505570 w 9595474"/>
              <a:gd name="connsiteY73" fmla="*/ 2108519 h 6858001"/>
              <a:gd name="connsiteX74" fmla="*/ 2511186 w 9595474"/>
              <a:gd name="connsiteY74" fmla="*/ 2107566 h 6858001"/>
              <a:gd name="connsiteX75" fmla="*/ 2517098 w 9595474"/>
              <a:gd name="connsiteY75" fmla="*/ 2105661 h 6858001"/>
              <a:gd name="connsiteX76" fmla="*/ 2522714 w 9595474"/>
              <a:gd name="connsiteY76" fmla="*/ 2104074 h 6858001"/>
              <a:gd name="connsiteX77" fmla="*/ 2528034 w 9595474"/>
              <a:gd name="connsiteY77" fmla="*/ 2101851 h 6858001"/>
              <a:gd name="connsiteX78" fmla="*/ 2533945 w 9595474"/>
              <a:gd name="connsiteY78" fmla="*/ 2099629 h 6858001"/>
              <a:gd name="connsiteX79" fmla="*/ 2539266 w 9595474"/>
              <a:gd name="connsiteY79" fmla="*/ 2096771 h 6858001"/>
              <a:gd name="connsiteX80" fmla="*/ 2544290 w 9595474"/>
              <a:gd name="connsiteY80" fmla="*/ 2093914 h 6858001"/>
              <a:gd name="connsiteX81" fmla="*/ 2549611 w 9595474"/>
              <a:gd name="connsiteY81" fmla="*/ 2090739 h 6858001"/>
              <a:gd name="connsiteX82" fmla="*/ 2554635 w 9595474"/>
              <a:gd name="connsiteY82" fmla="*/ 2087246 h 6858001"/>
              <a:gd name="connsiteX83" fmla="*/ 2559660 w 9595474"/>
              <a:gd name="connsiteY83" fmla="*/ 2083436 h 6858001"/>
              <a:gd name="connsiteX84" fmla="*/ 2564389 w 9595474"/>
              <a:gd name="connsiteY84" fmla="*/ 2079309 h 6858001"/>
              <a:gd name="connsiteX85" fmla="*/ 2569119 w 9595474"/>
              <a:gd name="connsiteY85" fmla="*/ 2074864 h 6858001"/>
              <a:gd name="connsiteX86" fmla="*/ 2573257 w 9595474"/>
              <a:gd name="connsiteY86" fmla="*/ 2070101 h 6858001"/>
              <a:gd name="connsiteX87" fmla="*/ 2577395 w 9595474"/>
              <a:gd name="connsiteY87" fmla="*/ 2065656 h 6858001"/>
              <a:gd name="connsiteX88" fmla="*/ 2581237 w 9595474"/>
              <a:gd name="connsiteY88" fmla="*/ 2060576 h 6858001"/>
              <a:gd name="connsiteX89" fmla="*/ 2584784 w 9595474"/>
              <a:gd name="connsiteY89" fmla="*/ 2055496 h 6858001"/>
              <a:gd name="connsiteX90" fmla="*/ 2588035 w 9595474"/>
              <a:gd name="connsiteY90" fmla="*/ 2050416 h 6858001"/>
              <a:gd name="connsiteX91" fmla="*/ 2590991 w 9595474"/>
              <a:gd name="connsiteY91" fmla="*/ 2045019 h 6858001"/>
              <a:gd name="connsiteX92" fmla="*/ 2593651 w 9595474"/>
              <a:gd name="connsiteY92" fmla="*/ 2039621 h 6858001"/>
              <a:gd name="connsiteX93" fmla="*/ 2596016 w 9595474"/>
              <a:gd name="connsiteY93" fmla="*/ 2034224 h 6858001"/>
              <a:gd name="connsiteX94" fmla="*/ 2598085 w 9595474"/>
              <a:gd name="connsiteY94" fmla="*/ 2028509 h 6858001"/>
              <a:gd name="connsiteX95" fmla="*/ 2599858 w 9595474"/>
              <a:gd name="connsiteY95" fmla="*/ 2022794 h 6858001"/>
              <a:gd name="connsiteX96" fmla="*/ 2601336 w 9595474"/>
              <a:gd name="connsiteY96" fmla="*/ 2017079 h 6858001"/>
              <a:gd name="connsiteX97" fmla="*/ 2602814 w 9595474"/>
              <a:gd name="connsiteY97" fmla="*/ 2011364 h 6858001"/>
              <a:gd name="connsiteX98" fmla="*/ 2603996 w 9595474"/>
              <a:gd name="connsiteY98" fmla="*/ 2005649 h 6858001"/>
              <a:gd name="connsiteX99" fmla="*/ 2604587 w 9595474"/>
              <a:gd name="connsiteY99" fmla="*/ 1999616 h 6858001"/>
              <a:gd name="connsiteX100" fmla="*/ 2604883 w 9595474"/>
              <a:gd name="connsiteY100" fmla="*/ 1993584 h 6858001"/>
              <a:gd name="connsiteX101" fmla="*/ 2604883 w 9595474"/>
              <a:gd name="connsiteY101" fmla="*/ 1987551 h 6858001"/>
              <a:gd name="connsiteX102" fmla="*/ 2604883 w 9595474"/>
              <a:gd name="connsiteY102" fmla="*/ 1981836 h 6858001"/>
              <a:gd name="connsiteX103" fmla="*/ 2604587 w 9595474"/>
              <a:gd name="connsiteY103" fmla="*/ 1976121 h 6858001"/>
              <a:gd name="connsiteX104" fmla="*/ 2603996 w 9595474"/>
              <a:gd name="connsiteY104" fmla="*/ 1970089 h 6858001"/>
              <a:gd name="connsiteX105" fmla="*/ 2602814 w 9595474"/>
              <a:gd name="connsiteY105" fmla="*/ 1964374 h 6858001"/>
              <a:gd name="connsiteX106" fmla="*/ 2601336 w 9595474"/>
              <a:gd name="connsiteY106" fmla="*/ 1958659 h 6858001"/>
              <a:gd name="connsiteX107" fmla="*/ 2599858 w 9595474"/>
              <a:gd name="connsiteY107" fmla="*/ 1952626 h 6858001"/>
              <a:gd name="connsiteX108" fmla="*/ 2598085 w 9595474"/>
              <a:gd name="connsiteY108" fmla="*/ 1946911 h 6858001"/>
              <a:gd name="connsiteX109" fmla="*/ 2596016 w 9595474"/>
              <a:gd name="connsiteY109" fmla="*/ 1941196 h 6858001"/>
              <a:gd name="connsiteX110" fmla="*/ 2593651 w 9595474"/>
              <a:gd name="connsiteY110" fmla="*/ 1935799 h 6858001"/>
              <a:gd name="connsiteX111" fmla="*/ 2590991 w 9595474"/>
              <a:gd name="connsiteY111" fmla="*/ 1930401 h 6858001"/>
              <a:gd name="connsiteX112" fmla="*/ 2588035 w 9595474"/>
              <a:gd name="connsiteY112" fmla="*/ 1925004 h 6858001"/>
              <a:gd name="connsiteX113" fmla="*/ 2584784 w 9595474"/>
              <a:gd name="connsiteY113" fmla="*/ 1919924 h 6858001"/>
              <a:gd name="connsiteX114" fmla="*/ 2581237 w 9595474"/>
              <a:gd name="connsiteY114" fmla="*/ 1915161 h 6858001"/>
              <a:gd name="connsiteX115" fmla="*/ 2577395 w 9595474"/>
              <a:gd name="connsiteY115" fmla="*/ 1910081 h 6858001"/>
              <a:gd name="connsiteX116" fmla="*/ 2573257 w 9595474"/>
              <a:gd name="connsiteY116" fmla="*/ 1905319 h 6858001"/>
              <a:gd name="connsiteX117" fmla="*/ 2569119 w 9595474"/>
              <a:gd name="connsiteY117" fmla="*/ 1900556 h 6858001"/>
              <a:gd name="connsiteX118" fmla="*/ 1590477 w 9595474"/>
              <a:gd name="connsiteY118" fmla="*/ 922021 h 6858001"/>
              <a:gd name="connsiteX119" fmla="*/ 1272736 w 9595474"/>
              <a:gd name="connsiteY119" fmla="*/ 604204 h 6858001"/>
              <a:gd name="connsiteX120" fmla="*/ 1268303 w 9595474"/>
              <a:gd name="connsiteY120" fmla="*/ 599441 h 6858001"/>
              <a:gd name="connsiteX121" fmla="*/ 1264165 w 9595474"/>
              <a:gd name="connsiteY121" fmla="*/ 594996 h 6858001"/>
              <a:gd name="connsiteX122" fmla="*/ 1260322 w 9595474"/>
              <a:gd name="connsiteY122" fmla="*/ 589916 h 6858001"/>
              <a:gd name="connsiteX123" fmla="*/ 1256776 w 9595474"/>
              <a:gd name="connsiteY123" fmla="*/ 584836 h 6858001"/>
              <a:gd name="connsiteX124" fmla="*/ 1253524 w 9595474"/>
              <a:gd name="connsiteY124" fmla="*/ 579756 h 6858001"/>
              <a:gd name="connsiteX125" fmla="*/ 1250864 w 9595474"/>
              <a:gd name="connsiteY125" fmla="*/ 574359 h 6858001"/>
              <a:gd name="connsiteX126" fmla="*/ 1247908 w 9595474"/>
              <a:gd name="connsiteY126" fmla="*/ 568961 h 6858001"/>
              <a:gd name="connsiteX127" fmla="*/ 1245839 w 9595474"/>
              <a:gd name="connsiteY127" fmla="*/ 563564 h 6858001"/>
              <a:gd name="connsiteX128" fmla="*/ 1243475 w 9595474"/>
              <a:gd name="connsiteY128" fmla="*/ 557849 h 6858001"/>
              <a:gd name="connsiteX129" fmla="*/ 1241701 w 9595474"/>
              <a:gd name="connsiteY129" fmla="*/ 552134 h 6858001"/>
              <a:gd name="connsiteX130" fmla="*/ 1239928 w 9595474"/>
              <a:gd name="connsiteY130" fmla="*/ 546419 h 6858001"/>
              <a:gd name="connsiteX131" fmla="*/ 1238746 w 9595474"/>
              <a:gd name="connsiteY131" fmla="*/ 540704 h 6858001"/>
              <a:gd name="connsiteX132" fmla="*/ 1237859 w 9595474"/>
              <a:gd name="connsiteY132" fmla="*/ 534989 h 6858001"/>
              <a:gd name="connsiteX133" fmla="*/ 1236972 w 9595474"/>
              <a:gd name="connsiteY133" fmla="*/ 528639 h 6858001"/>
              <a:gd name="connsiteX134" fmla="*/ 1236677 w 9595474"/>
              <a:gd name="connsiteY134" fmla="*/ 522924 h 6858001"/>
              <a:gd name="connsiteX135" fmla="*/ 1236381 w 9595474"/>
              <a:gd name="connsiteY135" fmla="*/ 516891 h 6858001"/>
              <a:gd name="connsiteX136" fmla="*/ 1236677 w 9595474"/>
              <a:gd name="connsiteY136" fmla="*/ 511176 h 6858001"/>
              <a:gd name="connsiteX137" fmla="*/ 1236972 w 9595474"/>
              <a:gd name="connsiteY137" fmla="*/ 505461 h 6858001"/>
              <a:gd name="connsiteX138" fmla="*/ 1237859 w 9595474"/>
              <a:gd name="connsiteY138" fmla="*/ 499429 h 6858001"/>
              <a:gd name="connsiteX139" fmla="*/ 1238746 w 9595474"/>
              <a:gd name="connsiteY139" fmla="*/ 493714 h 6858001"/>
              <a:gd name="connsiteX140" fmla="*/ 1239928 w 9595474"/>
              <a:gd name="connsiteY140" fmla="*/ 487681 h 6858001"/>
              <a:gd name="connsiteX141" fmla="*/ 1241701 w 9595474"/>
              <a:gd name="connsiteY141" fmla="*/ 481966 h 6858001"/>
              <a:gd name="connsiteX142" fmla="*/ 1243475 w 9595474"/>
              <a:gd name="connsiteY142" fmla="*/ 476251 h 6858001"/>
              <a:gd name="connsiteX143" fmla="*/ 1245839 w 9595474"/>
              <a:gd name="connsiteY143" fmla="*/ 470536 h 6858001"/>
              <a:gd name="connsiteX144" fmla="*/ 1247908 w 9595474"/>
              <a:gd name="connsiteY144" fmla="*/ 465139 h 6858001"/>
              <a:gd name="connsiteX145" fmla="*/ 1250864 w 9595474"/>
              <a:gd name="connsiteY145" fmla="*/ 459741 h 6858001"/>
              <a:gd name="connsiteX146" fmla="*/ 1253524 w 9595474"/>
              <a:gd name="connsiteY146" fmla="*/ 454344 h 6858001"/>
              <a:gd name="connsiteX147" fmla="*/ 1256776 w 9595474"/>
              <a:gd name="connsiteY147" fmla="*/ 449264 h 6858001"/>
              <a:gd name="connsiteX148" fmla="*/ 1260322 w 9595474"/>
              <a:gd name="connsiteY148" fmla="*/ 444501 h 6858001"/>
              <a:gd name="connsiteX149" fmla="*/ 1264165 w 9595474"/>
              <a:gd name="connsiteY149" fmla="*/ 439421 h 6858001"/>
              <a:gd name="connsiteX150" fmla="*/ 1268303 w 9595474"/>
              <a:gd name="connsiteY150" fmla="*/ 434659 h 6858001"/>
              <a:gd name="connsiteX151" fmla="*/ 1272736 w 9595474"/>
              <a:gd name="connsiteY151" fmla="*/ 429896 h 6858001"/>
              <a:gd name="connsiteX152" fmla="*/ 1277466 w 9595474"/>
              <a:gd name="connsiteY152" fmla="*/ 425769 h 6858001"/>
              <a:gd name="connsiteX153" fmla="*/ 1281899 w 9595474"/>
              <a:gd name="connsiteY153" fmla="*/ 421324 h 6858001"/>
              <a:gd name="connsiteX154" fmla="*/ 1286924 w 9595474"/>
              <a:gd name="connsiteY154" fmla="*/ 417831 h 6858001"/>
              <a:gd name="connsiteX155" fmla="*/ 1291949 w 9595474"/>
              <a:gd name="connsiteY155" fmla="*/ 414339 h 6858001"/>
              <a:gd name="connsiteX156" fmla="*/ 1296973 w 9595474"/>
              <a:gd name="connsiteY156" fmla="*/ 410846 h 6858001"/>
              <a:gd name="connsiteX157" fmla="*/ 1302589 w 9595474"/>
              <a:gd name="connsiteY157" fmla="*/ 407989 h 6858001"/>
              <a:gd name="connsiteX158" fmla="*/ 1307910 w 9595474"/>
              <a:gd name="connsiteY158" fmla="*/ 405131 h 6858001"/>
              <a:gd name="connsiteX159" fmla="*/ 1313230 w 9595474"/>
              <a:gd name="connsiteY159" fmla="*/ 402909 h 6858001"/>
              <a:gd name="connsiteX160" fmla="*/ 1318846 w 9595474"/>
              <a:gd name="connsiteY160" fmla="*/ 401004 h 6858001"/>
              <a:gd name="connsiteX161" fmla="*/ 1324757 w 9595474"/>
              <a:gd name="connsiteY161" fmla="*/ 399099 h 6858001"/>
              <a:gd name="connsiteX162" fmla="*/ 1330373 w 9595474"/>
              <a:gd name="connsiteY162" fmla="*/ 397194 h 6858001"/>
              <a:gd name="connsiteX163" fmla="*/ 1336285 w 9595474"/>
              <a:gd name="connsiteY163" fmla="*/ 396241 h 6858001"/>
              <a:gd name="connsiteX164" fmla="*/ 1341901 w 9595474"/>
              <a:gd name="connsiteY164" fmla="*/ 395289 h 6858001"/>
              <a:gd name="connsiteX165" fmla="*/ 1348108 w 9595474"/>
              <a:gd name="connsiteY165" fmla="*/ 394336 h 6858001"/>
              <a:gd name="connsiteX166" fmla="*/ 1353723 w 9595474"/>
              <a:gd name="connsiteY166" fmla="*/ 394019 h 6858001"/>
              <a:gd name="connsiteX167" fmla="*/ 1359930 w 9595474"/>
              <a:gd name="connsiteY167" fmla="*/ 393701 h 6858001"/>
              <a:gd name="connsiteX168" fmla="*/ 1365546 w 9595474"/>
              <a:gd name="connsiteY168" fmla="*/ 394019 h 6858001"/>
              <a:gd name="connsiteX169" fmla="*/ 1371458 w 9595474"/>
              <a:gd name="connsiteY169" fmla="*/ 394336 h 6858001"/>
              <a:gd name="connsiteX170" fmla="*/ 1377665 w 9595474"/>
              <a:gd name="connsiteY170" fmla="*/ 395289 h 6858001"/>
              <a:gd name="connsiteX171" fmla="*/ 1383281 w 9595474"/>
              <a:gd name="connsiteY171" fmla="*/ 396241 h 6858001"/>
              <a:gd name="connsiteX172" fmla="*/ 1388897 w 9595474"/>
              <a:gd name="connsiteY172" fmla="*/ 397194 h 6858001"/>
              <a:gd name="connsiteX173" fmla="*/ 1394808 w 9595474"/>
              <a:gd name="connsiteY173" fmla="*/ 399099 h 6858001"/>
              <a:gd name="connsiteX174" fmla="*/ 1400424 w 9595474"/>
              <a:gd name="connsiteY174" fmla="*/ 401004 h 6858001"/>
              <a:gd name="connsiteX175" fmla="*/ 1406335 w 9595474"/>
              <a:gd name="connsiteY175" fmla="*/ 402909 h 6858001"/>
              <a:gd name="connsiteX176" fmla="*/ 1411656 w 9595474"/>
              <a:gd name="connsiteY176" fmla="*/ 405131 h 6858001"/>
              <a:gd name="connsiteX177" fmla="*/ 1416976 w 9595474"/>
              <a:gd name="connsiteY177" fmla="*/ 407989 h 6858001"/>
              <a:gd name="connsiteX178" fmla="*/ 1422296 w 9595474"/>
              <a:gd name="connsiteY178" fmla="*/ 410846 h 6858001"/>
              <a:gd name="connsiteX179" fmla="*/ 1427617 w 9595474"/>
              <a:gd name="connsiteY179" fmla="*/ 414339 h 6858001"/>
              <a:gd name="connsiteX180" fmla="*/ 1432641 w 9595474"/>
              <a:gd name="connsiteY180" fmla="*/ 417831 h 6858001"/>
              <a:gd name="connsiteX181" fmla="*/ 1437666 w 9595474"/>
              <a:gd name="connsiteY181" fmla="*/ 421324 h 6858001"/>
              <a:gd name="connsiteX182" fmla="*/ 1442100 w 9595474"/>
              <a:gd name="connsiteY182" fmla="*/ 425769 h 6858001"/>
              <a:gd name="connsiteX183" fmla="*/ 1446829 w 9595474"/>
              <a:gd name="connsiteY183" fmla="*/ 429896 h 6858001"/>
              <a:gd name="connsiteX184" fmla="*/ 1907036 w 9595474"/>
              <a:gd name="connsiteY184" fmla="*/ 890271 h 6858001"/>
              <a:gd name="connsiteX185" fmla="*/ 2165662 w 9595474"/>
              <a:gd name="connsiteY185" fmla="*/ 1148716 h 6858001"/>
              <a:gd name="connsiteX186" fmla="*/ 2170391 w 9595474"/>
              <a:gd name="connsiteY186" fmla="*/ 1153161 h 6858001"/>
              <a:gd name="connsiteX187" fmla="*/ 2175416 w 9595474"/>
              <a:gd name="connsiteY187" fmla="*/ 1157289 h 6858001"/>
              <a:gd name="connsiteX188" fmla="*/ 2180145 w 9595474"/>
              <a:gd name="connsiteY188" fmla="*/ 1161099 h 6858001"/>
              <a:gd name="connsiteX189" fmla="*/ 2185170 w 9595474"/>
              <a:gd name="connsiteY189" fmla="*/ 1164591 h 6858001"/>
              <a:gd name="connsiteX190" fmla="*/ 2190490 w 9595474"/>
              <a:gd name="connsiteY190" fmla="*/ 1167766 h 6858001"/>
              <a:gd name="connsiteX191" fmla="*/ 2195810 w 9595474"/>
              <a:gd name="connsiteY191" fmla="*/ 1170624 h 6858001"/>
              <a:gd name="connsiteX192" fmla="*/ 2201130 w 9595474"/>
              <a:gd name="connsiteY192" fmla="*/ 1173481 h 6858001"/>
              <a:gd name="connsiteX193" fmla="*/ 2206746 w 9595474"/>
              <a:gd name="connsiteY193" fmla="*/ 1176021 h 6858001"/>
              <a:gd name="connsiteX194" fmla="*/ 2212362 w 9595474"/>
              <a:gd name="connsiteY194" fmla="*/ 1177926 h 6858001"/>
              <a:gd name="connsiteX195" fmla="*/ 2217683 w 9595474"/>
              <a:gd name="connsiteY195" fmla="*/ 1180149 h 6858001"/>
              <a:gd name="connsiteX196" fmla="*/ 2223594 w 9595474"/>
              <a:gd name="connsiteY196" fmla="*/ 1181419 h 6858001"/>
              <a:gd name="connsiteX197" fmla="*/ 2229505 w 9595474"/>
              <a:gd name="connsiteY197" fmla="*/ 1182689 h 6858001"/>
              <a:gd name="connsiteX198" fmla="*/ 2235417 w 9595474"/>
              <a:gd name="connsiteY198" fmla="*/ 1183641 h 6858001"/>
              <a:gd name="connsiteX199" fmla="*/ 2241033 w 9595474"/>
              <a:gd name="connsiteY199" fmla="*/ 1184276 h 6858001"/>
              <a:gd name="connsiteX200" fmla="*/ 2247240 w 9595474"/>
              <a:gd name="connsiteY200" fmla="*/ 1184594 h 6858001"/>
              <a:gd name="connsiteX201" fmla="*/ 2252856 w 9595474"/>
              <a:gd name="connsiteY201" fmla="*/ 1185229 h 6858001"/>
              <a:gd name="connsiteX202" fmla="*/ 2259063 w 9595474"/>
              <a:gd name="connsiteY202" fmla="*/ 1184594 h 6858001"/>
              <a:gd name="connsiteX203" fmla="*/ 2264679 w 9595474"/>
              <a:gd name="connsiteY203" fmla="*/ 1184276 h 6858001"/>
              <a:gd name="connsiteX204" fmla="*/ 2270590 w 9595474"/>
              <a:gd name="connsiteY204" fmla="*/ 1183641 h 6858001"/>
              <a:gd name="connsiteX205" fmla="*/ 2276797 w 9595474"/>
              <a:gd name="connsiteY205" fmla="*/ 1182689 h 6858001"/>
              <a:gd name="connsiteX206" fmla="*/ 2282413 w 9595474"/>
              <a:gd name="connsiteY206" fmla="*/ 1181419 h 6858001"/>
              <a:gd name="connsiteX207" fmla="*/ 2288029 w 9595474"/>
              <a:gd name="connsiteY207" fmla="*/ 1180149 h 6858001"/>
              <a:gd name="connsiteX208" fmla="*/ 2293940 w 9595474"/>
              <a:gd name="connsiteY208" fmla="*/ 1177926 h 6858001"/>
              <a:gd name="connsiteX209" fmla="*/ 2299261 w 9595474"/>
              <a:gd name="connsiteY209" fmla="*/ 1176021 h 6858001"/>
              <a:gd name="connsiteX210" fmla="*/ 2304581 w 9595474"/>
              <a:gd name="connsiteY210" fmla="*/ 1173481 h 6858001"/>
              <a:gd name="connsiteX211" fmla="*/ 2310492 w 9595474"/>
              <a:gd name="connsiteY211" fmla="*/ 1170624 h 6858001"/>
              <a:gd name="connsiteX212" fmla="*/ 2315517 w 9595474"/>
              <a:gd name="connsiteY212" fmla="*/ 1167766 h 6858001"/>
              <a:gd name="connsiteX213" fmla="*/ 2320837 w 9595474"/>
              <a:gd name="connsiteY213" fmla="*/ 1164591 h 6858001"/>
              <a:gd name="connsiteX214" fmla="*/ 2325862 w 9595474"/>
              <a:gd name="connsiteY214" fmla="*/ 1161099 h 6858001"/>
              <a:gd name="connsiteX215" fmla="*/ 2330887 w 9595474"/>
              <a:gd name="connsiteY215" fmla="*/ 1157289 h 6858001"/>
              <a:gd name="connsiteX216" fmla="*/ 2335616 w 9595474"/>
              <a:gd name="connsiteY216" fmla="*/ 1153161 h 6858001"/>
              <a:gd name="connsiteX217" fmla="*/ 2340345 w 9595474"/>
              <a:gd name="connsiteY217" fmla="*/ 1148716 h 6858001"/>
              <a:gd name="connsiteX218" fmla="*/ 2344483 w 9595474"/>
              <a:gd name="connsiteY218" fmla="*/ 1144271 h 6858001"/>
              <a:gd name="connsiteX219" fmla="*/ 2348621 w 9595474"/>
              <a:gd name="connsiteY219" fmla="*/ 1139509 h 6858001"/>
              <a:gd name="connsiteX220" fmla="*/ 2352464 w 9595474"/>
              <a:gd name="connsiteY220" fmla="*/ 1134429 h 6858001"/>
              <a:gd name="connsiteX221" fmla="*/ 2356011 w 9595474"/>
              <a:gd name="connsiteY221" fmla="*/ 1129349 h 6858001"/>
              <a:gd name="connsiteX222" fmla="*/ 2359262 w 9595474"/>
              <a:gd name="connsiteY222" fmla="*/ 1124269 h 6858001"/>
              <a:gd name="connsiteX223" fmla="*/ 2362218 w 9595474"/>
              <a:gd name="connsiteY223" fmla="*/ 1118871 h 6858001"/>
              <a:gd name="connsiteX224" fmla="*/ 2364582 w 9595474"/>
              <a:gd name="connsiteY224" fmla="*/ 1113474 h 6858001"/>
              <a:gd name="connsiteX225" fmla="*/ 2367242 w 9595474"/>
              <a:gd name="connsiteY225" fmla="*/ 1108076 h 6858001"/>
              <a:gd name="connsiteX226" fmla="*/ 2369311 w 9595474"/>
              <a:gd name="connsiteY226" fmla="*/ 1102361 h 6858001"/>
              <a:gd name="connsiteX227" fmla="*/ 2371085 w 9595474"/>
              <a:gd name="connsiteY227" fmla="*/ 1096646 h 6858001"/>
              <a:gd name="connsiteX228" fmla="*/ 2372563 w 9595474"/>
              <a:gd name="connsiteY228" fmla="*/ 1090931 h 6858001"/>
              <a:gd name="connsiteX229" fmla="*/ 2374041 w 9595474"/>
              <a:gd name="connsiteY229" fmla="*/ 1085216 h 6858001"/>
              <a:gd name="connsiteX230" fmla="*/ 2375223 w 9595474"/>
              <a:gd name="connsiteY230" fmla="*/ 1079501 h 6858001"/>
              <a:gd name="connsiteX231" fmla="*/ 2375814 w 9595474"/>
              <a:gd name="connsiteY231" fmla="*/ 1073786 h 6858001"/>
              <a:gd name="connsiteX232" fmla="*/ 2376110 w 9595474"/>
              <a:gd name="connsiteY232" fmla="*/ 1067754 h 6858001"/>
              <a:gd name="connsiteX233" fmla="*/ 2376110 w 9595474"/>
              <a:gd name="connsiteY233" fmla="*/ 1061721 h 6858001"/>
              <a:gd name="connsiteX234" fmla="*/ 2376110 w 9595474"/>
              <a:gd name="connsiteY234" fmla="*/ 1055689 h 6858001"/>
              <a:gd name="connsiteX235" fmla="*/ 2375814 w 9595474"/>
              <a:gd name="connsiteY235" fmla="*/ 1049974 h 6858001"/>
              <a:gd name="connsiteX236" fmla="*/ 2375223 w 9595474"/>
              <a:gd name="connsiteY236" fmla="*/ 1043941 h 6858001"/>
              <a:gd name="connsiteX237" fmla="*/ 2374041 w 9595474"/>
              <a:gd name="connsiteY237" fmla="*/ 1038226 h 6858001"/>
              <a:gd name="connsiteX238" fmla="*/ 2372563 w 9595474"/>
              <a:gd name="connsiteY238" fmla="*/ 1032511 h 6858001"/>
              <a:gd name="connsiteX239" fmla="*/ 2371085 w 9595474"/>
              <a:gd name="connsiteY239" fmla="*/ 1026796 h 6858001"/>
              <a:gd name="connsiteX240" fmla="*/ 2369311 w 9595474"/>
              <a:gd name="connsiteY240" fmla="*/ 1021081 h 6858001"/>
              <a:gd name="connsiteX241" fmla="*/ 2367242 w 9595474"/>
              <a:gd name="connsiteY241" fmla="*/ 1015684 h 6858001"/>
              <a:gd name="connsiteX242" fmla="*/ 2364582 w 9595474"/>
              <a:gd name="connsiteY242" fmla="*/ 1009651 h 6858001"/>
              <a:gd name="connsiteX243" fmla="*/ 2362218 w 9595474"/>
              <a:gd name="connsiteY243" fmla="*/ 1004254 h 6858001"/>
              <a:gd name="connsiteX244" fmla="*/ 2359262 w 9595474"/>
              <a:gd name="connsiteY244" fmla="*/ 998856 h 6858001"/>
              <a:gd name="connsiteX245" fmla="*/ 2356011 w 9595474"/>
              <a:gd name="connsiteY245" fmla="*/ 994094 h 6858001"/>
              <a:gd name="connsiteX246" fmla="*/ 2352464 w 9595474"/>
              <a:gd name="connsiteY246" fmla="*/ 989014 h 6858001"/>
              <a:gd name="connsiteX247" fmla="*/ 2348621 w 9595474"/>
              <a:gd name="connsiteY247" fmla="*/ 983934 h 6858001"/>
              <a:gd name="connsiteX248" fmla="*/ 2344483 w 9595474"/>
              <a:gd name="connsiteY248" fmla="*/ 979171 h 6858001"/>
              <a:gd name="connsiteX249" fmla="*/ 2340345 w 9595474"/>
              <a:gd name="connsiteY249" fmla="*/ 974726 h 6858001"/>
              <a:gd name="connsiteX250" fmla="*/ 2240737 w 9595474"/>
              <a:gd name="connsiteY250" fmla="*/ 875031 h 6858001"/>
              <a:gd name="connsiteX251" fmla="*/ 1991865 w 9595474"/>
              <a:gd name="connsiteY251" fmla="*/ 626429 h 6858001"/>
              <a:gd name="connsiteX252" fmla="*/ 1987431 w 9595474"/>
              <a:gd name="connsiteY252" fmla="*/ 621666 h 6858001"/>
              <a:gd name="connsiteX253" fmla="*/ 1983589 w 9595474"/>
              <a:gd name="connsiteY253" fmla="*/ 616904 h 6858001"/>
              <a:gd name="connsiteX254" fmla="*/ 1979451 w 9595474"/>
              <a:gd name="connsiteY254" fmla="*/ 612141 h 6858001"/>
              <a:gd name="connsiteX255" fmla="*/ 1975904 w 9595474"/>
              <a:gd name="connsiteY255" fmla="*/ 607061 h 6858001"/>
              <a:gd name="connsiteX256" fmla="*/ 1972653 w 9595474"/>
              <a:gd name="connsiteY256" fmla="*/ 601664 h 6858001"/>
              <a:gd name="connsiteX257" fmla="*/ 1969993 w 9595474"/>
              <a:gd name="connsiteY257" fmla="*/ 596266 h 6858001"/>
              <a:gd name="connsiteX258" fmla="*/ 1967037 w 9595474"/>
              <a:gd name="connsiteY258" fmla="*/ 590869 h 6858001"/>
              <a:gd name="connsiteX259" fmla="*/ 1964968 w 9595474"/>
              <a:gd name="connsiteY259" fmla="*/ 585471 h 6858001"/>
              <a:gd name="connsiteX260" fmla="*/ 1962603 w 9595474"/>
              <a:gd name="connsiteY260" fmla="*/ 579756 h 6858001"/>
              <a:gd name="connsiteX261" fmla="*/ 1960830 w 9595474"/>
              <a:gd name="connsiteY261" fmla="*/ 574359 h 6858001"/>
              <a:gd name="connsiteX262" fmla="*/ 1959056 w 9595474"/>
              <a:gd name="connsiteY262" fmla="*/ 568644 h 6858001"/>
              <a:gd name="connsiteX263" fmla="*/ 1958170 w 9595474"/>
              <a:gd name="connsiteY263" fmla="*/ 562611 h 6858001"/>
              <a:gd name="connsiteX264" fmla="*/ 1956987 w 9595474"/>
              <a:gd name="connsiteY264" fmla="*/ 556896 h 6858001"/>
              <a:gd name="connsiteX265" fmla="*/ 1956396 w 9595474"/>
              <a:gd name="connsiteY265" fmla="*/ 551181 h 6858001"/>
              <a:gd name="connsiteX266" fmla="*/ 1955805 w 9595474"/>
              <a:gd name="connsiteY266" fmla="*/ 544831 h 6858001"/>
              <a:gd name="connsiteX267" fmla="*/ 1955805 w 9595474"/>
              <a:gd name="connsiteY267" fmla="*/ 539116 h 6858001"/>
              <a:gd name="connsiteX268" fmla="*/ 1955805 w 9595474"/>
              <a:gd name="connsiteY268" fmla="*/ 533084 h 6858001"/>
              <a:gd name="connsiteX269" fmla="*/ 1956396 w 9595474"/>
              <a:gd name="connsiteY269" fmla="*/ 527369 h 6858001"/>
              <a:gd name="connsiteX270" fmla="*/ 1956987 w 9595474"/>
              <a:gd name="connsiteY270" fmla="*/ 521654 h 6858001"/>
              <a:gd name="connsiteX271" fmla="*/ 1958170 w 9595474"/>
              <a:gd name="connsiteY271" fmla="*/ 515621 h 6858001"/>
              <a:gd name="connsiteX272" fmla="*/ 1959056 w 9595474"/>
              <a:gd name="connsiteY272" fmla="*/ 509589 h 6858001"/>
              <a:gd name="connsiteX273" fmla="*/ 1960830 w 9595474"/>
              <a:gd name="connsiteY273" fmla="*/ 503874 h 6858001"/>
              <a:gd name="connsiteX274" fmla="*/ 1962603 w 9595474"/>
              <a:gd name="connsiteY274" fmla="*/ 498159 h 6858001"/>
              <a:gd name="connsiteX275" fmla="*/ 1964968 w 9595474"/>
              <a:gd name="connsiteY275" fmla="*/ 492761 h 6858001"/>
              <a:gd name="connsiteX276" fmla="*/ 1967037 w 9595474"/>
              <a:gd name="connsiteY276" fmla="*/ 487364 h 6858001"/>
              <a:gd name="connsiteX277" fmla="*/ 1969993 w 9595474"/>
              <a:gd name="connsiteY277" fmla="*/ 481649 h 6858001"/>
              <a:gd name="connsiteX278" fmla="*/ 1972653 w 9595474"/>
              <a:gd name="connsiteY278" fmla="*/ 476569 h 6858001"/>
              <a:gd name="connsiteX279" fmla="*/ 1975904 w 9595474"/>
              <a:gd name="connsiteY279" fmla="*/ 471171 h 6858001"/>
              <a:gd name="connsiteX280" fmla="*/ 1979451 w 9595474"/>
              <a:gd name="connsiteY280" fmla="*/ 466409 h 6858001"/>
              <a:gd name="connsiteX281" fmla="*/ 1983589 w 9595474"/>
              <a:gd name="connsiteY281" fmla="*/ 461329 h 6858001"/>
              <a:gd name="connsiteX282" fmla="*/ 1987431 w 9595474"/>
              <a:gd name="connsiteY282" fmla="*/ 456566 h 6858001"/>
              <a:gd name="connsiteX283" fmla="*/ 1991865 w 9595474"/>
              <a:gd name="connsiteY283" fmla="*/ 451804 h 6858001"/>
              <a:gd name="connsiteX284" fmla="*/ 1996594 w 9595474"/>
              <a:gd name="connsiteY284" fmla="*/ 447676 h 6858001"/>
              <a:gd name="connsiteX285" fmla="*/ 2001028 w 9595474"/>
              <a:gd name="connsiteY285" fmla="*/ 443549 h 6858001"/>
              <a:gd name="connsiteX286" fmla="*/ 2006052 w 9595474"/>
              <a:gd name="connsiteY286" fmla="*/ 439739 h 6858001"/>
              <a:gd name="connsiteX287" fmla="*/ 2011077 w 9595474"/>
              <a:gd name="connsiteY287" fmla="*/ 436246 h 6858001"/>
              <a:gd name="connsiteX288" fmla="*/ 2016102 w 9595474"/>
              <a:gd name="connsiteY288" fmla="*/ 432754 h 6858001"/>
              <a:gd name="connsiteX289" fmla="*/ 2021718 w 9595474"/>
              <a:gd name="connsiteY289" fmla="*/ 429896 h 6858001"/>
              <a:gd name="connsiteX290" fmla="*/ 2027038 w 9595474"/>
              <a:gd name="connsiteY290" fmla="*/ 427356 h 6858001"/>
              <a:gd name="connsiteX291" fmla="*/ 2032654 w 9595474"/>
              <a:gd name="connsiteY291" fmla="*/ 424816 h 6858001"/>
              <a:gd name="connsiteX292" fmla="*/ 2038270 w 9595474"/>
              <a:gd name="connsiteY292" fmla="*/ 422911 h 6858001"/>
              <a:gd name="connsiteX293" fmla="*/ 2043886 w 9595474"/>
              <a:gd name="connsiteY293" fmla="*/ 421006 h 6858001"/>
              <a:gd name="connsiteX294" fmla="*/ 2049502 w 9595474"/>
              <a:gd name="connsiteY294" fmla="*/ 419736 h 6858001"/>
              <a:gd name="connsiteX295" fmla="*/ 2055413 w 9595474"/>
              <a:gd name="connsiteY295" fmla="*/ 418149 h 6858001"/>
              <a:gd name="connsiteX296" fmla="*/ 2061029 w 9595474"/>
              <a:gd name="connsiteY296" fmla="*/ 417196 h 6858001"/>
              <a:gd name="connsiteX297" fmla="*/ 2067236 w 9595474"/>
              <a:gd name="connsiteY297" fmla="*/ 416244 h 6858001"/>
              <a:gd name="connsiteX298" fmla="*/ 2072852 w 9595474"/>
              <a:gd name="connsiteY298" fmla="*/ 415926 h 6858001"/>
              <a:gd name="connsiteX299" fmla="*/ 2079059 w 9595474"/>
              <a:gd name="connsiteY299" fmla="*/ 415926 h 6858001"/>
              <a:gd name="connsiteX300" fmla="*/ 2084970 w 9595474"/>
              <a:gd name="connsiteY300" fmla="*/ 415926 h 6858001"/>
              <a:gd name="connsiteX301" fmla="*/ 2090882 w 9595474"/>
              <a:gd name="connsiteY301" fmla="*/ 416244 h 6858001"/>
              <a:gd name="connsiteX302" fmla="*/ 2096793 w 9595474"/>
              <a:gd name="connsiteY302" fmla="*/ 417196 h 6858001"/>
              <a:gd name="connsiteX303" fmla="*/ 2102409 w 9595474"/>
              <a:gd name="connsiteY303" fmla="*/ 418149 h 6858001"/>
              <a:gd name="connsiteX304" fmla="*/ 2108321 w 9595474"/>
              <a:gd name="connsiteY304" fmla="*/ 419736 h 6858001"/>
              <a:gd name="connsiteX305" fmla="*/ 2113936 w 9595474"/>
              <a:gd name="connsiteY305" fmla="*/ 421006 h 6858001"/>
              <a:gd name="connsiteX306" fmla="*/ 2119552 w 9595474"/>
              <a:gd name="connsiteY306" fmla="*/ 422911 h 6858001"/>
              <a:gd name="connsiteX307" fmla="*/ 2125464 w 9595474"/>
              <a:gd name="connsiteY307" fmla="*/ 424816 h 6858001"/>
              <a:gd name="connsiteX308" fmla="*/ 2130784 w 9595474"/>
              <a:gd name="connsiteY308" fmla="*/ 427356 h 6858001"/>
              <a:gd name="connsiteX309" fmla="*/ 2136104 w 9595474"/>
              <a:gd name="connsiteY309" fmla="*/ 429896 h 6858001"/>
              <a:gd name="connsiteX310" fmla="*/ 2141720 w 9595474"/>
              <a:gd name="connsiteY310" fmla="*/ 432754 h 6858001"/>
              <a:gd name="connsiteX311" fmla="*/ 2146745 w 9595474"/>
              <a:gd name="connsiteY311" fmla="*/ 436246 h 6858001"/>
              <a:gd name="connsiteX312" fmla="*/ 2152065 w 9595474"/>
              <a:gd name="connsiteY312" fmla="*/ 439739 h 6858001"/>
              <a:gd name="connsiteX313" fmla="*/ 2156795 w 9595474"/>
              <a:gd name="connsiteY313" fmla="*/ 443549 h 6858001"/>
              <a:gd name="connsiteX314" fmla="*/ 2161819 w 9595474"/>
              <a:gd name="connsiteY314" fmla="*/ 447676 h 6858001"/>
              <a:gd name="connsiteX315" fmla="*/ 2165957 w 9595474"/>
              <a:gd name="connsiteY315" fmla="*/ 451804 h 6858001"/>
              <a:gd name="connsiteX316" fmla="*/ 2966073 w 9595474"/>
              <a:gd name="connsiteY316" fmla="*/ 1251904 h 6858001"/>
              <a:gd name="connsiteX317" fmla="*/ 5612631 w 9595474"/>
              <a:gd name="connsiteY317" fmla="*/ 3898584 h 6858001"/>
              <a:gd name="connsiteX318" fmla="*/ 5617360 w 9595474"/>
              <a:gd name="connsiteY318" fmla="*/ 3903346 h 6858001"/>
              <a:gd name="connsiteX319" fmla="*/ 5621498 w 9595474"/>
              <a:gd name="connsiteY319" fmla="*/ 3908426 h 6858001"/>
              <a:gd name="connsiteX320" fmla="*/ 5625341 w 9595474"/>
              <a:gd name="connsiteY320" fmla="*/ 3913506 h 6858001"/>
              <a:gd name="connsiteX321" fmla="*/ 5628888 w 9595474"/>
              <a:gd name="connsiteY321" fmla="*/ 3918586 h 6858001"/>
              <a:gd name="connsiteX322" fmla="*/ 5632139 w 9595474"/>
              <a:gd name="connsiteY322" fmla="*/ 3923349 h 6858001"/>
              <a:gd name="connsiteX323" fmla="*/ 5635094 w 9595474"/>
              <a:gd name="connsiteY323" fmla="*/ 3928746 h 6858001"/>
              <a:gd name="connsiteX324" fmla="*/ 5638050 w 9595474"/>
              <a:gd name="connsiteY324" fmla="*/ 3934461 h 6858001"/>
              <a:gd name="connsiteX325" fmla="*/ 5640415 w 9595474"/>
              <a:gd name="connsiteY325" fmla="*/ 3939859 h 6858001"/>
              <a:gd name="connsiteX326" fmla="*/ 5642484 w 9595474"/>
              <a:gd name="connsiteY326" fmla="*/ 3945891 h 6858001"/>
              <a:gd name="connsiteX327" fmla="*/ 5644257 w 9595474"/>
              <a:gd name="connsiteY327" fmla="*/ 3951606 h 6858001"/>
              <a:gd name="connsiteX328" fmla="*/ 5645735 w 9595474"/>
              <a:gd name="connsiteY328" fmla="*/ 3957321 h 6858001"/>
              <a:gd name="connsiteX329" fmla="*/ 5647213 w 9595474"/>
              <a:gd name="connsiteY329" fmla="*/ 3963354 h 6858001"/>
              <a:gd name="connsiteX330" fmla="*/ 5648100 w 9595474"/>
              <a:gd name="connsiteY330" fmla="*/ 3969069 h 6858001"/>
              <a:gd name="connsiteX331" fmla="*/ 5648691 w 9595474"/>
              <a:gd name="connsiteY331" fmla="*/ 3975101 h 6858001"/>
              <a:gd name="connsiteX332" fmla="*/ 5649282 w 9595474"/>
              <a:gd name="connsiteY332" fmla="*/ 3980816 h 6858001"/>
              <a:gd name="connsiteX333" fmla="*/ 5649282 w 9595474"/>
              <a:gd name="connsiteY333" fmla="*/ 3987166 h 6858001"/>
              <a:gd name="connsiteX334" fmla="*/ 5649282 w 9595474"/>
              <a:gd name="connsiteY334" fmla="*/ 3992881 h 6858001"/>
              <a:gd name="connsiteX335" fmla="*/ 5648691 w 9595474"/>
              <a:gd name="connsiteY335" fmla="*/ 3998914 h 6858001"/>
              <a:gd name="connsiteX336" fmla="*/ 5648100 w 9595474"/>
              <a:gd name="connsiteY336" fmla="*/ 4004946 h 6858001"/>
              <a:gd name="connsiteX337" fmla="*/ 5647213 w 9595474"/>
              <a:gd name="connsiteY337" fmla="*/ 4010661 h 6858001"/>
              <a:gd name="connsiteX338" fmla="*/ 5645735 w 9595474"/>
              <a:gd name="connsiteY338" fmla="*/ 4016376 h 6858001"/>
              <a:gd name="connsiteX339" fmla="*/ 5644257 w 9595474"/>
              <a:gd name="connsiteY339" fmla="*/ 4022726 h 6858001"/>
              <a:gd name="connsiteX340" fmla="*/ 5642484 w 9595474"/>
              <a:gd name="connsiteY340" fmla="*/ 4028441 h 6858001"/>
              <a:gd name="connsiteX341" fmla="*/ 5640415 w 9595474"/>
              <a:gd name="connsiteY341" fmla="*/ 4033839 h 6858001"/>
              <a:gd name="connsiteX342" fmla="*/ 5638050 w 9595474"/>
              <a:gd name="connsiteY342" fmla="*/ 4039554 h 6858001"/>
              <a:gd name="connsiteX343" fmla="*/ 5635094 w 9595474"/>
              <a:gd name="connsiteY343" fmla="*/ 4044951 h 6858001"/>
              <a:gd name="connsiteX344" fmla="*/ 5632139 w 9595474"/>
              <a:gd name="connsiteY344" fmla="*/ 4050349 h 6858001"/>
              <a:gd name="connsiteX345" fmla="*/ 5628888 w 9595474"/>
              <a:gd name="connsiteY345" fmla="*/ 4055746 h 6858001"/>
              <a:gd name="connsiteX346" fmla="*/ 5625341 w 9595474"/>
              <a:gd name="connsiteY346" fmla="*/ 4060826 h 6858001"/>
              <a:gd name="connsiteX347" fmla="*/ 5621498 w 9595474"/>
              <a:gd name="connsiteY347" fmla="*/ 4065589 h 6858001"/>
              <a:gd name="connsiteX348" fmla="*/ 5617360 w 9595474"/>
              <a:gd name="connsiteY348" fmla="*/ 4070351 h 6858001"/>
              <a:gd name="connsiteX349" fmla="*/ 5612631 w 9595474"/>
              <a:gd name="connsiteY349" fmla="*/ 4075114 h 6858001"/>
              <a:gd name="connsiteX350" fmla="*/ 5608198 w 9595474"/>
              <a:gd name="connsiteY350" fmla="*/ 4079876 h 6858001"/>
              <a:gd name="connsiteX351" fmla="*/ 5603468 w 9595474"/>
              <a:gd name="connsiteY351" fmla="*/ 4083686 h 6858001"/>
              <a:gd name="connsiteX352" fmla="*/ 5598443 w 9595474"/>
              <a:gd name="connsiteY352" fmla="*/ 4087496 h 6858001"/>
              <a:gd name="connsiteX353" fmla="*/ 5593419 w 9595474"/>
              <a:gd name="connsiteY353" fmla="*/ 4091306 h 6858001"/>
              <a:gd name="connsiteX354" fmla="*/ 5588098 w 9595474"/>
              <a:gd name="connsiteY354" fmla="*/ 4094481 h 6858001"/>
              <a:gd name="connsiteX355" fmla="*/ 5582482 w 9595474"/>
              <a:gd name="connsiteY355" fmla="*/ 4097339 h 6858001"/>
              <a:gd name="connsiteX356" fmla="*/ 5577162 w 9595474"/>
              <a:gd name="connsiteY356" fmla="*/ 4100196 h 6858001"/>
              <a:gd name="connsiteX357" fmla="*/ 5571842 w 9595474"/>
              <a:gd name="connsiteY357" fmla="*/ 4102419 h 6858001"/>
              <a:gd name="connsiteX358" fmla="*/ 5565931 w 9595474"/>
              <a:gd name="connsiteY358" fmla="*/ 4104641 h 6858001"/>
              <a:gd name="connsiteX359" fmla="*/ 5560315 w 9595474"/>
              <a:gd name="connsiteY359" fmla="*/ 4106546 h 6858001"/>
              <a:gd name="connsiteX360" fmla="*/ 5554699 w 9595474"/>
              <a:gd name="connsiteY360" fmla="*/ 4108134 h 6858001"/>
              <a:gd name="connsiteX361" fmla="*/ 5548492 w 9595474"/>
              <a:gd name="connsiteY361" fmla="*/ 4109404 h 6858001"/>
              <a:gd name="connsiteX362" fmla="*/ 5542580 w 9595474"/>
              <a:gd name="connsiteY362" fmla="*/ 4110356 h 6858001"/>
              <a:gd name="connsiteX363" fmla="*/ 5536669 w 9595474"/>
              <a:gd name="connsiteY363" fmla="*/ 4110991 h 6858001"/>
              <a:gd name="connsiteX364" fmla="*/ 5530758 w 9595474"/>
              <a:gd name="connsiteY364" fmla="*/ 4111309 h 6858001"/>
              <a:gd name="connsiteX365" fmla="*/ 5524846 w 9595474"/>
              <a:gd name="connsiteY365" fmla="*/ 4111626 h 6858001"/>
              <a:gd name="connsiteX366" fmla="*/ 5518639 w 9595474"/>
              <a:gd name="connsiteY366" fmla="*/ 4111309 h 6858001"/>
              <a:gd name="connsiteX367" fmla="*/ 5513023 w 9595474"/>
              <a:gd name="connsiteY367" fmla="*/ 4110991 h 6858001"/>
              <a:gd name="connsiteX368" fmla="*/ 5506816 w 9595474"/>
              <a:gd name="connsiteY368" fmla="*/ 4110356 h 6858001"/>
              <a:gd name="connsiteX369" fmla="*/ 5501200 w 9595474"/>
              <a:gd name="connsiteY369" fmla="*/ 4109404 h 6858001"/>
              <a:gd name="connsiteX370" fmla="*/ 5494993 w 9595474"/>
              <a:gd name="connsiteY370" fmla="*/ 4108134 h 6858001"/>
              <a:gd name="connsiteX371" fmla="*/ 5489081 w 9595474"/>
              <a:gd name="connsiteY371" fmla="*/ 4106546 h 6858001"/>
              <a:gd name="connsiteX372" fmla="*/ 5483466 w 9595474"/>
              <a:gd name="connsiteY372" fmla="*/ 4104641 h 6858001"/>
              <a:gd name="connsiteX373" fmla="*/ 5477850 w 9595474"/>
              <a:gd name="connsiteY373" fmla="*/ 4102419 h 6858001"/>
              <a:gd name="connsiteX374" fmla="*/ 5472234 w 9595474"/>
              <a:gd name="connsiteY374" fmla="*/ 4100196 h 6858001"/>
              <a:gd name="connsiteX375" fmla="*/ 5466913 w 9595474"/>
              <a:gd name="connsiteY375" fmla="*/ 4097339 h 6858001"/>
              <a:gd name="connsiteX376" fmla="*/ 5461593 w 9595474"/>
              <a:gd name="connsiteY376" fmla="*/ 4094481 h 6858001"/>
              <a:gd name="connsiteX377" fmla="*/ 5456273 w 9595474"/>
              <a:gd name="connsiteY377" fmla="*/ 4091306 h 6858001"/>
              <a:gd name="connsiteX378" fmla="*/ 5451248 w 9595474"/>
              <a:gd name="connsiteY378" fmla="*/ 4087496 h 6858001"/>
              <a:gd name="connsiteX379" fmla="*/ 5446223 w 9595474"/>
              <a:gd name="connsiteY379" fmla="*/ 4083686 h 6858001"/>
              <a:gd name="connsiteX380" fmla="*/ 5441495 w 9595474"/>
              <a:gd name="connsiteY380" fmla="*/ 4079876 h 6858001"/>
              <a:gd name="connsiteX381" fmla="*/ 5436765 w 9595474"/>
              <a:gd name="connsiteY381" fmla="*/ 4075114 h 6858001"/>
              <a:gd name="connsiteX382" fmla="*/ 5322379 w 9595474"/>
              <a:gd name="connsiteY382" fmla="*/ 3960814 h 6858001"/>
              <a:gd name="connsiteX383" fmla="*/ 5317945 w 9595474"/>
              <a:gd name="connsiteY383" fmla="*/ 3956369 h 6858001"/>
              <a:gd name="connsiteX384" fmla="*/ 5312921 w 9595474"/>
              <a:gd name="connsiteY384" fmla="*/ 3952241 h 6858001"/>
              <a:gd name="connsiteX385" fmla="*/ 5307896 w 9595474"/>
              <a:gd name="connsiteY385" fmla="*/ 3948749 h 6858001"/>
              <a:gd name="connsiteX386" fmla="*/ 5302871 w 9595474"/>
              <a:gd name="connsiteY386" fmla="*/ 3944939 h 6858001"/>
              <a:gd name="connsiteX387" fmla="*/ 5297255 w 9595474"/>
              <a:gd name="connsiteY387" fmla="*/ 3941764 h 6858001"/>
              <a:gd name="connsiteX388" fmla="*/ 5292230 w 9595474"/>
              <a:gd name="connsiteY388" fmla="*/ 3938589 h 6858001"/>
              <a:gd name="connsiteX389" fmla="*/ 5286615 w 9595474"/>
              <a:gd name="connsiteY389" fmla="*/ 3936049 h 6858001"/>
              <a:gd name="connsiteX390" fmla="*/ 5281294 w 9595474"/>
              <a:gd name="connsiteY390" fmla="*/ 3933509 h 6858001"/>
              <a:gd name="connsiteX391" fmla="*/ 5275383 w 9595474"/>
              <a:gd name="connsiteY391" fmla="*/ 3931286 h 6858001"/>
              <a:gd name="connsiteX392" fmla="*/ 5269767 w 9595474"/>
              <a:gd name="connsiteY392" fmla="*/ 3929699 h 6858001"/>
              <a:gd name="connsiteX393" fmla="*/ 5263855 w 9595474"/>
              <a:gd name="connsiteY393" fmla="*/ 3927794 h 6858001"/>
              <a:gd name="connsiteX394" fmla="*/ 5257944 w 9595474"/>
              <a:gd name="connsiteY394" fmla="*/ 3926841 h 6858001"/>
              <a:gd name="connsiteX395" fmla="*/ 5252033 w 9595474"/>
              <a:gd name="connsiteY395" fmla="*/ 3925571 h 6858001"/>
              <a:gd name="connsiteX396" fmla="*/ 5246121 w 9595474"/>
              <a:gd name="connsiteY396" fmla="*/ 3924936 h 6858001"/>
              <a:gd name="connsiteX397" fmla="*/ 5240210 w 9595474"/>
              <a:gd name="connsiteY397" fmla="*/ 3924619 h 6858001"/>
              <a:gd name="connsiteX398" fmla="*/ 5234298 w 9595474"/>
              <a:gd name="connsiteY398" fmla="*/ 3924619 h 6858001"/>
              <a:gd name="connsiteX399" fmla="*/ 5228091 w 9595474"/>
              <a:gd name="connsiteY399" fmla="*/ 3924619 h 6858001"/>
              <a:gd name="connsiteX400" fmla="*/ 5222180 w 9595474"/>
              <a:gd name="connsiteY400" fmla="*/ 3924936 h 6858001"/>
              <a:gd name="connsiteX401" fmla="*/ 5216268 w 9595474"/>
              <a:gd name="connsiteY401" fmla="*/ 3925571 h 6858001"/>
              <a:gd name="connsiteX402" fmla="*/ 5210357 w 9595474"/>
              <a:gd name="connsiteY402" fmla="*/ 3926841 h 6858001"/>
              <a:gd name="connsiteX403" fmla="*/ 5204741 w 9595474"/>
              <a:gd name="connsiteY403" fmla="*/ 3927794 h 6858001"/>
              <a:gd name="connsiteX404" fmla="*/ 5198534 w 9595474"/>
              <a:gd name="connsiteY404" fmla="*/ 3929699 h 6858001"/>
              <a:gd name="connsiteX405" fmla="*/ 5192918 w 9595474"/>
              <a:gd name="connsiteY405" fmla="*/ 3931286 h 6858001"/>
              <a:gd name="connsiteX406" fmla="*/ 5187598 w 9595474"/>
              <a:gd name="connsiteY406" fmla="*/ 3933509 h 6858001"/>
              <a:gd name="connsiteX407" fmla="*/ 5181686 w 9595474"/>
              <a:gd name="connsiteY407" fmla="*/ 3936049 h 6858001"/>
              <a:gd name="connsiteX408" fmla="*/ 5176366 w 9595474"/>
              <a:gd name="connsiteY408" fmla="*/ 3938589 h 6858001"/>
              <a:gd name="connsiteX409" fmla="*/ 5171046 w 9595474"/>
              <a:gd name="connsiteY409" fmla="*/ 3941764 h 6858001"/>
              <a:gd name="connsiteX410" fmla="*/ 5165430 w 9595474"/>
              <a:gd name="connsiteY410" fmla="*/ 3944939 h 6858001"/>
              <a:gd name="connsiteX411" fmla="*/ 5160405 w 9595474"/>
              <a:gd name="connsiteY411" fmla="*/ 3948749 h 6858001"/>
              <a:gd name="connsiteX412" fmla="*/ 5155380 w 9595474"/>
              <a:gd name="connsiteY412" fmla="*/ 3952241 h 6858001"/>
              <a:gd name="connsiteX413" fmla="*/ 5150947 w 9595474"/>
              <a:gd name="connsiteY413" fmla="*/ 3956369 h 6858001"/>
              <a:gd name="connsiteX414" fmla="*/ 5146218 w 9595474"/>
              <a:gd name="connsiteY414" fmla="*/ 3960814 h 6858001"/>
              <a:gd name="connsiteX415" fmla="*/ 5141488 w 9595474"/>
              <a:gd name="connsiteY415" fmla="*/ 3965576 h 6858001"/>
              <a:gd name="connsiteX416" fmla="*/ 5137646 w 9595474"/>
              <a:gd name="connsiteY416" fmla="*/ 3970656 h 6858001"/>
              <a:gd name="connsiteX417" fmla="*/ 5133508 w 9595474"/>
              <a:gd name="connsiteY417" fmla="*/ 3975101 h 6858001"/>
              <a:gd name="connsiteX418" fmla="*/ 5129961 w 9595474"/>
              <a:gd name="connsiteY418" fmla="*/ 3980499 h 6858001"/>
              <a:gd name="connsiteX419" fmla="*/ 5126710 w 9595474"/>
              <a:gd name="connsiteY419" fmla="*/ 3985579 h 6858001"/>
              <a:gd name="connsiteX420" fmla="*/ 5123754 w 9595474"/>
              <a:gd name="connsiteY420" fmla="*/ 3990976 h 6858001"/>
              <a:gd name="connsiteX421" fmla="*/ 5121094 w 9595474"/>
              <a:gd name="connsiteY421" fmla="*/ 3996374 h 6858001"/>
              <a:gd name="connsiteX422" fmla="*/ 5118729 w 9595474"/>
              <a:gd name="connsiteY422" fmla="*/ 4002089 h 6858001"/>
              <a:gd name="connsiteX423" fmla="*/ 5116660 w 9595474"/>
              <a:gd name="connsiteY423" fmla="*/ 4007804 h 6858001"/>
              <a:gd name="connsiteX424" fmla="*/ 5114591 w 9595474"/>
              <a:gd name="connsiteY424" fmla="*/ 4013519 h 6858001"/>
              <a:gd name="connsiteX425" fmla="*/ 5113113 w 9595474"/>
              <a:gd name="connsiteY425" fmla="*/ 4019234 h 6858001"/>
              <a:gd name="connsiteX426" fmla="*/ 5111636 w 9595474"/>
              <a:gd name="connsiteY426" fmla="*/ 4025266 h 6858001"/>
              <a:gd name="connsiteX427" fmla="*/ 5111044 w 9595474"/>
              <a:gd name="connsiteY427" fmla="*/ 4031299 h 6858001"/>
              <a:gd name="connsiteX428" fmla="*/ 5110158 w 9595474"/>
              <a:gd name="connsiteY428" fmla="*/ 4037014 h 6858001"/>
              <a:gd name="connsiteX429" fmla="*/ 5109862 w 9595474"/>
              <a:gd name="connsiteY429" fmla="*/ 4043046 h 6858001"/>
              <a:gd name="connsiteX430" fmla="*/ 5109567 w 9595474"/>
              <a:gd name="connsiteY430" fmla="*/ 4049079 h 6858001"/>
              <a:gd name="connsiteX431" fmla="*/ 5109862 w 9595474"/>
              <a:gd name="connsiteY431" fmla="*/ 4055111 h 6858001"/>
              <a:gd name="connsiteX432" fmla="*/ 5110158 w 9595474"/>
              <a:gd name="connsiteY432" fmla="*/ 4061144 h 6858001"/>
              <a:gd name="connsiteX433" fmla="*/ 5111044 w 9595474"/>
              <a:gd name="connsiteY433" fmla="*/ 4066859 h 6858001"/>
              <a:gd name="connsiteX434" fmla="*/ 5111636 w 9595474"/>
              <a:gd name="connsiteY434" fmla="*/ 4072891 h 6858001"/>
              <a:gd name="connsiteX435" fmla="*/ 5113113 w 9595474"/>
              <a:gd name="connsiteY435" fmla="*/ 4078606 h 6858001"/>
              <a:gd name="connsiteX436" fmla="*/ 5114591 w 9595474"/>
              <a:gd name="connsiteY436" fmla="*/ 4084321 h 6858001"/>
              <a:gd name="connsiteX437" fmla="*/ 5116660 w 9595474"/>
              <a:gd name="connsiteY437" fmla="*/ 4090036 h 6858001"/>
              <a:gd name="connsiteX438" fmla="*/ 5118729 w 9595474"/>
              <a:gd name="connsiteY438" fmla="*/ 4095751 h 6858001"/>
              <a:gd name="connsiteX439" fmla="*/ 5121094 w 9595474"/>
              <a:gd name="connsiteY439" fmla="*/ 4101784 h 6858001"/>
              <a:gd name="connsiteX440" fmla="*/ 5123754 w 9595474"/>
              <a:gd name="connsiteY440" fmla="*/ 4107181 h 6858001"/>
              <a:gd name="connsiteX441" fmla="*/ 5126710 w 9595474"/>
              <a:gd name="connsiteY441" fmla="*/ 4112579 h 6858001"/>
              <a:gd name="connsiteX442" fmla="*/ 5129961 w 9595474"/>
              <a:gd name="connsiteY442" fmla="*/ 4117976 h 6858001"/>
              <a:gd name="connsiteX443" fmla="*/ 5133508 w 9595474"/>
              <a:gd name="connsiteY443" fmla="*/ 4122739 h 6858001"/>
              <a:gd name="connsiteX444" fmla="*/ 5137646 w 9595474"/>
              <a:gd name="connsiteY444" fmla="*/ 4127819 h 6858001"/>
              <a:gd name="connsiteX445" fmla="*/ 5141488 w 9595474"/>
              <a:gd name="connsiteY445" fmla="*/ 4132581 h 6858001"/>
              <a:gd name="connsiteX446" fmla="*/ 5146218 w 9595474"/>
              <a:gd name="connsiteY446" fmla="*/ 4137344 h 6858001"/>
              <a:gd name="connsiteX447" fmla="*/ 5870075 w 9595474"/>
              <a:gd name="connsiteY447" fmla="*/ 4860926 h 6858001"/>
              <a:gd name="connsiteX448" fmla="*/ 5874509 w 9595474"/>
              <a:gd name="connsiteY448" fmla="*/ 4865689 h 6858001"/>
              <a:gd name="connsiteX449" fmla="*/ 5878646 w 9595474"/>
              <a:gd name="connsiteY449" fmla="*/ 4870769 h 6858001"/>
              <a:gd name="connsiteX450" fmla="*/ 5882489 w 9595474"/>
              <a:gd name="connsiteY450" fmla="*/ 4875849 h 6858001"/>
              <a:gd name="connsiteX451" fmla="*/ 5886036 w 9595474"/>
              <a:gd name="connsiteY451" fmla="*/ 4880929 h 6858001"/>
              <a:gd name="connsiteX452" fmla="*/ 5889287 w 9595474"/>
              <a:gd name="connsiteY452" fmla="*/ 4885691 h 6858001"/>
              <a:gd name="connsiteX453" fmla="*/ 5892243 w 9595474"/>
              <a:gd name="connsiteY453" fmla="*/ 4891089 h 6858001"/>
              <a:gd name="connsiteX454" fmla="*/ 5895199 w 9595474"/>
              <a:gd name="connsiteY454" fmla="*/ 4897121 h 6858001"/>
              <a:gd name="connsiteX455" fmla="*/ 5897268 w 9595474"/>
              <a:gd name="connsiteY455" fmla="*/ 4902519 h 6858001"/>
              <a:gd name="connsiteX456" fmla="*/ 5899336 w 9595474"/>
              <a:gd name="connsiteY456" fmla="*/ 4908234 h 6858001"/>
              <a:gd name="connsiteX457" fmla="*/ 5901701 w 9595474"/>
              <a:gd name="connsiteY457" fmla="*/ 4913949 h 6858001"/>
              <a:gd name="connsiteX458" fmla="*/ 5902883 w 9595474"/>
              <a:gd name="connsiteY458" fmla="*/ 4919664 h 6858001"/>
              <a:gd name="connsiteX459" fmla="*/ 5904066 w 9595474"/>
              <a:gd name="connsiteY459" fmla="*/ 4925696 h 6858001"/>
              <a:gd name="connsiteX460" fmla="*/ 5905248 w 9595474"/>
              <a:gd name="connsiteY460" fmla="*/ 4931411 h 6858001"/>
              <a:gd name="connsiteX461" fmla="*/ 5905840 w 9595474"/>
              <a:gd name="connsiteY461" fmla="*/ 4937444 h 6858001"/>
              <a:gd name="connsiteX462" fmla="*/ 5906135 w 9595474"/>
              <a:gd name="connsiteY462" fmla="*/ 4943476 h 6858001"/>
              <a:gd name="connsiteX463" fmla="*/ 5906726 w 9595474"/>
              <a:gd name="connsiteY463" fmla="*/ 4949509 h 6858001"/>
              <a:gd name="connsiteX464" fmla="*/ 5906135 w 9595474"/>
              <a:gd name="connsiteY464" fmla="*/ 4955224 h 6858001"/>
              <a:gd name="connsiteX465" fmla="*/ 5905840 w 9595474"/>
              <a:gd name="connsiteY465" fmla="*/ 4961256 h 6858001"/>
              <a:gd name="connsiteX466" fmla="*/ 5905248 w 9595474"/>
              <a:gd name="connsiteY466" fmla="*/ 4967289 h 6858001"/>
              <a:gd name="connsiteX467" fmla="*/ 5904066 w 9595474"/>
              <a:gd name="connsiteY467" fmla="*/ 4973004 h 6858001"/>
              <a:gd name="connsiteX468" fmla="*/ 5902883 w 9595474"/>
              <a:gd name="connsiteY468" fmla="*/ 4979036 h 6858001"/>
              <a:gd name="connsiteX469" fmla="*/ 5901701 w 9595474"/>
              <a:gd name="connsiteY469" fmla="*/ 4985069 h 6858001"/>
              <a:gd name="connsiteX470" fmla="*/ 5899336 w 9595474"/>
              <a:gd name="connsiteY470" fmla="*/ 4990784 h 6858001"/>
              <a:gd name="connsiteX471" fmla="*/ 5897268 w 9595474"/>
              <a:gd name="connsiteY471" fmla="*/ 4996181 h 6858001"/>
              <a:gd name="connsiteX472" fmla="*/ 5895199 w 9595474"/>
              <a:gd name="connsiteY472" fmla="*/ 5001896 h 6858001"/>
              <a:gd name="connsiteX473" fmla="*/ 5892243 w 9595474"/>
              <a:gd name="connsiteY473" fmla="*/ 5007294 h 6858001"/>
              <a:gd name="connsiteX474" fmla="*/ 5889287 w 9595474"/>
              <a:gd name="connsiteY474" fmla="*/ 5012691 h 6858001"/>
              <a:gd name="connsiteX475" fmla="*/ 5886036 w 9595474"/>
              <a:gd name="connsiteY475" fmla="*/ 5018089 h 6858001"/>
              <a:gd name="connsiteX476" fmla="*/ 5882489 w 9595474"/>
              <a:gd name="connsiteY476" fmla="*/ 5023169 h 6858001"/>
              <a:gd name="connsiteX477" fmla="*/ 5878646 w 9595474"/>
              <a:gd name="connsiteY477" fmla="*/ 5028249 h 6858001"/>
              <a:gd name="connsiteX478" fmla="*/ 5874509 w 9595474"/>
              <a:gd name="connsiteY478" fmla="*/ 5032694 h 6858001"/>
              <a:gd name="connsiteX479" fmla="*/ 5870075 w 9595474"/>
              <a:gd name="connsiteY479" fmla="*/ 5037456 h 6858001"/>
              <a:gd name="connsiteX480" fmla="*/ 5865346 w 9595474"/>
              <a:gd name="connsiteY480" fmla="*/ 5041901 h 6858001"/>
              <a:gd name="connsiteX481" fmla="*/ 5860617 w 9595474"/>
              <a:gd name="connsiteY481" fmla="*/ 5046029 h 6858001"/>
              <a:gd name="connsiteX482" fmla="*/ 5855592 w 9595474"/>
              <a:gd name="connsiteY482" fmla="*/ 5050156 h 6858001"/>
              <a:gd name="connsiteX483" fmla="*/ 5850567 w 9595474"/>
              <a:gd name="connsiteY483" fmla="*/ 5053649 h 6858001"/>
              <a:gd name="connsiteX484" fmla="*/ 5845247 w 9595474"/>
              <a:gd name="connsiteY484" fmla="*/ 5056824 h 6858001"/>
              <a:gd name="connsiteX485" fmla="*/ 5839926 w 9595474"/>
              <a:gd name="connsiteY485" fmla="*/ 5059681 h 6858001"/>
              <a:gd name="connsiteX486" fmla="*/ 5834311 w 9595474"/>
              <a:gd name="connsiteY486" fmla="*/ 5062539 h 6858001"/>
              <a:gd name="connsiteX487" fmla="*/ 5828695 w 9595474"/>
              <a:gd name="connsiteY487" fmla="*/ 5064761 h 6858001"/>
              <a:gd name="connsiteX488" fmla="*/ 5823375 w 9595474"/>
              <a:gd name="connsiteY488" fmla="*/ 5066984 h 6858001"/>
              <a:gd name="connsiteX489" fmla="*/ 5817463 w 9595474"/>
              <a:gd name="connsiteY489" fmla="*/ 5069206 h 6858001"/>
              <a:gd name="connsiteX490" fmla="*/ 5811552 w 9595474"/>
              <a:gd name="connsiteY490" fmla="*/ 5070476 h 6858001"/>
              <a:gd name="connsiteX491" fmla="*/ 5805640 w 9595474"/>
              <a:gd name="connsiteY491" fmla="*/ 5071429 h 6858001"/>
              <a:gd name="connsiteX492" fmla="*/ 5800024 w 9595474"/>
              <a:gd name="connsiteY492" fmla="*/ 5072699 h 6858001"/>
              <a:gd name="connsiteX493" fmla="*/ 5793817 w 9595474"/>
              <a:gd name="connsiteY493" fmla="*/ 5073334 h 6858001"/>
              <a:gd name="connsiteX494" fmla="*/ 5787610 w 9595474"/>
              <a:gd name="connsiteY494" fmla="*/ 5073651 h 6858001"/>
              <a:gd name="connsiteX495" fmla="*/ 5781994 w 9595474"/>
              <a:gd name="connsiteY495" fmla="*/ 5073969 h 6858001"/>
              <a:gd name="connsiteX496" fmla="*/ 5775787 w 9595474"/>
              <a:gd name="connsiteY496" fmla="*/ 5073651 h 6858001"/>
              <a:gd name="connsiteX497" fmla="*/ 5770171 w 9595474"/>
              <a:gd name="connsiteY497" fmla="*/ 5073334 h 6858001"/>
              <a:gd name="connsiteX498" fmla="*/ 5763965 w 9595474"/>
              <a:gd name="connsiteY498" fmla="*/ 5072699 h 6858001"/>
              <a:gd name="connsiteX499" fmla="*/ 5758349 w 9595474"/>
              <a:gd name="connsiteY499" fmla="*/ 5071429 h 6858001"/>
              <a:gd name="connsiteX500" fmla="*/ 5752141 w 9595474"/>
              <a:gd name="connsiteY500" fmla="*/ 5070476 h 6858001"/>
              <a:gd name="connsiteX501" fmla="*/ 5746526 w 9595474"/>
              <a:gd name="connsiteY501" fmla="*/ 5069206 h 6858001"/>
              <a:gd name="connsiteX502" fmla="*/ 5740614 w 9595474"/>
              <a:gd name="connsiteY502" fmla="*/ 5066984 h 6858001"/>
              <a:gd name="connsiteX503" fmla="*/ 5734998 w 9595474"/>
              <a:gd name="connsiteY503" fmla="*/ 5064761 h 6858001"/>
              <a:gd name="connsiteX504" fmla="*/ 5729382 w 9595474"/>
              <a:gd name="connsiteY504" fmla="*/ 5062539 h 6858001"/>
              <a:gd name="connsiteX505" fmla="*/ 5723767 w 9595474"/>
              <a:gd name="connsiteY505" fmla="*/ 5059681 h 6858001"/>
              <a:gd name="connsiteX506" fmla="*/ 5718446 w 9595474"/>
              <a:gd name="connsiteY506" fmla="*/ 5056824 h 6858001"/>
              <a:gd name="connsiteX507" fmla="*/ 5713421 w 9595474"/>
              <a:gd name="connsiteY507" fmla="*/ 5053649 h 6858001"/>
              <a:gd name="connsiteX508" fmla="*/ 5708396 w 9595474"/>
              <a:gd name="connsiteY508" fmla="*/ 5050156 h 6858001"/>
              <a:gd name="connsiteX509" fmla="*/ 5703372 w 9595474"/>
              <a:gd name="connsiteY509" fmla="*/ 5046029 h 6858001"/>
              <a:gd name="connsiteX510" fmla="*/ 5698347 w 9595474"/>
              <a:gd name="connsiteY510" fmla="*/ 5041901 h 6858001"/>
              <a:gd name="connsiteX511" fmla="*/ 5693618 w 9595474"/>
              <a:gd name="connsiteY511" fmla="*/ 5037456 h 6858001"/>
              <a:gd name="connsiteX512" fmla="*/ 5598148 w 9595474"/>
              <a:gd name="connsiteY512" fmla="*/ 4941889 h 6858001"/>
              <a:gd name="connsiteX513" fmla="*/ 5490560 w 9595474"/>
              <a:gd name="connsiteY513" fmla="*/ 4834574 h 6858001"/>
              <a:gd name="connsiteX514" fmla="*/ 5485830 w 9595474"/>
              <a:gd name="connsiteY514" fmla="*/ 4830129 h 6858001"/>
              <a:gd name="connsiteX515" fmla="*/ 5481397 w 9595474"/>
              <a:gd name="connsiteY515" fmla="*/ 4826001 h 6858001"/>
              <a:gd name="connsiteX516" fmla="*/ 5476372 w 9595474"/>
              <a:gd name="connsiteY516" fmla="*/ 4821874 h 6858001"/>
              <a:gd name="connsiteX517" fmla="*/ 5471348 w 9595474"/>
              <a:gd name="connsiteY517" fmla="*/ 4818381 h 6858001"/>
              <a:gd name="connsiteX518" fmla="*/ 5465732 w 9595474"/>
              <a:gd name="connsiteY518" fmla="*/ 4815206 h 6858001"/>
              <a:gd name="connsiteX519" fmla="*/ 5460411 w 9595474"/>
              <a:gd name="connsiteY519" fmla="*/ 4812349 h 6858001"/>
              <a:gd name="connsiteX520" fmla="*/ 5455091 w 9595474"/>
              <a:gd name="connsiteY520" fmla="*/ 4809174 h 6858001"/>
              <a:gd name="connsiteX521" fmla="*/ 5449475 w 9595474"/>
              <a:gd name="connsiteY521" fmla="*/ 4807269 h 6858001"/>
              <a:gd name="connsiteX522" fmla="*/ 5443563 w 9595474"/>
              <a:gd name="connsiteY522" fmla="*/ 4805046 h 6858001"/>
              <a:gd name="connsiteX523" fmla="*/ 5437948 w 9595474"/>
              <a:gd name="connsiteY523" fmla="*/ 4802824 h 6858001"/>
              <a:gd name="connsiteX524" fmla="*/ 5432036 w 9595474"/>
              <a:gd name="connsiteY524" fmla="*/ 4801554 h 6858001"/>
              <a:gd name="connsiteX525" fmla="*/ 5426420 w 9595474"/>
              <a:gd name="connsiteY525" fmla="*/ 4800284 h 6858001"/>
              <a:gd name="connsiteX526" fmla="*/ 5420509 w 9595474"/>
              <a:gd name="connsiteY526" fmla="*/ 4799331 h 6858001"/>
              <a:gd name="connsiteX527" fmla="*/ 5414597 w 9595474"/>
              <a:gd name="connsiteY527" fmla="*/ 4798696 h 6858001"/>
              <a:gd name="connsiteX528" fmla="*/ 5408391 w 9595474"/>
              <a:gd name="connsiteY528" fmla="*/ 4798061 h 6858001"/>
              <a:gd name="connsiteX529" fmla="*/ 5402775 w 9595474"/>
              <a:gd name="connsiteY529" fmla="*/ 4797744 h 6858001"/>
              <a:gd name="connsiteX530" fmla="*/ 5396568 w 9595474"/>
              <a:gd name="connsiteY530" fmla="*/ 4798061 h 6858001"/>
              <a:gd name="connsiteX531" fmla="*/ 5390361 w 9595474"/>
              <a:gd name="connsiteY531" fmla="*/ 4798696 h 6858001"/>
              <a:gd name="connsiteX532" fmla="*/ 5384745 w 9595474"/>
              <a:gd name="connsiteY532" fmla="*/ 4799331 h 6858001"/>
              <a:gd name="connsiteX533" fmla="*/ 5378538 w 9595474"/>
              <a:gd name="connsiteY533" fmla="*/ 4800284 h 6858001"/>
              <a:gd name="connsiteX534" fmla="*/ 5372922 w 9595474"/>
              <a:gd name="connsiteY534" fmla="*/ 4801554 h 6858001"/>
              <a:gd name="connsiteX535" fmla="*/ 5367010 w 9595474"/>
              <a:gd name="connsiteY535" fmla="*/ 4802824 h 6858001"/>
              <a:gd name="connsiteX536" fmla="*/ 5361394 w 9595474"/>
              <a:gd name="connsiteY536" fmla="*/ 4805046 h 6858001"/>
              <a:gd name="connsiteX537" fmla="*/ 5355483 w 9595474"/>
              <a:gd name="connsiteY537" fmla="*/ 4807269 h 6858001"/>
              <a:gd name="connsiteX538" fmla="*/ 5350163 w 9595474"/>
              <a:gd name="connsiteY538" fmla="*/ 4809174 h 6858001"/>
              <a:gd name="connsiteX539" fmla="*/ 5344547 w 9595474"/>
              <a:gd name="connsiteY539" fmla="*/ 4812349 h 6858001"/>
              <a:gd name="connsiteX540" fmla="*/ 5338931 w 9595474"/>
              <a:gd name="connsiteY540" fmla="*/ 4815206 h 6858001"/>
              <a:gd name="connsiteX541" fmla="*/ 5333906 w 9595474"/>
              <a:gd name="connsiteY541" fmla="*/ 4818381 h 6858001"/>
              <a:gd name="connsiteX542" fmla="*/ 5328881 w 9595474"/>
              <a:gd name="connsiteY542" fmla="*/ 4821874 h 6858001"/>
              <a:gd name="connsiteX543" fmla="*/ 5323857 w 9595474"/>
              <a:gd name="connsiteY543" fmla="*/ 4826001 h 6858001"/>
              <a:gd name="connsiteX544" fmla="*/ 5318832 w 9595474"/>
              <a:gd name="connsiteY544" fmla="*/ 4830129 h 6858001"/>
              <a:gd name="connsiteX545" fmla="*/ 5314398 w 9595474"/>
              <a:gd name="connsiteY545" fmla="*/ 4834574 h 6858001"/>
              <a:gd name="connsiteX546" fmla="*/ 5307305 w 9595474"/>
              <a:gd name="connsiteY546" fmla="*/ 4841876 h 6858001"/>
              <a:gd name="connsiteX547" fmla="*/ 5301393 w 9595474"/>
              <a:gd name="connsiteY547" fmla="*/ 4849814 h 6858001"/>
              <a:gd name="connsiteX548" fmla="*/ 5295482 w 9595474"/>
              <a:gd name="connsiteY548" fmla="*/ 4858069 h 6858001"/>
              <a:gd name="connsiteX549" fmla="*/ 5291048 w 9595474"/>
              <a:gd name="connsiteY549" fmla="*/ 4867276 h 6858001"/>
              <a:gd name="connsiteX550" fmla="*/ 5286910 w 9595474"/>
              <a:gd name="connsiteY550" fmla="*/ 4875849 h 6858001"/>
              <a:gd name="connsiteX551" fmla="*/ 5283659 w 9595474"/>
              <a:gd name="connsiteY551" fmla="*/ 4885056 h 6858001"/>
              <a:gd name="connsiteX552" fmla="*/ 5281294 w 9595474"/>
              <a:gd name="connsiteY552" fmla="*/ 4894581 h 6858001"/>
              <a:gd name="connsiteX553" fmla="*/ 5279521 w 9595474"/>
              <a:gd name="connsiteY553" fmla="*/ 4903789 h 6858001"/>
              <a:gd name="connsiteX554" fmla="*/ 5278339 w 9595474"/>
              <a:gd name="connsiteY554" fmla="*/ 4913631 h 6858001"/>
              <a:gd name="connsiteX555" fmla="*/ 5278339 w 9595474"/>
              <a:gd name="connsiteY555" fmla="*/ 4923156 h 6858001"/>
              <a:gd name="connsiteX556" fmla="*/ 5278634 w 9595474"/>
              <a:gd name="connsiteY556" fmla="*/ 4932999 h 6858001"/>
              <a:gd name="connsiteX557" fmla="*/ 5279816 w 9595474"/>
              <a:gd name="connsiteY557" fmla="*/ 4942206 h 6858001"/>
              <a:gd name="connsiteX558" fmla="*/ 5281885 w 9595474"/>
              <a:gd name="connsiteY558" fmla="*/ 4952049 h 6858001"/>
              <a:gd name="connsiteX559" fmla="*/ 5284546 w 9595474"/>
              <a:gd name="connsiteY559" fmla="*/ 4960939 h 6858001"/>
              <a:gd name="connsiteX560" fmla="*/ 5288092 w 9595474"/>
              <a:gd name="connsiteY560" fmla="*/ 4970146 h 6858001"/>
              <a:gd name="connsiteX561" fmla="*/ 5291935 w 9595474"/>
              <a:gd name="connsiteY561" fmla="*/ 4979354 h 6858001"/>
              <a:gd name="connsiteX562" fmla="*/ 5583665 w 9595474"/>
              <a:gd name="connsiteY562" fmla="*/ 5270501 h 6858001"/>
              <a:gd name="connsiteX563" fmla="*/ 5588098 w 9595474"/>
              <a:gd name="connsiteY563" fmla="*/ 5275264 h 6858001"/>
              <a:gd name="connsiteX564" fmla="*/ 5592237 w 9595474"/>
              <a:gd name="connsiteY564" fmla="*/ 5280344 h 6858001"/>
              <a:gd name="connsiteX565" fmla="*/ 5595784 w 9595474"/>
              <a:gd name="connsiteY565" fmla="*/ 5284789 h 6858001"/>
              <a:gd name="connsiteX566" fmla="*/ 5599626 w 9595474"/>
              <a:gd name="connsiteY566" fmla="*/ 5290186 h 6858001"/>
              <a:gd name="connsiteX567" fmla="*/ 5602582 w 9595474"/>
              <a:gd name="connsiteY567" fmla="*/ 5295266 h 6858001"/>
              <a:gd name="connsiteX568" fmla="*/ 5605833 w 9595474"/>
              <a:gd name="connsiteY568" fmla="*/ 5300664 h 6858001"/>
              <a:gd name="connsiteX569" fmla="*/ 5608493 w 9595474"/>
              <a:gd name="connsiteY569" fmla="*/ 5306061 h 6858001"/>
              <a:gd name="connsiteX570" fmla="*/ 5610857 w 9595474"/>
              <a:gd name="connsiteY570" fmla="*/ 5311776 h 6858001"/>
              <a:gd name="connsiteX571" fmla="*/ 5613222 w 9595474"/>
              <a:gd name="connsiteY571" fmla="*/ 5317491 h 6858001"/>
              <a:gd name="connsiteX572" fmla="*/ 5614996 w 9595474"/>
              <a:gd name="connsiteY572" fmla="*/ 5323524 h 6858001"/>
              <a:gd name="connsiteX573" fmla="*/ 5616474 w 9595474"/>
              <a:gd name="connsiteY573" fmla="*/ 5329239 h 6858001"/>
              <a:gd name="connsiteX574" fmla="*/ 5617656 w 9595474"/>
              <a:gd name="connsiteY574" fmla="*/ 5334954 h 6858001"/>
              <a:gd name="connsiteX575" fmla="*/ 5618838 w 9595474"/>
              <a:gd name="connsiteY575" fmla="*/ 5340986 h 6858001"/>
              <a:gd name="connsiteX576" fmla="*/ 5619725 w 9595474"/>
              <a:gd name="connsiteY576" fmla="*/ 5346701 h 6858001"/>
              <a:gd name="connsiteX577" fmla="*/ 5620021 w 9595474"/>
              <a:gd name="connsiteY577" fmla="*/ 5352734 h 6858001"/>
              <a:gd name="connsiteX578" fmla="*/ 5620021 w 9595474"/>
              <a:gd name="connsiteY578" fmla="*/ 5359084 h 6858001"/>
              <a:gd name="connsiteX579" fmla="*/ 5620021 w 9595474"/>
              <a:gd name="connsiteY579" fmla="*/ 5364799 h 6858001"/>
              <a:gd name="connsiteX580" fmla="*/ 5619725 w 9595474"/>
              <a:gd name="connsiteY580" fmla="*/ 5370831 h 6858001"/>
              <a:gd name="connsiteX581" fmla="*/ 5618838 w 9595474"/>
              <a:gd name="connsiteY581" fmla="*/ 5376546 h 6858001"/>
              <a:gd name="connsiteX582" fmla="*/ 5617656 w 9595474"/>
              <a:gd name="connsiteY582" fmla="*/ 5382579 h 6858001"/>
              <a:gd name="connsiteX583" fmla="*/ 5616474 w 9595474"/>
              <a:gd name="connsiteY583" fmla="*/ 5388294 h 6858001"/>
              <a:gd name="connsiteX584" fmla="*/ 5614996 w 9595474"/>
              <a:gd name="connsiteY584" fmla="*/ 5394009 h 6858001"/>
              <a:gd name="connsiteX585" fmla="*/ 5613222 w 9595474"/>
              <a:gd name="connsiteY585" fmla="*/ 5400041 h 6858001"/>
              <a:gd name="connsiteX586" fmla="*/ 5610857 w 9595474"/>
              <a:gd name="connsiteY586" fmla="*/ 5405756 h 6858001"/>
              <a:gd name="connsiteX587" fmla="*/ 5608493 w 9595474"/>
              <a:gd name="connsiteY587" fmla="*/ 5411471 h 6858001"/>
              <a:gd name="connsiteX588" fmla="*/ 5605833 w 9595474"/>
              <a:gd name="connsiteY588" fmla="*/ 5416869 h 6858001"/>
              <a:gd name="connsiteX589" fmla="*/ 5602582 w 9595474"/>
              <a:gd name="connsiteY589" fmla="*/ 5422266 h 6858001"/>
              <a:gd name="connsiteX590" fmla="*/ 5599626 w 9595474"/>
              <a:gd name="connsiteY590" fmla="*/ 5427664 h 6858001"/>
              <a:gd name="connsiteX591" fmla="*/ 5595784 w 9595474"/>
              <a:gd name="connsiteY591" fmla="*/ 5432744 h 6858001"/>
              <a:gd name="connsiteX592" fmla="*/ 5592237 w 9595474"/>
              <a:gd name="connsiteY592" fmla="*/ 5437506 h 6858001"/>
              <a:gd name="connsiteX593" fmla="*/ 5588098 w 9595474"/>
              <a:gd name="connsiteY593" fmla="*/ 5442269 h 6858001"/>
              <a:gd name="connsiteX594" fmla="*/ 5583665 w 9595474"/>
              <a:gd name="connsiteY594" fmla="*/ 5447031 h 6858001"/>
              <a:gd name="connsiteX595" fmla="*/ 5578936 w 9595474"/>
              <a:gd name="connsiteY595" fmla="*/ 5451159 h 6858001"/>
              <a:gd name="connsiteX596" fmla="*/ 5573911 w 9595474"/>
              <a:gd name="connsiteY596" fmla="*/ 5455604 h 6858001"/>
              <a:gd name="connsiteX597" fmla="*/ 5569182 w 9595474"/>
              <a:gd name="connsiteY597" fmla="*/ 5459096 h 6858001"/>
              <a:gd name="connsiteX598" fmla="*/ 5563862 w 9595474"/>
              <a:gd name="connsiteY598" fmla="*/ 5462906 h 6858001"/>
              <a:gd name="connsiteX599" fmla="*/ 5558837 w 9595474"/>
              <a:gd name="connsiteY599" fmla="*/ 5466081 h 6858001"/>
              <a:gd name="connsiteX600" fmla="*/ 5553517 w 9595474"/>
              <a:gd name="connsiteY600" fmla="*/ 5469256 h 6858001"/>
              <a:gd name="connsiteX601" fmla="*/ 5548196 w 9595474"/>
              <a:gd name="connsiteY601" fmla="*/ 5471796 h 6858001"/>
              <a:gd name="connsiteX602" fmla="*/ 5542285 w 9595474"/>
              <a:gd name="connsiteY602" fmla="*/ 5474336 h 6858001"/>
              <a:gd name="connsiteX603" fmla="*/ 5536964 w 9595474"/>
              <a:gd name="connsiteY603" fmla="*/ 5476559 h 6858001"/>
              <a:gd name="connsiteX604" fmla="*/ 5531348 w 9595474"/>
              <a:gd name="connsiteY604" fmla="*/ 5478146 h 6858001"/>
              <a:gd name="connsiteX605" fmla="*/ 5525437 w 9595474"/>
              <a:gd name="connsiteY605" fmla="*/ 5479734 h 6858001"/>
              <a:gd name="connsiteX606" fmla="*/ 5519230 w 9595474"/>
              <a:gd name="connsiteY606" fmla="*/ 5481004 h 6858001"/>
              <a:gd name="connsiteX607" fmla="*/ 5513614 w 9595474"/>
              <a:gd name="connsiteY607" fmla="*/ 5482274 h 6858001"/>
              <a:gd name="connsiteX608" fmla="*/ 5507999 w 9595474"/>
              <a:gd name="connsiteY608" fmla="*/ 5482909 h 6858001"/>
              <a:gd name="connsiteX609" fmla="*/ 5501791 w 9595474"/>
              <a:gd name="connsiteY609" fmla="*/ 5483226 h 6858001"/>
              <a:gd name="connsiteX610" fmla="*/ 5495585 w 9595474"/>
              <a:gd name="connsiteY610" fmla="*/ 5483544 h 6858001"/>
              <a:gd name="connsiteX611" fmla="*/ 6873545 w 9595474"/>
              <a:gd name="connsiteY611" fmla="*/ 6858001 h 6858001"/>
              <a:gd name="connsiteX612" fmla="*/ 9595474 w 9595474"/>
              <a:gd name="connsiteY612" fmla="*/ 6858001 h 6858001"/>
              <a:gd name="connsiteX613" fmla="*/ 9595474 w 9595474"/>
              <a:gd name="connsiteY613" fmla="*/ 1 h 6858001"/>
              <a:gd name="connsiteX614" fmla="*/ 3525498 w 9595474"/>
              <a:gd name="connsiteY614" fmla="*/ 1 h 6858001"/>
              <a:gd name="connsiteX0" fmla="*/ 3525498 w 9595474"/>
              <a:gd name="connsiteY0" fmla="*/ 0 h 6858000"/>
              <a:gd name="connsiteX1" fmla="*/ 0 w 9595474"/>
              <a:gd name="connsiteY1" fmla="*/ 0 h 6858000"/>
              <a:gd name="connsiteX2" fmla="*/ 692823 w 9595474"/>
              <a:gd name="connsiteY2" fmla="*/ 691198 h 6858000"/>
              <a:gd name="connsiteX3" fmla="*/ 691345 w 9595474"/>
              <a:gd name="connsiteY3" fmla="*/ 683895 h 6858000"/>
              <a:gd name="connsiteX4" fmla="*/ 690754 w 9595474"/>
              <a:gd name="connsiteY4" fmla="*/ 676275 h 6858000"/>
              <a:gd name="connsiteX5" fmla="*/ 690754 w 9595474"/>
              <a:gd name="connsiteY5" fmla="*/ 669290 h 6858000"/>
              <a:gd name="connsiteX6" fmla="*/ 690754 w 9595474"/>
              <a:gd name="connsiteY6" fmla="*/ 661988 h 6858000"/>
              <a:gd name="connsiteX7" fmla="*/ 691345 w 9595474"/>
              <a:gd name="connsiteY7" fmla="*/ 654368 h 6858000"/>
              <a:gd name="connsiteX8" fmla="*/ 692527 w 9595474"/>
              <a:gd name="connsiteY8" fmla="*/ 647383 h 6858000"/>
              <a:gd name="connsiteX9" fmla="*/ 694005 w 9595474"/>
              <a:gd name="connsiteY9" fmla="*/ 640080 h 6858000"/>
              <a:gd name="connsiteX10" fmla="*/ 695778 w 9595474"/>
              <a:gd name="connsiteY10" fmla="*/ 633095 h 6858000"/>
              <a:gd name="connsiteX11" fmla="*/ 698143 w 9595474"/>
              <a:gd name="connsiteY11" fmla="*/ 625793 h 6858000"/>
              <a:gd name="connsiteX12" fmla="*/ 700803 w 9595474"/>
              <a:gd name="connsiteY12" fmla="*/ 618808 h 6858000"/>
              <a:gd name="connsiteX13" fmla="*/ 704054 w 9595474"/>
              <a:gd name="connsiteY13" fmla="*/ 612140 h 6858000"/>
              <a:gd name="connsiteX14" fmla="*/ 707601 w 9595474"/>
              <a:gd name="connsiteY14" fmla="*/ 605790 h 6858000"/>
              <a:gd name="connsiteX15" fmla="*/ 712035 w 9595474"/>
              <a:gd name="connsiteY15" fmla="*/ 599123 h 6858000"/>
              <a:gd name="connsiteX16" fmla="*/ 716173 w 9595474"/>
              <a:gd name="connsiteY16" fmla="*/ 592773 h 6858000"/>
              <a:gd name="connsiteX17" fmla="*/ 721198 w 9595474"/>
              <a:gd name="connsiteY17" fmla="*/ 587058 h 6858000"/>
              <a:gd name="connsiteX18" fmla="*/ 726518 w 9595474"/>
              <a:gd name="connsiteY18" fmla="*/ 581343 h 6858000"/>
              <a:gd name="connsiteX19" fmla="*/ 731247 w 9595474"/>
              <a:gd name="connsiteY19" fmla="*/ 576898 h 6858000"/>
              <a:gd name="connsiteX20" fmla="*/ 735976 w 9595474"/>
              <a:gd name="connsiteY20" fmla="*/ 572453 h 6858000"/>
              <a:gd name="connsiteX21" fmla="*/ 741001 w 9595474"/>
              <a:gd name="connsiteY21" fmla="*/ 568960 h 6858000"/>
              <a:gd name="connsiteX22" fmla="*/ 746026 w 9595474"/>
              <a:gd name="connsiteY22" fmla="*/ 565468 h 6858000"/>
              <a:gd name="connsiteX23" fmla="*/ 751050 w 9595474"/>
              <a:gd name="connsiteY23" fmla="*/ 562293 h 6858000"/>
              <a:gd name="connsiteX24" fmla="*/ 756371 w 9595474"/>
              <a:gd name="connsiteY24" fmla="*/ 558800 h 6858000"/>
              <a:gd name="connsiteX25" fmla="*/ 761691 w 9595474"/>
              <a:gd name="connsiteY25" fmla="*/ 556578 h 6858000"/>
              <a:gd name="connsiteX26" fmla="*/ 767602 w 9595474"/>
              <a:gd name="connsiteY26" fmla="*/ 554038 h 6858000"/>
              <a:gd name="connsiteX27" fmla="*/ 772923 w 9595474"/>
              <a:gd name="connsiteY27" fmla="*/ 551815 h 6858000"/>
              <a:gd name="connsiteX28" fmla="*/ 778834 w 9595474"/>
              <a:gd name="connsiteY28" fmla="*/ 549910 h 6858000"/>
              <a:gd name="connsiteX29" fmla="*/ 784450 w 9595474"/>
              <a:gd name="connsiteY29" fmla="*/ 548640 h 6858000"/>
              <a:gd name="connsiteX30" fmla="*/ 790066 w 9595474"/>
              <a:gd name="connsiteY30" fmla="*/ 547370 h 6858000"/>
              <a:gd name="connsiteX31" fmla="*/ 795977 w 9595474"/>
              <a:gd name="connsiteY31" fmla="*/ 546418 h 6858000"/>
              <a:gd name="connsiteX32" fmla="*/ 802184 w 9595474"/>
              <a:gd name="connsiteY32" fmla="*/ 545783 h 6858000"/>
              <a:gd name="connsiteX33" fmla="*/ 807800 w 9595474"/>
              <a:gd name="connsiteY33" fmla="*/ 545465 h 6858000"/>
              <a:gd name="connsiteX34" fmla="*/ 814007 w 9595474"/>
              <a:gd name="connsiteY34" fmla="*/ 544830 h 6858000"/>
              <a:gd name="connsiteX35" fmla="*/ 819623 w 9595474"/>
              <a:gd name="connsiteY35" fmla="*/ 545465 h 6858000"/>
              <a:gd name="connsiteX36" fmla="*/ 825830 w 9595474"/>
              <a:gd name="connsiteY36" fmla="*/ 545783 h 6858000"/>
              <a:gd name="connsiteX37" fmla="*/ 831446 w 9595474"/>
              <a:gd name="connsiteY37" fmla="*/ 546418 h 6858000"/>
              <a:gd name="connsiteX38" fmla="*/ 837358 w 9595474"/>
              <a:gd name="connsiteY38" fmla="*/ 547370 h 6858000"/>
              <a:gd name="connsiteX39" fmla="*/ 842974 w 9595474"/>
              <a:gd name="connsiteY39" fmla="*/ 548640 h 6858000"/>
              <a:gd name="connsiteX40" fmla="*/ 848885 w 9595474"/>
              <a:gd name="connsiteY40" fmla="*/ 549910 h 6858000"/>
              <a:gd name="connsiteX41" fmla="*/ 854501 w 9595474"/>
              <a:gd name="connsiteY41" fmla="*/ 551815 h 6858000"/>
              <a:gd name="connsiteX42" fmla="*/ 860117 w 9595474"/>
              <a:gd name="connsiteY42" fmla="*/ 554038 h 6858000"/>
              <a:gd name="connsiteX43" fmla="*/ 865733 w 9595474"/>
              <a:gd name="connsiteY43" fmla="*/ 556578 h 6858000"/>
              <a:gd name="connsiteX44" fmla="*/ 871053 w 9595474"/>
              <a:gd name="connsiteY44" fmla="*/ 558800 h 6858000"/>
              <a:gd name="connsiteX45" fmla="*/ 876373 w 9595474"/>
              <a:gd name="connsiteY45" fmla="*/ 562293 h 6858000"/>
              <a:gd name="connsiteX46" fmla="*/ 881398 w 9595474"/>
              <a:gd name="connsiteY46" fmla="*/ 565468 h 6858000"/>
              <a:gd name="connsiteX47" fmla="*/ 886718 w 9595474"/>
              <a:gd name="connsiteY47" fmla="*/ 568960 h 6858000"/>
              <a:gd name="connsiteX48" fmla="*/ 891447 w 9595474"/>
              <a:gd name="connsiteY48" fmla="*/ 572453 h 6858000"/>
              <a:gd name="connsiteX49" fmla="*/ 896177 w 9595474"/>
              <a:gd name="connsiteY49" fmla="*/ 576898 h 6858000"/>
              <a:gd name="connsiteX50" fmla="*/ 900906 w 9595474"/>
              <a:gd name="connsiteY50" fmla="*/ 581343 h 6858000"/>
              <a:gd name="connsiteX51" fmla="*/ 1431459 w 9595474"/>
              <a:gd name="connsiteY51" fmla="*/ 1111568 h 6858000"/>
              <a:gd name="connsiteX52" fmla="*/ 2394731 w 9595474"/>
              <a:gd name="connsiteY52" fmla="*/ 2074863 h 6858000"/>
              <a:gd name="connsiteX53" fmla="*/ 2399164 w 9595474"/>
              <a:gd name="connsiteY53" fmla="*/ 2079308 h 6858000"/>
              <a:gd name="connsiteX54" fmla="*/ 2404189 w 9595474"/>
              <a:gd name="connsiteY54" fmla="*/ 2083435 h 6858000"/>
              <a:gd name="connsiteX55" fmla="*/ 2408918 w 9595474"/>
              <a:gd name="connsiteY55" fmla="*/ 2087245 h 6858000"/>
              <a:gd name="connsiteX56" fmla="*/ 2413943 w 9595474"/>
              <a:gd name="connsiteY56" fmla="*/ 2090738 h 6858000"/>
              <a:gd name="connsiteX57" fmla="*/ 2419263 w 9595474"/>
              <a:gd name="connsiteY57" fmla="*/ 2093913 h 6858000"/>
              <a:gd name="connsiteX58" fmla="*/ 2424583 w 9595474"/>
              <a:gd name="connsiteY58" fmla="*/ 2096770 h 6858000"/>
              <a:gd name="connsiteX59" fmla="*/ 2430199 w 9595474"/>
              <a:gd name="connsiteY59" fmla="*/ 2099628 h 6858000"/>
              <a:gd name="connsiteX60" fmla="*/ 2435520 w 9595474"/>
              <a:gd name="connsiteY60" fmla="*/ 2101850 h 6858000"/>
              <a:gd name="connsiteX61" fmla="*/ 2441136 w 9595474"/>
              <a:gd name="connsiteY61" fmla="*/ 2104073 h 6858000"/>
              <a:gd name="connsiteX62" fmla="*/ 2447047 w 9595474"/>
              <a:gd name="connsiteY62" fmla="*/ 2105660 h 6858000"/>
              <a:gd name="connsiteX63" fmla="*/ 2452663 w 9595474"/>
              <a:gd name="connsiteY63" fmla="*/ 2107565 h 6858000"/>
              <a:gd name="connsiteX64" fmla="*/ 2458574 w 9595474"/>
              <a:gd name="connsiteY64" fmla="*/ 2108518 h 6858000"/>
              <a:gd name="connsiteX65" fmla="*/ 2464190 w 9595474"/>
              <a:gd name="connsiteY65" fmla="*/ 2109788 h 6858000"/>
              <a:gd name="connsiteX66" fmla="*/ 2469806 w 9595474"/>
              <a:gd name="connsiteY66" fmla="*/ 2110423 h 6858000"/>
              <a:gd name="connsiteX67" fmla="*/ 2476013 w 9595474"/>
              <a:gd name="connsiteY67" fmla="*/ 2110740 h 6858000"/>
              <a:gd name="connsiteX68" fmla="*/ 2481925 w 9595474"/>
              <a:gd name="connsiteY68" fmla="*/ 2111058 h 6858000"/>
              <a:gd name="connsiteX69" fmla="*/ 2487836 w 9595474"/>
              <a:gd name="connsiteY69" fmla="*/ 2110740 h 6858000"/>
              <a:gd name="connsiteX70" fmla="*/ 2493747 w 9595474"/>
              <a:gd name="connsiteY70" fmla="*/ 2110423 h 6858000"/>
              <a:gd name="connsiteX71" fmla="*/ 2499363 w 9595474"/>
              <a:gd name="connsiteY71" fmla="*/ 2109788 h 6858000"/>
              <a:gd name="connsiteX72" fmla="*/ 2505570 w 9595474"/>
              <a:gd name="connsiteY72" fmla="*/ 2108518 h 6858000"/>
              <a:gd name="connsiteX73" fmla="*/ 2511186 w 9595474"/>
              <a:gd name="connsiteY73" fmla="*/ 2107565 h 6858000"/>
              <a:gd name="connsiteX74" fmla="*/ 2517098 w 9595474"/>
              <a:gd name="connsiteY74" fmla="*/ 2105660 h 6858000"/>
              <a:gd name="connsiteX75" fmla="*/ 2522714 w 9595474"/>
              <a:gd name="connsiteY75" fmla="*/ 2104073 h 6858000"/>
              <a:gd name="connsiteX76" fmla="*/ 2528034 w 9595474"/>
              <a:gd name="connsiteY76" fmla="*/ 2101850 h 6858000"/>
              <a:gd name="connsiteX77" fmla="*/ 2533945 w 9595474"/>
              <a:gd name="connsiteY77" fmla="*/ 2099628 h 6858000"/>
              <a:gd name="connsiteX78" fmla="*/ 2539266 w 9595474"/>
              <a:gd name="connsiteY78" fmla="*/ 2096770 h 6858000"/>
              <a:gd name="connsiteX79" fmla="*/ 2544290 w 9595474"/>
              <a:gd name="connsiteY79" fmla="*/ 2093913 h 6858000"/>
              <a:gd name="connsiteX80" fmla="*/ 2549611 w 9595474"/>
              <a:gd name="connsiteY80" fmla="*/ 2090738 h 6858000"/>
              <a:gd name="connsiteX81" fmla="*/ 2554635 w 9595474"/>
              <a:gd name="connsiteY81" fmla="*/ 2087245 h 6858000"/>
              <a:gd name="connsiteX82" fmla="*/ 2559660 w 9595474"/>
              <a:gd name="connsiteY82" fmla="*/ 2083435 h 6858000"/>
              <a:gd name="connsiteX83" fmla="*/ 2564389 w 9595474"/>
              <a:gd name="connsiteY83" fmla="*/ 2079308 h 6858000"/>
              <a:gd name="connsiteX84" fmla="*/ 2569119 w 9595474"/>
              <a:gd name="connsiteY84" fmla="*/ 2074863 h 6858000"/>
              <a:gd name="connsiteX85" fmla="*/ 2573257 w 9595474"/>
              <a:gd name="connsiteY85" fmla="*/ 2070100 h 6858000"/>
              <a:gd name="connsiteX86" fmla="*/ 2577395 w 9595474"/>
              <a:gd name="connsiteY86" fmla="*/ 2065655 h 6858000"/>
              <a:gd name="connsiteX87" fmla="*/ 2581237 w 9595474"/>
              <a:gd name="connsiteY87" fmla="*/ 2060575 h 6858000"/>
              <a:gd name="connsiteX88" fmla="*/ 2584784 w 9595474"/>
              <a:gd name="connsiteY88" fmla="*/ 2055495 h 6858000"/>
              <a:gd name="connsiteX89" fmla="*/ 2588035 w 9595474"/>
              <a:gd name="connsiteY89" fmla="*/ 2050415 h 6858000"/>
              <a:gd name="connsiteX90" fmla="*/ 2590991 w 9595474"/>
              <a:gd name="connsiteY90" fmla="*/ 2045018 h 6858000"/>
              <a:gd name="connsiteX91" fmla="*/ 2593651 w 9595474"/>
              <a:gd name="connsiteY91" fmla="*/ 2039620 h 6858000"/>
              <a:gd name="connsiteX92" fmla="*/ 2596016 w 9595474"/>
              <a:gd name="connsiteY92" fmla="*/ 2034223 h 6858000"/>
              <a:gd name="connsiteX93" fmla="*/ 2598085 w 9595474"/>
              <a:gd name="connsiteY93" fmla="*/ 2028508 h 6858000"/>
              <a:gd name="connsiteX94" fmla="*/ 2599858 w 9595474"/>
              <a:gd name="connsiteY94" fmla="*/ 2022793 h 6858000"/>
              <a:gd name="connsiteX95" fmla="*/ 2601336 w 9595474"/>
              <a:gd name="connsiteY95" fmla="*/ 2017078 h 6858000"/>
              <a:gd name="connsiteX96" fmla="*/ 2602814 w 9595474"/>
              <a:gd name="connsiteY96" fmla="*/ 2011363 h 6858000"/>
              <a:gd name="connsiteX97" fmla="*/ 2603996 w 9595474"/>
              <a:gd name="connsiteY97" fmla="*/ 2005648 h 6858000"/>
              <a:gd name="connsiteX98" fmla="*/ 2604587 w 9595474"/>
              <a:gd name="connsiteY98" fmla="*/ 1999615 h 6858000"/>
              <a:gd name="connsiteX99" fmla="*/ 2604883 w 9595474"/>
              <a:gd name="connsiteY99" fmla="*/ 1993583 h 6858000"/>
              <a:gd name="connsiteX100" fmla="*/ 2604883 w 9595474"/>
              <a:gd name="connsiteY100" fmla="*/ 1987550 h 6858000"/>
              <a:gd name="connsiteX101" fmla="*/ 2604883 w 9595474"/>
              <a:gd name="connsiteY101" fmla="*/ 1981835 h 6858000"/>
              <a:gd name="connsiteX102" fmla="*/ 2604587 w 9595474"/>
              <a:gd name="connsiteY102" fmla="*/ 1976120 h 6858000"/>
              <a:gd name="connsiteX103" fmla="*/ 2603996 w 9595474"/>
              <a:gd name="connsiteY103" fmla="*/ 1970088 h 6858000"/>
              <a:gd name="connsiteX104" fmla="*/ 2602814 w 9595474"/>
              <a:gd name="connsiteY104" fmla="*/ 1964373 h 6858000"/>
              <a:gd name="connsiteX105" fmla="*/ 2601336 w 9595474"/>
              <a:gd name="connsiteY105" fmla="*/ 1958658 h 6858000"/>
              <a:gd name="connsiteX106" fmla="*/ 2599858 w 9595474"/>
              <a:gd name="connsiteY106" fmla="*/ 1952625 h 6858000"/>
              <a:gd name="connsiteX107" fmla="*/ 2598085 w 9595474"/>
              <a:gd name="connsiteY107" fmla="*/ 1946910 h 6858000"/>
              <a:gd name="connsiteX108" fmla="*/ 2596016 w 9595474"/>
              <a:gd name="connsiteY108" fmla="*/ 1941195 h 6858000"/>
              <a:gd name="connsiteX109" fmla="*/ 2593651 w 9595474"/>
              <a:gd name="connsiteY109" fmla="*/ 1935798 h 6858000"/>
              <a:gd name="connsiteX110" fmla="*/ 2590991 w 9595474"/>
              <a:gd name="connsiteY110" fmla="*/ 1930400 h 6858000"/>
              <a:gd name="connsiteX111" fmla="*/ 2588035 w 9595474"/>
              <a:gd name="connsiteY111" fmla="*/ 1925003 h 6858000"/>
              <a:gd name="connsiteX112" fmla="*/ 2584784 w 9595474"/>
              <a:gd name="connsiteY112" fmla="*/ 1919923 h 6858000"/>
              <a:gd name="connsiteX113" fmla="*/ 2581237 w 9595474"/>
              <a:gd name="connsiteY113" fmla="*/ 1915160 h 6858000"/>
              <a:gd name="connsiteX114" fmla="*/ 2577395 w 9595474"/>
              <a:gd name="connsiteY114" fmla="*/ 1910080 h 6858000"/>
              <a:gd name="connsiteX115" fmla="*/ 2573257 w 9595474"/>
              <a:gd name="connsiteY115" fmla="*/ 1905318 h 6858000"/>
              <a:gd name="connsiteX116" fmla="*/ 2569119 w 9595474"/>
              <a:gd name="connsiteY116" fmla="*/ 1900555 h 6858000"/>
              <a:gd name="connsiteX117" fmla="*/ 1590477 w 9595474"/>
              <a:gd name="connsiteY117" fmla="*/ 922020 h 6858000"/>
              <a:gd name="connsiteX118" fmla="*/ 1272736 w 9595474"/>
              <a:gd name="connsiteY118" fmla="*/ 604203 h 6858000"/>
              <a:gd name="connsiteX119" fmla="*/ 1268303 w 9595474"/>
              <a:gd name="connsiteY119" fmla="*/ 599440 h 6858000"/>
              <a:gd name="connsiteX120" fmla="*/ 1264165 w 9595474"/>
              <a:gd name="connsiteY120" fmla="*/ 594995 h 6858000"/>
              <a:gd name="connsiteX121" fmla="*/ 1260322 w 9595474"/>
              <a:gd name="connsiteY121" fmla="*/ 589915 h 6858000"/>
              <a:gd name="connsiteX122" fmla="*/ 1256776 w 9595474"/>
              <a:gd name="connsiteY122" fmla="*/ 584835 h 6858000"/>
              <a:gd name="connsiteX123" fmla="*/ 1253524 w 9595474"/>
              <a:gd name="connsiteY123" fmla="*/ 579755 h 6858000"/>
              <a:gd name="connsiteX124" fmla="*/ 1250864 w 9595474"/>
              <a:gd name="connsiteY124" fmla="*/ 574358 h 6858000"/>
              <a:gd name="connsiteX125" fmla="*/ 1247908 w 9595474"/>
              <a:gd name="connsiteY125" fmla="*/ 568960 h 6858000"/>
              <a:gd name="connsiteX126" fmla="*/ 1245839 w 9595474"/>
              <a:gd name="connsiteY126" fmla="*/ 563563 h 6858000"/>
              <a:gd name="connsiteX127" fmla="*/ 1243475 w 9595474"/>
              <a:gd name="connsiteY127" fmla="*/ 557848 h 6858000"/>
              <a:gd name="connsiteX128" fmla="*/ 1241701 w 9595474"/>
              <a:gd name="connsiteY128" fmla="*/ 552133 h 6858000"/>
              <a:gd name="connsiteX129" fmla="*/ 1239928 w 9595474"/>
              <a:gd name="connsiteY129" fmla="*/ 546418 h 6858000"/>
              <a:gd name="connsiteX130" fmla="*/ 1238746 w 9595474"/>
              <a:gd name="connsiteY130" fmla="*/ 540703 h 6858000"/>
              <a:gd name="connsiteX131" fmla="*/ 1237859 w 9595474"/>
              <a:gd name="connsiteY131" fmla="*/ 534988 h 6858000"/>
              <a:gd name="connsiteX132" fmla="*/ 1236972 w 9595474"/>
              <a:gd name="connsiteY132" fmla="*/ 528638 h 6858000"/>
              <a:gd name="connsiteX133" fmla="*/ 1236677 w 9595474"/>
              <a:gd name="connsiteY133" fmla="*/ 522923 h 6858000"/>
              <a:gd name="connsiteX134" fmla="*/ 1236381 w 9595474"/>
              <a:gd name="connsiteY134" fmla="*/ 516890 h 6858000"/>
              <a:gd name="connsiteX135" fmla="*/ 1236677 w 9595474"/>
              <a:gd name="connsiteY135" fmla="*/ 511175 h 6858000"/>
              <a:gd name="connsiteX136" fmla="*/ 1236972 w 9595474"/>
              <a:gd name="connsiteY136" fmla="*/ 505460 h 6858000"/>
              <a:gd name="connsiteX137" fmla="*/ 1237859 w 9595474"/>
              <a:gd name="connsiteY137" fmla="*/ 499428 h 6858000"/>
              <a:gd name="connsiteX138" fmla="*/ 1238746 w 9595474"/>
              <a:gd name="connsiteY138" fmla="*/ 493713 h 6858000"/>
              <a:gd name="connsiteX139" fmla="*/ 1239928 w 9595474"/>
              <a:gd name="connsiteY139" fmla="*/ 487680 h 6858000"/>
              <a:gd name="connsiteX140" fmla="*/ 1241701 w 9595474"/>
              <a:gd name="connsiteY140" fmla="*/ 481965 h 6858000"/>
              <a:gd name="connsiteX141" fmla="*/ 1243475 w 9595474"/>
              <a:gd name="connsiteY141" fmla="*/ 476250 h 6858000"/>
              <a:gd name="connsiteX142" fmla="*/ 1245839 w 9595474"/>
              <a:gd name="connsiteY142" fmla="*/ 470535 h 6858000"/>
              <a:gd name="connsiteX143" fmla="*/ 1247908 w 9595474"/>
              <a:gd name="connsiteY143" fmla="*/ 465138 h 6858000"/>
              <a:gd name="connsiteX144" fmla="*/ 1250864 w 9595474"/>
              <a:gd name="connsiteY144" fmla="*/ 459740 h 6858000"/>
              <a:gd name="connsiteX145" fmla="*/ 1253524 w 9595474"/>
              <a:gd name="connsiteY145" fmla="*/ 454343 h 6858000"/>
              <a:gd name="connsiteX146" fmla="*/ 1256776 w 9595474"/>
              <a:gd name="connsiteY146" fmla="*/ 449263 h 6858000"/>
              <a:gd name="connsiteX147" fmla="*/ 1260322 w 9595474"/>
              <a:gd name="connsiteY147" fmla="*/ 444500 h 6858000"/>
              <a:gd name="connsiteX148" fmla="*/ 1264165 w 9595474"/>
              <a:gd name="connsiteY148" fmla="*/ 439420 h 6858000"/>
              <a:gd name="connsiteX149" fmla="*/ 1268303 w 9595474"/>
              <a:gd name="connsiteY149" fmla="*/ 434658 h 6858000"/>
              <a:gd name="connsiteX150" fmla="*/ 1272736 w 9595474"/>
              <a:gd name="connsiteY150" fmla="*/ 429895 h 6858000"/>
              <a:gd name="connsiteX151" fmla="*/ 1277466 w 9595474"/>
              <a:gd name="connsiteY151" fmla="*/ 425768 h 6858000"/>
              <a:gd name="connsiteX152" fmla="*/ 1281899 w 9595474"/>
              <a:gd name="connsiteY152" fmla="*/ 421323 h 6858000"/>
              <a:gd name="connsiteX153" fmla="*/ 1286924 w 9595474"/>
              <a:gd name="connsiteY153" fmla="*/ 417830 h 6858000"/>
              <a:gd name="connsiteX154" fmla="*/ 1291949 w 9595474"/>
              <a:gd name="connsiteY154" fmla="*/ 414338 h 6858000"/>
              <a:gd name="connsiteX155" fmla="*/ 1296973 w 9595474"/>
              <a:gd name="connsiteY155" fmla="*/ 410845 h 6858000"/>
              <a:gd name="connsiteX156" fmla="*/ 1302589 w 9595474"/>
              <a:gd name="connsiteY156" fmla="*/ 407988 h 6858000"/>
              <a:gd name="connsiteX157" fmla="*/ 1307910 w 9595474"/>
              <a:gd name="connsiteY157" fmla="*/ 405130 h 6858000"/>
              <a:gd name="connsiteX158" fmla="*/ 1313230 w 9595474"/>
              <a:gd name="connsiteY158" fmla="*/ 402908 h 6858000"/>
              <a:gd name="connsiteX159" fmla="*/ 1318846 w 9595474"/>
              <a:gd name="connsiteY159" fmla="*/ 401003 h 6858000"/>
              <a:gd name="connsiteX160" fmla="*/ 1324757 w 9595474"/>
              <a:gd name="connsiteY160" fmla="*/ 399098 h 6858000"/>
              <a:gd name="connsiteX161" fmla="*/ 1330373 w 9595474"/>
              <a:gd name="connsiteY161" fmla="*/ 397193 h 6858000"/>
              <a:gd name="connsiteX162" fmla="*/ 1336285 w 9595474"/>
              <a:gd name="connsiteY162" fmla="*/ 396240 h 6858000"/>
              <a:gd name="connsiteX163" fmla="*/ 1341901 w 9595474"/>
              <a:gd name="connsiteY163" fmla="*/ 395288 h 6858000"/>
              <a:gd name="connsiteX164" fmla="*/ 1348108 w 9595474"/>
              <a:gd name="connsiteY164" fmla="*/ 394335 h 6858000"/>
              <a:gd name="connsiteX165" fmla="*/ 1353723 w 9595474"/>
              <a:gd name="connsiteY165" fmla="*/ 394018 h 6858000"/>
              <a:gd name="connsiteX166" fmla="*/ 1359930 w 9595474"/>
              <a:gd name="connsiteY166" fmla="*/ 393700 h 6858000"/>
              <a:gd name="connsiteX167" fmla="*/ 1365546 w 9595474"/>
              <a:gd name="connsiteY167" fmla="*/ 394018 h 6858000"/>
              <a:gd name="connsiteX168" fmla="*/ 1371458 w 9595474"/>
              <a:gd name="connsiteY168" fmla="*/ 394335 h 6858000"/>
              <a:gd name="connsiteX169" fmla="*/ 1377665 w 9595474"/>
              <a:gd name="connsiteY169" fmla="*/ 395288 h 6858000"/>
              <a:gd name="connsiteX170" fmla="*/ 1383281 w 9595474"/>
              <a:gd name="connsiteY170" fmla="*/ 396240 h 6858000"/>
              <a:gd name="connsiteX171" fmla="*/ 1388897 w 9595474"/>
              <a:gd name="connsiteY171" fmla="*/ 397193 h 6858000"/>
              <a:gd name="connsiteX172" fmla="*/ 1394808 w 9595474"/>
              <a:gd name="connsiteY172" fmla="*/ 399098 h 6858000"/>
              <a:gd name="connsiteX173" fmla="*/ 1400424 w 9595474"/>
              <a:gd name="connsiteY173" fmla="*/ 401003 h 6858000"/>
              <a:gd name="connsiteX174" fmla="*/ 1406335 w 9595474"/>
              <a:gd name="connsiteY174" fmla="*/ 402908 h 6858000"/>
              <a:gd name="connsiteX175" fmla="*/ 1411656 w 9595474"/>
              <a:gd name="connsiteY175" fmla="*/ 405130 h 6858000"/>
              <a:gd name="connsiteX176" fmla="*/ 1416976 w 9595474"/>
              <a:gd name="connsiteY176" fmla="*/ 407988 h 6858000"/>
              <a:gd name="connsiteX177" fmla="*/ 1422296 w 9595474"/>
              <a:gd name="connsiteY177" fmla="*/ 410845 h 6858000"/>
              <a:gd name="connsiteX178" fmla="*/ 1427617 w 9595474"/>
              <a:gd name="connsiteY178" fmla="*/ 414338 h 6858000"/>
              <a:gd name="connsiteX179" fmla="*/ 1432641 w 9595474"/>
              <a:gd name="connsiteY179" fmla="*/ 417830 h 6858000"/>
              <a:gd name="connsiteX180" fmla="*/ 1437666 w 9595474"/>
              <a:gd name="connsiteY180" fmla="*/ 421323 h 6858000"/>
              <a:gd name="connsiteX181" fmla="*/ 1442100 w 9595474"/>
              <a:gd name="connsiteY181" fmla="*/ 425768 h 6858000"/>
              <a:gd name="connsiteX182" fmla="*/ 1446829 w 9595474"/>
              <a:gd name="connsiteY182" fmla="*/ 429895 h 6858000"/>
              <a:gd name="connsiteX183" fmla="*/ 1907036 w 9595474"/>
              <a:gd name="connsiteY183" fmla="*/ 890270 h 6858000"/>
              <a:gd name="connsiteX184" fmla="*/ 2165662 w 9595474"/>
              <a:gd name="connsiteY184" fmla="*/ 1148715 h 6858000"/>
              <a:gd name="connsiteX185" fmla="*/ 2170391 w 9595474"/>
              <a:gd name="connsiteY185" fmla="*/ 1153160 h 6858000"/>
              <a:gd name="connsiteX186" fmla="*/ 2175416 w 9595474"/>
              <a:gd name="connsiteY186" fmla="*/ 1157288 h 6858000"/>
              <a:gd name="connsiteX187" fmla="*/ 2180145 w 9595474"/>
              <a:gd name="connsiteY187" fmla="*/ 1161098 h 6858000"/>
              <a:gd name="connsiteX188" fmla="*/ 2185170 w 9595474"/>
              <a:gd name="connsiteY188" fmla="*/ 1164590 h 6858000"/>
              <a:gd name="connsiteX189" fmla="*/ 2190490 w 9595474"/>
              <a:gd name="connsiteY189" fmla="*/ 1167765 h 6858000"/>
              <a:gd name="connsiteX190" fmla="*/ 2195810 w 9595474"/>
              <a:gd name="connsiteY190" fmla="*/ 1170623 h 6858000"/>
              <a:gd name="connsiteX191" fmla="*/ 2201130 w 9595474"/>
              <a:gd name="connsiteY191" fmla="*/ 1173480 h 6858000"/>
              <a:gd name="connsiteX192" fmla="*/ 2206746 w 9595474"/>
              <a:gd name="connsiteY192" fmla="*/ 1176020 h 6858000"/>
              <a:gd name="connsiteX193" fmla="*/ 2212362 w 9595474"/>
              <a:gd name="connsiteY193" fmla="*/ 1177925 h 6858000"/>
              <a:gd name="connsiteX194" fmla="*/ 2217683 w 9595474"/>
              <a:gd name="connsiteY194" fmla="*/ 1180148 h 6858000"/>
              <a:gd name="connsiteX195" fmla="*/ 2223594 w 9595474"/>
              <a:gd name="connsiteY195" fmla="*/ 1181418 h 6858000"/>
              <a:gd name="connsiteX196" fmla="*/ 2229505 w 9595474"/>
              <a:gd name="connsiteY196" fmla="*/ 1182688 h 6858000"/>
              <a:gd name="connsiteX197" fmla="*/ 2235417 w 9595474"/>
              <a:gd name="connsiteY197" fmla="*/ 1183640 h 6858000"/>
              <a:gd name="connsiteX198" fmla="*/ 2241033 w 9595474"/>
              <a:gd name="connsiteY198" fmla="*/ 1184275 h 6858000"/>
              <a:gd name="connsiteX199" fmla="*/ 2247240 w 9595474"/>
              <a:gd name="connsiteY199" fmla="*/ 1184593 h 6858000"/>
              <a:gd name="connsiteX200" fmla="*/ 2252856 w 9595474"/>
              <a:gd name="connsiteY200" fmla="*/ 1185228 h 6858000"/>
              <a:gd name="connsiteX201" fmla="*/ 2259063 w 9595474"/>
              <a:gd name="connsiteY201" fmla="*/ 1184593 h 6858000"/>
              <a:gd name="connsiteX202" fmla="*/ 2264679 w 9595474"/>
              <a:gd name="connsiteY202" fmla="*/ 1184275 h 6858000"/>
              <a:gd name="connsiteX203" fmla="*/ 2270590 w 9595474"/>
              <a:gd name="connsiteY203" fmla="*/ 1183640 h 6858000"/>
              <a:gd name="connsiteX204" fmla="*/ 2276797 w 9595474"/>
              <a:gd name="connsiteY204" fmla="*/ 1182688 h 6858000"/>
              <a:gd name="connsiteX205" fmla="*/ 2282413 w 9595474"/>
              <a:gd name="connsiteY205" fmla="*/ 1181418 h 6858000"/>
              <a:gd name="connsiteX206" fmla="*/ 2288029 w 9595474"/>
              <a:gd name="connsiteY206" fmla="*/ 1180148 h 6858000"/>
              <a:gd name="connsiteX207" fmla="*/ 2293940 w 9595474"/>
              <a:gd name="connsiteY207" fmla="*/ 1177925 h 6858000"/>
              <a:gd name="connsiteX208" fmla="*/ 2299261 w 9595474"/>
              <a:gd name="connsiteY208" fmla="*/ 1176020 h 6858000"/>
              <a:gd name="connsiteX209" fmla="*/ 2304581 w 9595474"/>
              <a:gd name="connsiteY209" fmla="*/ 1173480 h 6858000"/>
              <a:gd name="connsiteX210" fmla="*/ 2310492 w 9595474"/>
              <a:gd name="connsiteY210" fmla="*/ 1170623 h 6858000"/>
              <a:gd name="connsiteX211" fmla="*/ 2315517 w 9595474"/>
              <a:gd name="connsiteY211" fmla="*/ 1167765 h 6858000"/>
              <a:gd name="connsiteX212" fmla="*/ 2320837 w 9595474"/>
              <a:gd name="connsiteY212" fmla="*/ 1164590 h 6858000"/>
              <a:gd name="connsiteX213" fmla="*/ 2325862 w 9595474"/>
              <a:gd name="connsiteY213" fmla="*/ 1161098 h 6858000"/>
              <a:gd name="connsiteX214" fmla="*/ 2330887 w 9595474"/>
              <a:gd name="connsiteY214" fmla="*/ 1157288 h 6858000"/>
              <a:gd name="connsiteX215" fmla="*/ 2335616 w 9595474"/>
              <a:gd name="connsiteY215" fmla="*/ 1153160 h 6858000"/>
              <a:gd name="connsiteX216" fmla="*/ 2340345 w 9595474"/>
              <a:gd name="connsiteY216" fmla="*/ 1148715 h 6858000"/>
              <a:gd name="connsiteX217" fmla="*/ 2344483 w 9595474"/>
              <a:gd name="connsiteY217" fmla="*/ 1144270 h 6858000"/>
              <a:gd name="connsiteX218" fmla="*/ 2348621 w 9595474"/>
              <a:gd name="connsiteY218" fmla="*/ 1139508 h 6858000"/>
              <a:gd name="connsiteX219" fmla="*/ 2352464 w 9595474"/>
              <a:gd name="connsiteY219" fmla="*/ 1134428 h 6858000"/>
              <a:gd name="connsiteX220" fmla="*/ 2356011 w 9595474"/>
              <a:gd name="connsiteY220" fmla="*/ 1129348 h 6858000"/>
              <a:gd name="connsiteX221" fmla="*/ 2359262 w 9595474"/>
              <a:gd name="connsiteY221" fmla="*/ 1124268 h 6858000"/>
              <a:gd name="connsiteX222" fmla="*/ 2362218 w 9595474"/>
              <a:gd name="connsiteY222" fmla="*/ 1118870 h 6858000"/>
              <a:gd name="connsiteX223" fmla="*/ 2364582 w 9595474"/>
              <a:gd name="connsiteY223" fmla="*/ 1113473 h 6858000"/>
              <a:gd name="connsiteX224" fmla="*/ 2367242 w 9595474"/>
              <a:gd name="connsiteY224" fmla="*/ 1108075 h 6858000"/>
              <a:gd name="connsiteX225" fmla="*/ 2369311 w 9595474"/>
              <a:gd name="connsiteY225" fmla="*/ 1102360 h 6858000"/>
              <a:gd name="connsiteX226" fmla="*/ 2371085 w 9595474"/>
              <a:gd name="connsiteY226" fmla="*/ 1096645 h 6858000"/>
              <a:gd name="connsiteX227" fmla="*/ 2372563 w 9595474"/>
              <a:gd name="connsiteY227" fmla="*/ 1090930 h 6858000"/>
              <a:gd name="connsiteX228" fmla="*/ 2374041 w 9595474"/>
              <a:gd name="connsiteY228" fmla="*/ 1085215 h 6858000"/>
              <a:gd name="connsiteX229" fmla="*/ 2375223 w 9595474"/>
              <a:gd name="connsiteY229" fmla="*/ 1079500 h 6858000"/>
              <a:gd name="connsiteX230" fmla="*/ 2375814 w 9595474"/>
              <a:gd name="connsiteY230" fmla="*/ 1073785 h 6858000"/>
              <a:gd name="connsiteX231" fmla="*/ 2376110 w 9595474"/>
              <a:gd name="connsiteY231" fmla="*/ 1067753 h 6858000"/>
              <a:gd name="connsiteX232" fmla="*/ 2376110 w 9595474"/>
              <a:gd name="connsiteY232" fmla="*/ 1061720 h 6858000"/>
              <a:gd name="connsiteX233" fmla="*/ 2376110 w 9595474"/>
              <a:gd name="connsiteY233" fmla="*/ 1055688 h 6858000"/>
              <a:gd name="connsiteX234" fmla="*/ 2375814 w 9595474"/>
              <a:gd name="connsiteY234" fmla="*/ 1049973 h 6858000"/>
              <a:gd name="connsiteX235" fmla="*/ 2375223 w 9595474"/>
              <a:gd name="connsiteY235" fmla="*/ 1043940 h 6858000"/>
              <a:gd name="connsiteX236" fmla="*/ 2374041 w 9595474"/>
              <a:gd name="connsiteY236" fmla="*/ 1038225 h 6858000"/>
              <a:gd name="connsiteX237" fmla="*/ 2372563 w 9595474"/>
              <a:gd name="connsiteY237" fmla="*/ 1032510 h 6858000"/>
              <a:gd name="connsiteX238" fmla="*/ 2371085 w 9595474"/>
              <a:gd name="connsiteY238" fmla="*/ 1026795 h 6858000"/>
              <a:gd name="connsiteX239" fmla="*/ 2369311 w 9595474"/>
              <a:gd name="connsiteY239" fmla="*/ 1021080 h 6858000"/>
              <a:gd name="connsiteX240" fmla="*/ 2367242 w 9595474"/>
              <a:gd name="connsiteY240" fmla="*/ 1015683 h 6858000"/>
              <a:gd name="connsiteX241" fmla="*/ 2364582 w 9595474"/>
              <a:gd name="connsiteY241" fmla="*/ 1009650 h 6858000"/>
              <a:gd name="connsiteX242" fmla="*/ 2362218 w 9595474"/>
              <a:gd name="connsiteY242" fmla="*/ 1004253 h 6858000"/>
              <a:gd name="connsiteX243" fmla="*/ 2359262 w 9595474"/>
              <a:gd name="connsiteY243" fmla="*/ 998855 h 6858000"/>
              <a:gd name="connsiteX244" fmla="*/ 2356011 w 9595474"/>
              <a:gd name="connsiteY244" fmla="*/ 994093 h 6858000"/>
              <a:gd name="connsiteX245" fmla="*/ 2352464 w 9595474"/>
              <a:gd name="connsiteY245" fmla="*/ 989013 h 6858000"/>
              <a:gd name="connsiteX246" fmla="*/ 2348621 w 9595474"/>
              <a:gd name="connsiteY246" fmla="*/ 983933 h 6858000"/>
              <a:gd name="connsiteX247" fmla="*/ 2344483 w 9595474"/>
              <a:gd name="connsiteY247" fmla="*/ 979170 h 6858000"/>
              <a:gd name="connsiteX248" fmla="*/ 2340345 w 9595474"/>
              <a:gd name="connsiteY248" fmla="*/ 974725 h 6858000"/>
              <a:gd name="connsiteX249" fmla="*/ 2240737 w 9595474"/>
              <a:gd name="connsiteY249" fmla="*/ 875030 h 6858000"/>
              <a:gd name="connsiteX250" fmla="*/ 1991865 w 9595474"/>
              <a:gd name="connsiteY250" fmla="*/ 626428 h 6858000"/>
              <a:gd name="connsiteX251" fmla="*/ 1987431 w 9595474"/>
              <a:gd name="connsiteY251" fmla="*/ 621665 h 6858000"/>
              <a:gd name="connsiteX252" fmla="*/ 1983589 w 9595474"/>
              <a:gd name="connsiteY252" fmla="*/ 616903 h 6858000"/>
              <a:gd name="connsiteX253" fmla="*/ 1979451 w 9595474"/>
              <a:gd name="connsiteY253" fmla="*/ 612140 h 6858000"/>
              <a:gd name="connsiteX254" fmla="*/ 1975904 w 9595474"/>
              <a:gd name="connsiteY254" fmla="*/ 607060 h 6858000"/>
              <a:gd name="connsiteX255" fmla="*/ 1972653 w 9595474"/>
              <a:gd name="connsiteY255" fmla="*/ 601663 h 6858000"/>
              <a:gd name="connsiteX256" fmla="*/ 1969993 w 9595474"/>
              <a:gd name="connsiteY256" fmla="*/ 596265 h 6858000"/>
              <a:gd name="connsiteX257" fmla="*/ 1967037 w 9595474"/>
              <a:gd name="connsiteY257" fmla="*/ 590868 h 6858000"/>
              <a:gd name="connsiteX258" fmla="*/ 1964968 w 9595474"/>
              <a:gd name="connsiteY258" fmla="*/ 585470 h 6858000"/>
              <a:gd name="connsiteX259" fmla="*/ 1962603 w 9595474"/>
              <a:gd name="connsiteY259" fmla="*/ 579755 h 6858000"/>
              <a:gd name="connsiteX260" fmla="*/ 1960830 w 9595474"/>
              <a:gd name="connsiteY260" fmla="*/ 574358 h 6858000"/>
              <a:gd name="connsiteX261" fmla="*/ 1959056 w 9595474"/>
              <a:gd name="connsiteY261" fmla="*/ 568643 h 6858000"/>
              <a:gd name="connsiteX262" fmla="*/ 1958170 w 9595474"/>
              <a:gd name="connsiteY262" fmla="*/ 562610 h 6858000"/>
              <a:gd name="connsiteX263" fmla="*/ 1956987 w 9595474"/>
              <a:gd name="connsiteY263" fmla="*/ 556895 h 6858000"/>
              <a:gd name="connsiteX264" fmla="*/ 1956396 w 9595474"/>
              <a:gd name="connsiteY264" fmla="*/ 551180 h 6858000"/>
              <a:gd name="connsiteX265" fmla="*/ 1955805 w 9595474"/>
              <a:gd name="connsiteY265" fmla="*/ 544830 h 6858000"/>
              <a:gd name="connsiteX266" fmla="*/ 1955805 w 9595474"/>
              <a:gd name="connsiteY266" fmla="*/ 539115 h 6858000"/>
              <a:gd name="connsiteX267" fmla="*/ 1955805 w 9595474"/>
              <a:gd name="connsiteY267" fmla="*/ 533083 h 6858000"/>
              <a:gd name="connsiteX268" fmla="*/ 1956396 w 9595474"/>
              <a:gd name="connsiteY268" fmla="*/ 527368 h 6858000"/>
              <a:gd name="connsiteX269" fmla="*/ 1956987 w 9595474"/>
              <a:gd name="connsiteY269" fmla="*/ 521653 h 6858000"/>
              <a:gd name="connsiteX270" fmla="*/ 1958170 w 9595474"/>
              <a:gd name="connsiteY270" fmla="*/ 515620 h 6858000"/>
              <a:gd name="connsiteX271" fmla="*/ 1959056 w 9595474"/>
              <a:gd name="connsiteY271" fmla="*/ 509588 h 6858000"/>
              <a:gd name="connsiteX272" fmla="*/ 1960830 w 9595474"/>
              <a:gd name="connsiteY272" fmla="*/ 503873 h 6858000"/>
              <a:gd name="connsiteX273" fmla="*/ 1962603 w 9595474"/>
              <a:gd name="connsiteY273" fmla="*/ 498158 h 6858000"/>
              <a:gd name="connsiteX274" fmla="*/ 1964968 w 9595474"/>
              <a:gd name="connsiteY274" fmla="*/ 492760 h 6858000"/>
              <a:gd name="connsiteX275" fmla="*/ 1967037 w 9595474"/>
              <a:gd name="connsiteY275" fmla="*/ 487363 h 6858000"/>
              <a:gd name="connsiteX276" fmla="*/ 1969993 w 9595474"/>
              <a:gd name="connsiteY276" fmla="*/ 481648 h 6858000"/>
              <a:gd name="connsiteX277" fmla="*/ 1972653 w 9595474"/>
              <a:gd name="connsiteY277" fmla="*/ 476568 h 6858000"/>
              <a:gd name="connsiteX278" fmla="*/ 1975904 w 9595474"/>
              <a:gd name="connsiteY278" fmla="*/ 471170 h 6858000"/>
              <a:gd name="connsiteX279" fmla="*/ 1979451 w 9595474"/>
              <a:gd name="connsiteY279" fmla="*/ 466408 h 6858000"/>
              <a:gd name="connsiteX280" fmla="*/ 1983589 w 9595474"/>
              <a:gd name="connsiteY280" fmla="*/ 461328 h 6858000"/>
              <a:gd name="connsiteX281" fmla="*/ 1987431 w 9595474"/>
              <a:gd name="connsiteY281" fmla="*/ 456565 h 6858000"/>
              <a:gd name="connsiteX282" fmla="*/ 1991865 w 9595474"/>
              <a:gd name="connsiteY282" fmla="*/ 451803 h 6858000"/>
              <a:gd name="connsiteX283" fmla="*/ 1996594 w 9595474"/>
              <a:gd name="connsiteY283" fmla="*/ 447675 h 6858000"/>
              <a:gd name="connsiteX284" fmla="*/ 2001028 w 9595474"/>
              <a:gd name="connsiteY284" fmla="*/ 443548 h 6858000"/>
              <a:gd name="connsiteX285" fmla="*/ 2006052 w 9595474"/>
              <a:gd name="connsiteY285" fmla="*/ 439738 h 6858000"/>
              <a:gd name="connsiteX286" fmla="*/ 2011077 w 9595474"/>
              <a:gd name="connsiteY286" fmla="*/ 436245 h 6858000"/>
              <a:gd name="connsiteX287" fmla="*/ 2016102 w 9595474"/>
              <a:gd name="connsiteY287" fmla="*/ 432753 h 6858000"/>
              <a:gd name="connsiteX288" fmla="*/ 2021718 w 9595474"/>
              <a:gd name="connsiteY288" fmla="*/ 429895 h 6858000"/>
              <a:gd name="connsiteX289" fmla="*/ 2027038 w 9595474"/>
              <a:gd name="connsiteY289" fmla="*/ 427355 h 6858000"/>
              <a:gd name="connsiteX290" fmla="*/ 2032654 w 9595474"/>
              <a:gd name="connsiteY290" fmla="*/ 424815 h 6858000"/>
              <a:gd name="connsiteX291" fmla="*/ 2038270 w 9595474"/>
              <a:gd name="connsiteY291" fmla="*/ 422910 h 6858000"/>
              <a:gd name="connsiteX292" fmla="*/ 2043886 w 9595474"/>
              <a:gd name="connsiteY292" fmla="*/ 421005 h 6858000"/>
              <a:gd name="connsiteX293" fmla="*/ 2049502 w 9595474"/>
              <a:gd name="connsiteY293" fmla="*/ 419735 h 6858000"/>
              <a:gd name="connsiteX294" fmla="*/ 2055413 w 9595474"/>
              <a:gd name="connsiteY294" fmla="*/ 418148 h 6858000"/>
              <a:gd name="connsiteX295" fmla="*/ 2061029 w 9595474"/>
              <a:gd name="connsiteY295" fmla="*/ 417195 h 6858000"/>
              <a:gd name="connsiteX296" fmla="*/ 2067236 w 9595474"/>
              <a:gd name="connsiteY296" fmla="*/ 416243 h 6858000"/>
              <a:gd name="connsiteX297" fmla="*/ 2072852 w 9595474"/>
              <a:gd name="connsiteY297" fmla="*/ 415925 h 6858000"/>
              <a:gd name="connsiteX298" fmla="*/ 2079059 w 9595474"/>
              <a:gd name="connsiteY298" fmla="*/ 415925 h 6858000"/>
              <a:gd name="connsiteX299" fmla="*/ 2084970 w 9595474"/>
              <a:gd name="connsiteY299" fmla="*/ 415925 h 6858000"/>
              <a:gd name="connsiteX300" fmla="*/ 2090882 w 9595474"/>
              <a:gd name="connsiteY300" fmla="*/ 416243 h 6858000"/>
              <a:gd name="connsiteX301" fmla="*/ 2096793 w 9595474"/>
              <a:gd name="connsiteY301" fmla="*/ 417195 h 6858000"/>
              <a:gd name="connsiteX302" fmla="*/ 2102409 w 9595474"/>
              <a:gd name="connsiteY302" fmla="*/ 418148 h 6858000"/>
              <a:gd name="connsiteX303" fmla="*/ 2108321 w 9595474"/>
              <a:gd name="connsiteY303" fmla="*/ 419735 h 6858000"/>
              <a:gd name="connsiteX304" fmla="*/ 2113936 w 9595474"/>
              <a:gd name="connsiteY304" fmla="*/ 421005 h 6858000"/>
              <a:gd name="connsiteX305" fmla="*/ 2119552 w 9595474"/>
              <a:gd name="connsiteY305" fmla="*/ 422910 h 6858000"/>
              <a:gd name="connsiteX306" fmla="*/ 2125464 w 9595474"/>
              <a:gd name="connsiteY306" fmla="*/ 424815 h 6858000"/>
              <a:gd name="connsiteX307" fmla="*/ 2130784 w 9595474"/>
              <a:gd name="connsiteY307" fmla="*/ 427355 h 6858000"/>
              <a:gd name="connsiteX308" fmla="*/ 2136104 w 9595474"/>
              <a:gd name="connsiteY308" fmla="*/ 429895 h 6858000"/>
              <a:gd name="connsiteX309" fmla="*/ 2141720 w 9595474"/>
              <a:gd name="connsiteY309" fmla="*/ 432753 h 6858000"/>
              <a:gd name="connsiteX310" fmla="*/ 2146745 w 9595474"/>
              <a:gd name="connsiteY310" fmla="*/ 436245 h 6858000"/>
              <a:gd name="connsiteX311" fmla="*/ 2152065 w 9595474"/>
              <a:gd name="connsiteY311" fmla="*/ 439738 h 6858000"/>
              <a:gd name="connsiteX312" fmla="*/ 2156795 w 9595474"/>
              <a:gd name="connsiteY312" fmla="*/ 443548 h 6858000"/>
              <a:gd name="connsiteX313" fmla="*/ 2161819 w 9595474"/>
              <a:gd name="connsiteY313" fmla="*/ 447675 h 6858000"/>
              <a:gd name="connsiteX314" fmla="*/ 2165957 w 9595474"/>
              <a:gd name="connsiteY314" fmla="*/ 451803 h 6858000"/>
              <a:gd name="connsiteX315" fmla="*/ 2966073 w 9595474"/>
              <a:gd name="connsiteY315" fmla="*/ 1251903 h 6858000"/>
              <a:gd name="connsiteX316" fmla="*/ 5612631 w 9595474"/>
              <a:gd name="connsiteY316" fmla="*/ 3898583 h 6858000"/>
              <a:gd name="connsiteX317" fmla="*/ 5617360 w 9595474"/>
              <a:gd name="connsiteY317" fmla="*/ 3903345 h 6858000"/>
              <a:gd name="connsiteX318" fmla="*/ 5621498 w 9595474"/>
              <a:gd name="connsiteY318" fmla="*/ 3908425 h 6858000"/>
              <a:gd name="connsiteX319" fmla="*/ 5625341 w 9595474"/>
              <a:gd name="connsiteY319" fmla="*/ 3913505 h 6858000"/>
              <a:gd name="connsiteX320" fmla="*/ 5628888 w 9595474"/>
              <a:gd name="connsiteY320" fmla="*/ 3918585 h 6858000"/>
              <a:gd name="connsiteX321" fmla="*/ 5632139 w 9595474"/>
              <a:gd name="connsiteY321" fmla="*/ 3923348 h 6858000"/>
              <a:gd name="connsiteX322" fmla="*/ 5635094 w 9595474"/>
              <a:gd name="connsiteY322" fmla="*/ 3928745 h 6858000"/>
              <a:gd name="connsiteX323" fmla="*/ 5638050 w 9595474"/>
              <a:gd name="connsiteY323" fmla="*/ 3934460 h 6858000"/>
              <a:gd name="connsiteX324" fmla="*/ 5640415 w 9595474"/>
              <a:gd name="connsiteY324" fmla="*/ 3939858 h 6858000"/>
              <a:gd name="connsiteX325" fmla="*/ 5642484 w 9595474"/>
              <a:gd name="connsiteY325" fmla="*/ 3945890 h 6858000"/>
              <a:gd name="connsiteX326" fmla="*/ 5644257 w 9595474"/>
              <a:gd name="connsiteY326" fmla="*/ 3951605 h 6858000"/>
              <a:gd name="connsiteX327" fmla="*/ 5645735 w 9595474"/>
              <a:gd name="connsiteY327" fmla="*/ 3957320 h 6858000"/>
              <a:gd name="connsiteX328" fmla="*/ 5647213 w 9595474"/>
              <a:gd name="connsiteY328" fmla="*/ 3963353 h 6858000"/>
              <a:gd name="connsiteX329" fmla="*/ 5648100 w 9595474"/>
              <a:gd name="connsiteY329" fmla="*/ 3969068 h 6858000"/>
              <a:gd name="connsiteX330" fmla="*/ 5648691 w 9595474"/>
              <a:gd name="connsiteY330" fmla="*/ 3975100 h 6858000"/>
              <a:gd name="connsiteX331" fmla="*/ 5649282 w 9595474"/>
              <a:gd name="connsiteY331" fmla="*/ 3980815 h 6858000"/>
              <a:gd name="connsiteX332" fmla="*/ 5649282 w 9595474"/>
              <a:gd name="connsiteY332" fmla="*/ 3987165 h 6858000"/>
              <a:gd name="connsiteX333" fmla="*/ 5649282 w 9595474"/>
              <a:gd name="connsiteY333" fmla="*/ 3992880 h 6858000"/>
              <a:gd name="connsiteX334" fmla="*/ 5648691 w 9595474"/>
              <a:gd name="connsiteY334" fmla="*/ 3998913 h 6858000"/>
              <a:gd name="connsiteX335" fmla="*/ 5648100 w 9595474"/>
              <a:gd name="connsiteY335" fmla="*/ 4004945 h 6858000"/>
              <a:gd name="connsiteX336" fmla="*/ 5647213 w 9595474"/>
              <a:gd name="connsiteY336" fmla="*/ 4010660 h 6858000"/>
              <a:gd name="connsiteX337" fmla="*/ 5645735 w 9595474"/>
              <a:gd name="connsiteY337" fmla="*/ 4016375 h 6858000"/>
              <a:gd name="connsiteX338" fmla="*/ 5644257 w 9595474"/>
              <a:gd name="connsiteY338" fmla="*/ 4022725 h 6858000"/>
              <a:gd name="connsiteX339" fmla="*/ 5642484 w 9595474"/>
              <a:gd name="connsiteY339" fmla="*/ 4028440 h 6858000"/>
              <a:gd name="connsiteX340" fmla="*/ 5640415 w 9595474"/>
              <a:gd name="connsiteY340" fmla="*/ 4033838 h 6858000"/>
              <a:gd name="connsiteX341" fmla="*/ 5638050 w 9595474"/>
              <a:gd name="connsiteY341" fmla="*/ 4039553 h 6858000"/>
              <a:gd name="connsiteX342" fmla="*/ 5635094 w 9595474"/>
              <a:gd name="connsiteY342" fmla="*/ 4044950 h 6858000"/>
              <a:gd name="connsiteX343" fmla="*/ 5632139 w 9595474"/>
              <a:gd name="connsiteY343" fmla="*/ 4050348 h 6858000"/>
              <a:gd name="connsiteX344" fmla="*/ 5628888 w 9595474"/>
              <a:gd name="connsiteY344" fmla="*/ 4055745 h 6858000"/>
              <a:gd name="connsiteX345" fmla="*/ 5625341 w 9595474"/>
              <a:gd name="connsiteY345" fmla="*/ 4060825 h 6858000"/>
              <a:gd name="connsiteX346" fmla="*/ 5621498 w 9595474"/>
              <a:gd name="connsiteY346" fmla="*/ 4065588 h 6858000"/>
              <a:gd name="connsiteX347" fmla="*/ 5617360 w 9595474"/>
              <a:gd name="connsiteY347" fmla="*/ 4070350 h 6858000"/>
              <a:gd name="connsiteX348" fmla="*/ 5612631 w 9595474"/>
              <a:gd name="connsiteY348" fmla="*/ 4075113 h 6858000"/>
              <a:gd name="connsiteX349" fmla="*/ 5608198 w 9595474"/>
              <a:gd name="connsiteY349" fmla="*/ 4079875 h 6858000"/>
              <a:gd name="connsiteX350" fmla="*/ 5603468 w 9595474"/>
              <a:gd name="connsiteY350" fmla="*/ 4083685 h 6858000"/>
              <a:gd name="connsiteX351" fmla="*/ 5598443 w 9595474"/>
              <a:gd name="connsiteY351" fmla="*/ 4087495 h 6858000"/>
              <a:gd name="connsiteX352" fmla="*/ 5593419 w 9595474"/>
              <a:gd name="connsiteY352" fmla="*/ 4091305 h 6858000"/>
              <a:gd name="connsiteX353" fmla="*/ 5588098 w 9595474"/>
              <a:gd name="connsiteY353" fmla="*/ 4094480 h 6858000"/>
              <a:gd name="connsiteX354" fmla="*/ 5582482 w 9595474"/>
              <a:gd name="connsiteY354" fmla="*/ 4097338 h 6858000"/>
              <a:gd name="connsiteX355" fmla="*/ 5577162 w 9595474"/>
              <a:gd name="connsiteY355" fmla="*/ 4100195 h 6858000"/>
              <a:gd name="connsiteX356" fmla="*/ 5571842 w 9595474"/>
              <a:gd name="connsiteY356" fmla="*/ 4102418 h 6858000"/>
              <a:gd name="connsiteX357" fmla="*/ 5565931 w 9595474"/>
              <a:gd name="connsiteY357" fmla="*/ 4104640 h 6858000"/>
              <a:gd name="connsiteX358" fmla="*/ 5560315 w 9595474"/>
              <a:gd name="connsiteY358" fmla="*/ 4106545 h 6858000"/>
              <a:gd name="connsiteX359" fmla="*/ 5554699 w 9595474"/>
              <a:gd name="connsiteY359" fmla="*/ 4108133 h 6858000"/>
              <a:gd name="connsiteX360" fmla="*/ 5548492 w 9595474"/>
              <a:gd name="connsiteY360" fmla="*/ 4109403 h 6858000"/>
              <a:gd name="connsiteX361" fmla="*/ 5542580 w 9595474"/>
              <a:gd name="connsiteY361" fmla="*/ 4110355 h 6858000"/>
              <a:gd name="connsiteX362" fmla="*/ 5536669 w 9595474"/>
              <a:gd name="connsiteY362" fmla="*/ 4110990 h 6858000"/>
              <a:gd name="connsiteX363" fmla="*/ 5530758 w 9595474"/>
              <a:gd name="connsiteY363" fmla="*/ 4111308 h 6858000"/>
              <a:gd name="connsiteX364" fmla="*/ 5524846 w 9595474"/>
              <a:gd name="connsiteY364" fmla="*/ 4111625 h 6858000"/>
              <a:gd name="connsiteX365" fmla="*/ 5518639 w 9595474"/>
              <a:gd name="connsiteY365" fmla="*/ 4111308 h 6858000"/>
              <a:gd name="connsiteX366" fmla="*/ 5513023 w 9595474"/>
              <a:gd name="connsiteY366" fmla="*/ 4110990 h 6858000"/>
              <a:gd name="connsiteX367" fmla="*/ 5506816 w 9595474"/>
              <a:gd name="connsiteY367" fmla="*/ 4110355 h 6858000"/>
              <a:gd name="connsiteX368" fmla="*/ 5501200 w 9595474"/>
              <a:gd name="connsiteY368" fmla="*/ 4109403 h 6858000"/>
              <a:gd name="connsiteX369" fmla="*/ 5494993 w 9595474"/>
              <a:gd name="connsiteY369" fmla="*/ 4108133 h 6858000"/>
              <a:gd name="connsiteX370" fmla="*/ 5489081 w 9595474"/>
              <a:gd name="connsiteY370" fmla="*/ 4106545 h 6858000"/>
              <a:gd name="connsiteX371" fmla="*/ 5483466 w 9595474"/>
              <a:gd name="connsiteY371" fmla="*/ 4104640 h 6858000"/>
              <a:gd name="connsiteX372" fmla="*/ 5477850 w 9595474"/>
              <a:gd name="connsiteY372" fmla="*/ 4102418 h 6858000"/>
              <a:gd name="connsiteX373" fmla="*/ 5472234 w 9595474"/>
              <a:gd name="connsiteY373" fmla="*/ 4100195 h 6858000"/>
              <a:gd name="connsiteX374" fmla="*/ 5466913 w 9595474"/>
              <a:gd name="connsiteY374" fmla="*/ 4097338 h 6858000"/>
              <a:gd name="connsiteX375" fmla="*/ 5461593 w 9595474"/>
              <a:gd name="connsiteY375" fmla="*/ 4094480 h 6858000"/>
              <a:gd name="connsiteX376" fmla="*/ 5456273 w 9595474"/>
              <a:gd name="connsiteY376" fmla="*/ 4091305 h 6858000"/>
              <a:gd name="connsiteX377" fmla="*/ 5451248 w 9595474"/>
              <a:gd name="connsiteY377" fmla="*/ 4087495 h 6858000"/>
              <a:gd name="connsiteX378" fmla="*/ 5446223 w 9595474"/>
              <a:gd name="connsiteY378" fmla="*/ 4083685 h 6858000"/>
              <a:gd name="connsiteX379" fmla="*/ 5441495 w 9595474"/>
              <a:gd name="connsiteY379" fmla="*/ 4079875 h 6858000"/>
              <a:gd name="connsiteX380" fmla="*/ 5436765 w 9595474"/>
              <a:gd name="connsiteY380" fmla="*/ 4075113 h 6858000"/>
              <a:gd name="connsiteX381" fmla="*/ 5322379 w 9595474"/>
              <a:gd name="connsiteY381" fmla="*/ 3960813 h 6858000"/>
              <a:gd name="connsiteX382" fmla="*/ 5317945 w 9595474"/>
              <a:gd name="connsiteY382" fmla="*/ 3956368 h 6858000"/>
              <a:gd name="connsiteX383" fmla="*/ 5312921 w 9595474"/>
              <a:gd name="connsiteY383" fmla="*/ 3952240 h 6858000"/>
              <a:gd name="connsiteX384" fmla="*/ 5307896 w 9595474"/>
              <a:gd name="connsiteY384" fmla="*/ 3948748 h 6858000"/>
              <a:gd name="connsiteX385" fmla="*/ 5302871 w 9595474"/>
              <a:gd name="connsiteY385" fmla="*/ 3944938 h 6858000"/>
              <a:gd name="connsiteX386" fmla="*/ 5297255 w 9595474"/>
              <a:gd name="connsiteY386" fmla="*/ 3941763 h 6858000"/>
              <a:gd name="connsiteX387" fmla="*/ 5292230 w 9595474"/>
              <a:gd name="connsiteY387" fmla="*/ 3938588 h 6858000"/>
              <a:gd name="connsiteX388" fmla="*/ 5286615 w 9595474"/>
              <a:gd name="connsiteY388" fmla="*/ 3936048 h 6858000"/>
              <a:gd name="connsiteX389" fmla="*/ 5281294 w 9595474"/>
              <a:gd name="connsiteY389" fmla="*/ 3933508 h 6858000"/>
              <a:gd name="connsiteX390" fmla="*/ 5275383 w 9595474"/>
              <a:gd name="connsiteY390" fmla="*/ 3931285 h 6858000"/>
              <a:gd name="connsiteX391" fmla="*/ 5269767 w 9595474"/>
              <a:gd name="connsiteY391" fmla="*/ 3929698 h 6858000"/>
              <a:gd name="connsiteX392" fmla="*/ 5263855 w 9595474"/>
              <a:gd name="connsiteY392" fmla="*/ 3927793 h 6858000"/>
              <a:gd name="connsiteX393" fmla="*/ 5257944 w 9595474"/>
              <a:gd name="connsiteY393" fmla="*/ 3926840 h 6858000"/>
              <a:gd name="connsiteX394" fmla="*/ 5252033 w 9595474"/>
              <a:gd name="connsiteY394" fmla="*/ 3925570 h 6858000"/>
              <a:gd name="connsiteX395" fmla="*/ 5246121 w 9595474"/>
              <a:gd name="connsiteY395" fmla="*/ 3924935 h 6858000"/>
              <a:gd name="connsiteX396" fmla="*/ 5240210 w 9595474"/>
              <a:gd name="connsiteY396" fmla="*/ 3924618 h 6858000"/>
              <a:gd name="connsiteX397" fmla="*/ 5234298 w 9595474"/>
              <a:gd name="connsiteY397" fmla="*/ 3924618 h 6858000"/>
              <a:gd name="connsiteX398" fmla="*/ 5228091 w 9595474"/>
              <a:gd name="connsiteY398" fmla="*/ 3924618 h 6858000"/>
              <a:gd name="connsiteX399" fmla="*/ 5222180 w 9595474"/>
              <a:gd name="connsiteY399" fmla="*/ 3924935 h 6858000"/>
              <a:gd name="connsiteX400" fmla="*/ 5216268 w 9595474"/>
              <a:gd name="connsiteY400" fmla="*/ 3925570 h 6858000"/>
              <a:gd name="connsiteX401" fmla="*/ 5210357 w 9595474"/>
              <a:gd name="connsiteY401" fmla="*/ 3926840 h 6858000"/>
              <a:gd name="connsiteX402" fmla="*/ 5204741 w 9595474"/>
              <a:gd name="connsiteY402" fmla="*/ 3927793 h 6858000"/>
              <a:gd name="connsiteX403" fmla="*/ 5198534 w 9595474"/>
              <a:gd name="connsiteY403" fmla="*/ 3929698 h 6858000"/>
              <a:gd name="connsiteX404" fmla="*/ 5192918 w 9595474"/>
              <a:gd name="connsiteY404" fmla="*/ 3931285 h 6858000"/>
              <a:gd name="connsiteX405" fmla="*/ 5187598 w 9595474"/>
              <a:gd name="connsiteY405" fmla="*/ 3933508 h 6858000"/>
              <a:gd name="connsiteX406" fmla="*/ 5181686 w 9595474"/>
              <a:gd name="connsiteY406" fmla="*/ 3936048 h 6858000"/>
              <a:gd name="connsiteX407" fmla="*/ 5176366 w 9595474"/>
              <a:gd name="connsiteY407" fmla="*/ 3938588 h 6858000"/>
              <a:gd name="connsiteX408" fmla="*/ 5171046 w 9595474"/>
              <a:gd name="connsiteY408" fmla="*/ 3941763 h 6858000"/>
              <a:gd name="connsiteX409" fmla="*/ 5165430 w 9595474"/>
              <a:gd name="connsiteY409" fmla="*/ 3944938 h 6858000"/>
              <a:gd name="connsiteX410" fmla="*/ 5160405 w 9595474"/>
              <a:gd name="connsiteY410" fmla="*/ 3948748 h 6858000"/>
              <a:gd name="connsiteX411" fmla="*/ 5155380 w 9595474"/>
              <a:gd name="connsiteY411" fmla="*/ 3952240 h 6858000"/>
              <a:gd name="connsiteX412" fmla="*/ 5150947 w 9595474"/>
              <a:gd name="connsiteY412" fmla="*/ 3956368 h 6858000"/>
              <a:gd name="connsiteX413" fmla="*/ 5146218 w 9595474"/>
              <a:gd name="connsiteY413" fmla="*/ 3960813 h 6858000"/>
              <a:gd name="connsiteX414" fmla="*/ 5141488 w 9595474"/>
              <a:gd name="connsiteY414" fmla="*/ 3965575 h 6858000"/>
              <a:gd name="connsiteX415" fmla="*/ 5137646 w 9595474"/>
              <a:gd name="connsiteY415" fmla="*/ 3970655 h 6858000"/>
              <a:gd name="connsiteX416" fmla="*/ 5133508 w 9595474"/>
              <a:gd name="connsiteY416" fmla="*/ 3975100 h 6858000"/>
              <a:gd name="connsiteX417" fmla="*/ 5129961 w 9595474"/>
              <a:gd name="connsiteY417" fmla="*/ 3980498 h 6858000"/>
              <a:gd name="connsiteX418" fmla="*/ 5126710 w 9595474"/>
              <a:gd name="connsiteY418" fmla="*/ 3985578 h 6858000"/>
              <a:gd name="connsiteX419" fmla="*/ 5123754 w 9595474"/>
              <a:gd name="connsiteY419" fmla="*/ 3990975 h 6858000"/>
              <a:gd name="connsiteX420" fmla="*/ 5121094 w 9595474"/>
              <a:gd name="connsiteY420" fmla="*/ 3996373 h 6858000"/>
              <a:gd name="connsiteX421" fmla="*/ 5118729 w 9595474"/>
              <a:gd name="connsiteY421" fmla="*/ 4002088 h 6858000"/>
              <a:gd name="connsiteX422" fmla="*/ 5116660 w 9595474"/>
              <a:gd name="connsiteY422" fmla="*/ 4007803 h 6858000"/>
              <a:gd name="connsiteX423" fmla="*/ 5114591 w 9595474"/>
              <a:gd name="connsiteY423" fmla="*/ 4013518 h 6858000"/>
              <a:gd name="connsiteX424" fmla="*/ 5113113 w 9595474"/>
              <a:gd name="connsiteY424" fmla="*/ 4019233 h 6858000"/>
              <a:gd name="connsiteX425" fmla="*/ 5111636 w 9595474"/>
              <a:gd name="connsiteY425" fmla="*/ 4025265 h 6858000"/>
              <a:gd name="connsiteX426" fmla="*/ 5111044 w 9595474"/>
              <a:gd name="connsiteY426" fmla="*/ 4031298 h 6858000"/>
              <a:gd name="connsiteX427" fmla="*/ 5110158 w 9595474"/>
              <a:gd name="connsiteY427" fmla="*/ 4037013 h 6858000"/>
              <a:gd name="connsiteX428" fmla="*/ 5109862 w 9595474"/>
              <a:gd name="connsiteY428" fmla="*/ 4043045 h 6858000"/>
              <a:gd name="connsiteX429" fmla="*/ 5109567 w 9595474"/>
              <a:gd name="connsiteY429" fmla="*/ 4049078 h 6858000"/>
              <a:gd name="connsiteX430" fmla="*/ 5109862 w 9595474"/>
              <a:gd name="connsiteY430" fmla="*/ 4055110 h 6858000"/>
              <a:gd name="connsiteX431" fmla="*/ 5110158 w 9595474"/>
              <a:gd name="connsiteY431" fmla="*/ 4061143 h 6858000"/>
              <a:gd name="connsiteX432" fmla="*/ 5111044 w 9595474"/>
              <a:gd name="connsiteY432" fmla="*/ 4066858 h 6858000"/>
              <a:gd name="connsiteX433" fmla="*/ 5111636 w 9595474"/>
              <a:gd name="connsiteY433" fmla="*/ 4072890 h 6858000"/>
              <a:gd name="connsiteX434" fmla="*/ 5113113 w 9595474"/>
              <a:gd name="connsiteY434" fmla="*/ 4078605 h 6858000"/>
              <a:gd name="connsiteX435" fmla="*/ 5114591 w 9595474"/>
              <a:gd name="connsiteY435" fmla="*/ 4084320 h 6858000"/>
              <a:gd name="connsiteX436" fmla="*/ 5116660 w 9595474"/>
              <a:gd name="connsiteY436" fmla="*/ 4090035 h 6858000"/>
              <a:gd name="connsiteX437" fmla="*/ 5118729 w 9595474"/>
              <a:gd name="connsiteY437" fmla="*/ 4095750 h 6858000"/>
              <a:gd name="connsiteX438" fmla="*/ 5121094 w 9595474"/>
              <a:gd name="connsiteY438" fmla="*/ 4101783 h 6858000"/>
              <a:gd name="connsiteX439" fmla="*/ 5123754 w 9595474"/>
              <a:gd name="connsiteY439" fmla="*/ 4107180 h 6858000"/>
              <a:gd name="connsiteX440" fmla="*/ 5126710 w 9595474"/>
              <a:gd name="connsiteY440" fmla="*/ 4112578 h 6858000"/>
              <a:gd name="connsiteX441" fmla="*/ 5129961 w 9595474"/>
              <a:gd name="connsiteY441" fmla="*/ 4117975 h 6858000"/>
              <a:gd name="connsiteX442" fmla="*/ 5133508 w 9595474"/>
              <a:gd name="connsiteY442" fmla="*/ 4122738 h 6858000"/>
              <a:gd name="connsiteX443" fmla="*/ 5137646 w 9595474"/>
              <a:gd name="connsiteY443" fmla="*/ 4127818 h 6858000"/>
              <a:gd name="connsiteX444" fmla="*/ 5141488 w 9595474"/>
              <a:gd name="connsiteY444" fmla="*/ 4132580 h 6858000"/>
              <a:gd name="connsiteX445" fmla="*/ 5146218 w 9595474"/>
              <a:gd name="connsiteY445" fmla="*/ 4137343 h 6858000"/>
              <a:gd name="connsiteX446" fmla="*/ 5870075 w 9595474"/>
              <a:gd name="connsiteY446" fmla="*/ 4860925 h 6858000"/>
              <a:gd name="connsiteX447" fmla="*/ 5874509 w 9595474"/>
              <a:gd name="connsiteY447" fmla="*/ 4865688 h 6858000"/>
              <a:gd name="connsiteX448" fmla="*/ 5878646 w 9595474"/>
              <a:gd name="connsiteY448" fmla="*/ 4870768 h 6858000"/>
              <a:gd name="connsiteX449" fmla="*/ 5882489 w 9595474"/>
              <a:gd name="connsiteY449" fmla="*/ 4875848 h 6858000"/>
              <a:gd name="connsiteX450" fmla="*/ 5886036 w 9595474"/>
              <a:gd name="connsiteY450" fmla="*/ 4880928 h 6858000"/>
              <a:gd name="connsiteX451" fmla="*/ 5889287 w 9595474"/>
              <a:gd name="connsiteY451" fmla="*/ 4885690 h 6858000"/>
              <a:gd name="connsiteX452" fmla="*/ 5892243 w 9595474"/>
              <a:gd name="connsiteY452" fmla="*/ 4891088 h 6858000"/>
              <a:gd name="connsiteX453" fmla="*/ 5895199 w 9595474"/>
              <a:gd name="connsiteY453" fmla="*/ 4897120 h 6858000"/>
              <a:gd name="connsiteX454" fmla="*/ 5897268 w 9595474"/>
              <a:gd name="connsiteY454" fmla="*/ 4902518 h 6858000"/>
              <a:gd name="connsiteX455" fmla="*/ 5899336 w 9595474"/>
              <a:gd name="connsiteY455" fmla="*/ 4908233 h 6858000"/>
              <a:gd name="connsiteX456" fmla="*/ 5901701 w 9595474"/>
              <a:gd name="connsiteY456" fmla="*/ 4913948 h 6858000"/>
              <a:gd name="connsiteX457" fmla="*/ 5902883 w 9595474"/>
              <a:gd name="connsiteY457" fmla="*/ 4919663 h 6858000"/>
              <a:gd name="connsiteX458" fmla="*/ 5904066 w 9595474"/>
              <a:gd name="connsiteY458" fmla="*/ 4925695 h 6858000"/>
              <a:gd name="connsiteX459" fmla="*/ 5905248 w 9595474"/>
              <a:gd name="connsiteY459" fmla="*/ 4931410 h 6858000"/>
              <a:gd name="connsiteX460" fmla="*/ 5905840 w 9595474"/>
              <a:gd name="connsiteY460" fmla="*/ 4937443 h 6858000"/>
              <a:gd name="connsiteX461" fmla="*/ 5906135 w 9595474"/>
              <a:gd name="connsiteY461" fmla="*/ 4943475 h 6858000"/>
              <a:gd name="connsiteX462" fmla="*/ 5906726 w 9595474"/>
              <a:gd name="connsiteY462" fmla="*/ 4949508 h 6858000"/>
              <a:gd name="connsiteX463" fmla="*/ 5906135 w 9595474"/>
              <a:gd name="connsiteY463" fmla="*/ 4955223 h 6858000"/>
              <a:gd name="connsiteX464" fmla="*/ 5905840 w 9595474"/>
              <a:gd name="connsiteY464" fmla="*/ 4961255 h 6858000"/>
              <a:gd name="connsiteX465" fmla="*/ 5905248 w 9595474"/>
              <a:gd name="connsiteY465" fmla="*/ 4967288 h 6858000"/>
              <a:gd name="connsiteX466" fmla="*/ 5904066 w 9595474"/>
              <a:gd name="connsiteY466" fmla="*/ 4973003 h 6858000"/>
              <a:gd name="connsiteX467" fmla="*/ 5902883 w 9595474"/>
              <a:gd name="connsiteY467" fmla="*/ 4979035 h 6858000"/>
              <a:gd name="connsiteX468" fmla="*/ 5901701 w 9595474"/>
              <a:gd name="connsiteY468" fmla="*/ 4985068 h 6858000"/>
              <a:gd name="connsiteX469" fmla="*/ 5899336 w 9595474"/>
              <a:gd name="connsiteY469" fmla="*/ 4990783 h 6858000"/>
              <a:gd name="connsiteX470" fmla="*/ 5897268 w 9595474"/>
              <a:gd name="connsiteY470" fmla="*/ 4996180 h 6858000"/>
              <a:gd name="connsiteX471" fmla="*/ 5895199 w 9595474"/>
              <a:gd name="connsiteY471" fmla="*/ 5001895 h 6858000"/>
              <a:gd name="connsiteX472" fmla="*/ 5892243 w 9595474"/>
              <a:gd name="connsiteY472" fmla="*/ 5007293 h 6858000"/>
              <a:gd name="connsiteX473" fmla="*/ 5889287 w 9595474"/>
              <a:gd name="connsiteY473" fmla="*/ 5012690 h 6858000"/>
              <a:gd name="connsiteX474" fmla="*/ 5886036 w 9595474"/>
              <a:gd name="connsiteY474" fmla="*/ 5018088 h 6858000"/>
              <a:gd name="connsiteX475" fmla="*/ 5882489 w 9595474"/>
              <a:gd name="connsiteY475" fmla="*/ 5023168 h 6858000"/>
              <a:gd name="connsiteX476" fmla="*/ 5878646 w 9595474"/>
              <a:gd name="connsiteY476" fmla="*/ 5028248 h 6858000"/>
              <a:gd name="connsiteX477" fmla="*/ 5874509 w 9595474"/>
              <a:gd name="connsiteY477" fmla="*/ 5032693 h 6858000"/>
              <a:gd name="connsiteX478" fmla="*/ 5870075 w 9595474"/>
              <a:gd name="connsiteY478" fmla="*/ 5037455 h 6858000"/>
              <a:gd name="connsiteX479" fmla="*/ 5865346 w 9595474"/>
              <a:gd name="connsiteY479" fmla="*/ 5041900 h 6858000"/>
              <a:gd name="connsiteX480" fmla="*/ 5860617 w 9595474"/>
              <a:gd name="connsiteY480" fmla="*/ 5046028 h 6858000"/>
              <a:gd name="connsiteX481" fmla="*/ 5855592 w 9595474"/>
              <a:gd name="connsiteY481" fmla="*/ 5050155 h 6858000"/>
              <a:gd name="connsiteX482" fmla="*/ 5850567 w 9595474"/>
              <a:gd name="connsiteY482" fmla="*/ 5053648 h 6858000"/>
              <a:gd name="connsiteX483" fmla="*/ 5845247 w 9595474"/>
              <a:gd name="connsiteY483" fmla="*/ 5056823 h 6858000"/>
              <a:gd name="connsiteX484" fmla="*/ 5839926 w 9595474"/>
              <a:gd name="connsiteY484" fmla="*/ 5059680 h 6858000"/>
              <a:gd name="connsiteX485" fmla="*/ 5834311 w 9595474"/>
              <a:gd name="connsiteY485" fmla="*/ 5062538 h 6858000"/>
              <a:gd name="connsiteX486" fmla="*/ 5828695 w 9595474"/>
              <a:gd name="connsiteY486" fmla="*/ 5064760 h 6858000"/>
              <a:gd name="connsiteX487" fmla="*/ 5823375 w 9595474"/>
              <a:gd name="connsiteY487" fmla="*/ 5066983 h 6858000"/>
              <a:gd name="connsiteX488" fmla="*/ 5817463 w 9595474"/>
              <a:gd name="connsiteY488" fmla="*/ 5069205 h 6858000"/>
              <a:gd name="connsiteX489" fmla="*/ 5811552 w 9595474"/>
              <a:gd name="connsiteY489" fmla="*/ 5070475 h 6858000"/>
              <a:gd name="connsiteX490" fmla="*/ 5805640 w 9595474"/>
              <a:gd name="connsiteY490" fmla="*/ 5071428 h 6858000"/>
              <a:gd name="connsiteX491" fmla="*/ 5800024 w 9595474"/>
              <a:gd name="connsiteY491" fmla="*/ 5072698 h 6858000"/>
              <a:gd name="connsiteX492" fmla="*/ 5793817 w 9595474"/>
              <a:gd name="connsiteY492" fmla="*/ 5073333 h 6858000"/>
              <a:gd name="connsiteX493" fmla="*/ 5787610 w 9595474"/>
              <a:gd name="connsiteY493" fmla="*/ 5073650 h 6858000"/>
              <a:gd name="connsiteX494" fmla="*/ 5781994 w 9595474"/>
              <a:gd name="connsiteY494" fmla="*/ 5073968 h 6858000"/>
              <a:gd name="connsiteX495" fmla="*/ 5775787 w 9595474"/>
              <a:gd name="connsiteY495" fmla="*/ 5073650 h 6858000"/>
              <a:gd name="connsiteX496" fmla="*/ 5770171 w 9595474"/>
              <a:gd name="connsiteY496" fmla="*/ 5073333 h 6858000"/>
              <a:gd name="connsiteX497" fmla="*/ 5763965 w 9595474"/>
              <a:gd name="connsiteY497" fmla="*/ 5072698 h 6858000"/>
              <a:gd name="connsiteX498" fmla="*/ 5758349 w 9595474"/>
              <a:gd name="connsiteY498" fmla="*/ 5071428 h 6858000"/>
              <a:gd name="connsiteX499" fmla="*/ 5752141 w 9595474"/>
              <a:gd name="connsiteY499" fmla="*/ 5070475 h 6858000"/>
              <a:gd name="connsiteX500" fmla="*/ 5746526 w 9595474"/>
              <a:gd name="connsiteY500" fmla="*/ 5069205 h 6858000"/>
              <a:gd name="connsiteX501" fmla="*/ 5740614 w 9595474"/>
              <a:gd name="connsiteY501" fmla="*/ 5066983 h 6858000"/>
              <a:gd name="connsiteX502" fmla="*/ 5734998 w 9595474"/>
              <a:gd name="connsiteY502" fmla="*/ 5064760 h 6858000"/>
              <a:gd name="connsiteX503" fmla="*/ 5729382 w 9595474"/>
              <a:gd name="connsiteY503" fmla="*/ 5062538 h 6858000"/>
              <a:gd name="connsiteX504" fmla="*/ 5723767 w 9595474"/>
              <a:gd name="connsiteY504" fmla="*/ 5059680 h 6858000"/>
              <a:gd name="connsiteX505" fmla="*/ 5718446 w 9595474"/>
              <a:gd name="connsiteY505" fmla="*/ 5056823 h 6858000"/>
              <a:gd name="connsiteX506" fmla="*/ 5713421 w 9595474"/>
              <a:gd name="connsiteY506" fmla="*/ 5053648 h 6858000"/>
              <a:gd name="connsiteX507" fmla="*/ 5708396 w 9595474"/>
              <a:gd name="connsiteY507" fmla="*/ 5050155 h 6858000"/>
              <a:gd name="connsiteX508" fmla="*/ 5703372 w 9595474"/>
              <a:gd name="connsiteY508" fmla="*/ 5046028 h 6858000"/>
              <a:gd name="connsiteX509" fmla="*/ 5698347 w 9595474"/>
              <a:gd name="connsiteY509" fmla="*/ 5041900 h 6858000"/>
              <a:gd name="connsiteX510" fmla="*/ 5693618 w 9595474"/>
              <a:gd name="connsiteY510" fmla="*/ 5037455 h 6858000"/>
              <a:gd name="connsiteX511" fmla="*/ 5598148 w 9595474"/>
              <a:gd name="connsiteY511" fmla="*/ 4941888 h 6858000"/>
              <a:gd name="connsiteX512" fmla="*/ 5490560 w 9595474"/>
              <a:gd name="connsiteY512" fmla="*/ 4834573 h 6858000"/>
              <a:gd name="connsiteX513" fmla="*/ 5485830 w 9595474"/>
              <a:gd name="connsiteY513" fmla="*/ 4830128 h 6858000"/>
              <a:gd name="connsiteX514" fmla="*/ 5481397 w 9595474"/>
              <a:gd name="connsiteY514" fmla="*/ 4826000 h 6858000"/>
              <a:gd name="connsiteX515" fmla="*/ 5476372 w 9595474"/>
              <a:gd name="connsiteY515" fmla="*/ 4821873 h 6858000"/>
              <a:gd name="connsiteX516" fmla="*/ 5471348 w 9595474"/>
              <a:gd name="connsiteY516" fmla="*/ 4818380 h 6858000"/>
              <a:gd name="connsiteX517" fmla="*/ 5465732 w 9595474"/>
              <a:gd name="connsiteY517" fmla="*/ 4815205 h 6858000"/>
              <a:gd name="connsiteX518" fmla="*/ 5460411 w 9595474"/>
              <a:gd name="connsiteY518" fmla="*/ 4812348 h 6858000"/>
              <a:gd name="connsiteX519" fmla="*/ 5455091 w 9595474"/>
              <a:gd name="connsiteY519" fmla="*/ 4809173 h 6858000"/>
              <a:gd name="connsiteX520" fmla="*/ 5449475 w 9595474"/>
              <a:gd name="connsiteY520" fmla="*/ 4807268 h 6858000"/>
              <a:gd name="connsiteX521" fmla="*/ 5443563 w 9595474"/>
              <a:gd name="connsiteY521" fmla="*/ 4805045 h 6858000"/>
              <a:gd name="connsiteX522" fmla="*/ 5437948 w 9595474"/>
              <a:gd name="connsiteY522" fmla="*/ 4802823 h 6858000"/>
              <a:gd name="connsiteX523" fmla="*/ 5432036 w 9595474"/>
              <a:gd name="connsiteY523" fmla="*/ 4801553 h 6858000"/>
              <a:gd name="connsiteX524" fmla="*/ 5426420 w 9595474"/>
              <a:gd name="connsiteY524" fmla="*/ 4800283 h 6858000"/>
              <a:gd name="connsiteX525" fmla="*/ 5420509 w 9595474"/>
              <a:gd name="connsiteY525" fmla="*/ 4799330 h 6858000"/>
              <a:gd name="connsiteX526" fmla="*/ 5414597 w 9595474"/>
              <a:gd name="connsiteY526" fmla="*/ 4798695 h 6858000"/>
              <a:gd name="connsiteX527" fmla="*/ 5408391 w 9595474"/>
              <a:gd name="connsiteY527" fmla="*/ 4798060 h 6858000"/>
              <a:gd name="connsiteX528" fmla="*/ 5402775 w 9595474"/>
              <a:gd name="connsiteY528" fmla="*/ 4797743 h 6858000"/>
              <a:gd name="connsiteX529" fmla="*/ 5396568 w 9595474"/>
              <a:gd name="connsiteY529" fmla="*/ 4798060 h 6858000"/>
              <a:gd name="connsiteX530" fmla="*/ 5390361 w 9595474"/>
              <a:gd name="connsiteY530" fmla="*/ 4798695 h 6858000"/>
              <a:gd name="connsiteX531" fmla="*/ 5384745 w 9595474"/>
              <a:gd name="connsiteY531" fmla="*/ 4799330 h 6858000"/>
              <a:gd name="connsiteX532" fmla="*/ 5378538 w 9595474"/>
              <a:gd name="connsiteY532" fmla="*/ 4800283 h 6858000"/>
              <a:gd name="connsiteX533" fmla="*/ 5372922 w 9595474"/>
              <a:gd name="connsiteY533" fmla="*/ 4801553 h 6858000"/>
              <a:gd name="connsiteX534" fmla="*/ 5367010 w 9595474"/>
              <a:gd name="connsiteY534" fmla="*/ 4802823 h 6858000"/>
              <a:gd name="connsiteX535" fmla="*/ 5361394 w 9595474"/>
              <a:gd name="connsiteY535" fmla="*/ 4805045 h 6858000"/>
              <a:gd name="connsiteX536" fmla="*/ 5355483 w 9595474"/>
              <a:gd name="connsiteY536" fmla="*/ 4807268 h 6858000"/>
              <a:gd name="connsiteX537" fmla="*/ 5350163 w 9595474"/>
              <a:gd name="connsiteY537" fmla="*/ 4809173 h 6858000"/>
              <a:gd name="connsiteX538" fmla="*/ 5344547 w 9595474"/>
              <a:gd name="connsiteY538" fmla="*/ 4812348 h 6858000"/>
              <a:gd name="connsiteX539" fmla="*/ 5338931 w 9595474"/>
              <a:gd name="connsiteY539" fmla="*/ 4815205 h 6858000"/>
              <a:gd name="connsiteX540" fmla="*/ 5333906 w 9595474"/>
              <a:gd name="connsiteY540" fmla="*/ 4818380 h 6858000"/>
              <a:gd name="connsiteX541" fmla="*/ 5328881 w 9595474"/>
              <a:gd name="connsiteY541" fmla="*/ 4821873 h 6858000"/>
              <a:gd name="connsiteX542" fmla="*/ 5323857 w 9595474"/>
              <a:gd name="connsiteY542" fmla="*/ 4826000 h 6858000"/>
              <a:gd name="connsiteX543" fmla="*/ 5318832 w 9595474"/>
              <a:gd name="connsiteY543" fmla="*/ 4830128 h 6858000"/>
              <a:gd name="connsiteX544" fmla="*/ 5314398 w 9595474"/>
              <a:gd name="connsiteY544" fmla="*/ 4834573 h 6858000"/>
              <a:gd name="connsiteX545" fmla="*/ 5307305 w 9595474"/>
              <a:gd name="connsiteY545" fmla="*/ 4841875 h 6858000"/>
              <a:gd name="connsiteX546" fmla="*/ 5301393 w 9595474"/>
              <a:gd name="connsiteY546" fmla="*/ 4849813 h 6858000"/>
              <a:gd name="connsiteX547" fmla="*/ 5295482 w 9595474"/>
              <a:gd name="connsiteY547" fmla="*/ 4858068 h 6858000"/>
              <a:gd name="connsiteX548" fmla="*/ 5291048 w 9595474"/>
              <a:gd name="connsiteY548" fmla="*/ 4867275 h 6858000"/>
              <a:gd name="connsiteX549" fmla="*/ 5286910 w 9595474"/>
              <a:gd name="connsiteY549" fmla="*/ 4875848 h 6858000"/>
              <a:gd name="connsiteX550" fmla="*/ 5283659 w 9595474"/>
              <a:gd name="connsiteY550" fmla="*/ 4885055 h 6858000"/>
              <a:gd name="connsiteX551" fmla="*/ 5281294 w 9595474"/>
              <a:gd name="connsiteY551" fmla="*/ 4894580 h 6858000"/>
              <a:gd name="connsiteX552" fmla="*/ 5279521 w 9595474"/>
              <a:gd name="connsiteY552" fmla="*/ 4903788 h 6858000"/>
              <a:gd name="connsiteX553" fmla="*/ 5278339 w 9595474"/>
              <a:gd name="connsiteY553" fmla="*/ 4913630 h 6858000"/>
              <a:gd name="connsiteX554" fmla="*/ 5278339 w 9595474"/>
              <a:gd name="connsiteY554" fmla="*/ 4923155 h 6858000"/>
              <a:gd name="connsiteX555" fmla="*/ 5278634 w 9595474"/>
              <a:gd name="connsiteY555" fmla="*/ 4932998 h 6858000"/>
              <a:gd name="connsiteX556" fmla="*/ 5279816 w 9595474"/>
              <a:gd name="connsiteY556" fmla="*/ 4942205 h 6858000"/>
              <a:gd name="connsiteX557" fmla="*/ 5281885 w 9595474"/>
              <a:gd name="connsiteY557" fmla="*/ 4952048 h 6858000"/>
              <a:gd name="connsiteX558" fmla="*/ 5284546 w 9595474"/>
              <a:gd name="connsiteY558" fmla="*/ 4960938 h 6858000"/>
              <a:gd name="connsiteX559" fmla="*/ 5288092 w 9595474"/>
              <a:gd name="connsiteY559" fmla="*/ 4970145 h 6858000"/>
              <a:gd name="connsiteX560" fmla="*/ 5291935 w 9595474"/>
              <a:gd name="connsiteY560" fmla="*/ 4979353 h 6858000"/>
              <a:gd name="connsiteX561" fmla="*/ 5583665 w 9595474"/>
              <a:gd name="connsiteY561" fmla="*/ 5270500 h 6858000"/>
              <a:gd name="connsiteX562" fmla="*/ 5588098 w 9595474"/>
              <a:gd name="connsiteY562" fmla="*/ 5275263 h 6858000"/>
              <a:gd name="connsiteX563" fmla="*/ 5592237 w 9595474"/>
              <a:gd name="connsiteY563" fmla="*/ 5280343 h 6858000"/>
              <a:gd name="connsiteX564" fmla="*/ 5595784 w 9595474"/>
              <a:gd name="connsiteY564" fmla="*/ 5284788 h 6858000"/>
              <a:gd name="connsiteX565" fmla="*/ 5599626 w 9595474"/>
              <a:gd name="connsiteY565" fmla="*/ 5290185 h 6858000"/>
              <a:gd name="connsiteX566" fmla="*/ 5602582 w 9595474"/>
              <a:gd name="connsiteY566" fmla="*/ 5295265 h 6858000"/>
              <a:gd name="connsiteX567" fmla="*/ 5605833 w 9595474"/>
              <a:gd name="connsiteY567" fmla="*/ 5300663 h 6858000"/>
              <a:gd name="connsiteX568" fmla="*/ 5608493 w 9595474"/>
              <a:gd name="connsiteY568" fmla="*/ 5306060 h 6858000"/>
              <a:gd name="connsiteX569" fmla="*/ 5610857 w 9595474"/>
              <a:gd name="connsiteY569" fmla="*/ 5311775 h 6858000"/>
              <a:gd name="connsiteX570" fmla="*/ 5613222 w 9595474"/>
              <a:gd name="connsiteY570" fmla="*/ 5317490 h 6858000"/>
              <a:gd name="connsiteX571" fmla="*/ 5614996 w 9595474"/>
              <a:gd name="connsiteY571" fmla="*/ 5323523 h 6858000"/>
              <a:gd name="connsiteX572" fmla="*/ 5616474 w 9595474"/>
              <a:gd name="connsiteY572" fmla="*/ 5329238 h 6858000"/>
              <a:gd name="connsiteX573" fmla="*/ 5617656 w 9595474"/>
              <a:gd name="connsiteY573" fmla="*/ 5334953 h 6858000"/>
              <a:gd name="connsiteX574" fmla="*/ 5618838 w 9595474"/>
              <a:gd name="connsiteY574" fmla="*/ 5340985 h 6858000"/>
              <a:gd name="connsiteX575" fmla="*/ 5619725 w 9595474"/>
              <a:gd name="connsiteY575" fmla="*/ 5346700 h 6858000"/>
              <a:gd name="connsiteX576" fmla="*/ 5620021 w 9595474"/>
              <a:gd name="connsiteY576" fmla="*/ 5352733 h 6858000"/>
              <a:gd name="connsiteX577" fmla="*/ 5620021 w 9595474"/>
              <a:gd name="connsiteY577" fmla="*/ 5359083 h 6858000"/>
              <a:gd name="connsiteX578" fmla="*/ 5620021 w 9595474"/>
              <a:gd name="connsiteY578" fmla="*/ 5364798 h 6858000"/>
              <a:gd name="connsiteX579" fmla="*/ 5619725 w 9595474"/>
              <a:gd name="connsiteY579" fmla="*/ 5370830 h 6858000"/>
              <a:gd name="connsiteX580" fmla="*/ 5618838 w 9595474"/>
              <a:gd name="connsiteY580" fmla="*/ 5376545 h 6858000"/>
              <a:gd name="connsiteX581" fmla="*/ 5617656 w 9595474"/>
              <a:gd name="connsiteY581" fmla="*/ 5382578 h 6858000"/>
              <a:gd name="connsiteX582" fmla="*/ 5616474 w 9595474"/>
              <a:gd name="connsiteY582" fmla="*/ 5388293 h 6858000"/>
              <a:gd name="connsiteX583" fmla="*/ 5614996 w 9595474"/>
              <a:gd name="connsiteY583" fmla="*/ 5394008 h 6858000"/>
              <a:gd name="connsiteX584" fmla="*/ 5613222 w 9595474"/>
              <a:gd name="connsiteY584" fmla="*/ 5400040 h 6858000"/>
              <a:gd name="connsiteX585" fmla="*/ 5610857 w 9595474"/>
              <a:gd name="connsiteY585" fmla="*/ 5405755 h 6858000"/>
              <a:gd name="connsiteX586" fmla="*/ 5608493 w 9595474"/>
              <a:gd name="connsiteY586" fmla="*/ 5411470 h 6858000"/>
              <a:gd name="connsiteX587" fmla="*/ 5605833 w 9595474"/>
              <a:gd name="connsiteY587" fmla="*/ 5416868 h 6858000"/>
              <a:gd name="connsiteX588" fmla="*/ 5602582 w 9595474"/>
              <a:gd name="connsiteY588" fmla="*/ 5422265 h 6858000"/>
              <a:gd name="connsiteX589" fmla="*/ 5599626 w 9595474"/>
              <a:gd name="connsiteY589" fmla="*/ 5427663 h 6858000"/>
              <a:gd name="connsiteX590" fmla="*/ 5595784 w 9595474"/>
              <a:gd name="connsiteY590" fmla="*/ 5432743 h 6858000"/>
              <a:gd name="connsiteX591" fmla="*/ 5592237 w 9595474"/>
              <a:gd name="connsiteY591" fmla="*/ 5437505 h 6858000"/>
              <a:gd name="connsiteX592" fmla="*/ 5588098 w 9595474"/>
              <a:gd name="connsiteY592" fmla="*/ 5442268 h 6858000"/>
              <a:gd name="connsiteX593" fmla="*/ 5583665 w 9595474"/>
              <a:gd name="connsiteY593" fmla="*/ 5447030 h 6858000"/>
              <a:gd name="connsiteX594" fmla="*/ 5578936 w 9595474"/>
              <a:gd name="connsiteY594" fmla="*/ 5451158 h 6858000"/>
              <a:gd name="connsiteX595" fmla="*/ 5573911 w 9595474"/>
              <a:gd name="connsiteY595" fmla="*/ 5455603 h 6858000"/>
              <a:gd name="connsiteX596" fmla="*/ 5569182 w 9595474"/>
              <a:gd name="connsiteY596" fmla="*/ 5459095 h 6858000"/>
              <a:gd name="connsiteX597" fmla="*/ 5563862 w 9595474"/>
              <a:gd name="connsiteY597" fmla="*/ 5462905 h 6858000"/>
              <a:gd name="connsiteX598" fmla="*/ 5558837 w 9595474"/>
              <a:gd name="connsiteY598" fmla="*/ 5466080 h 6858000"/>
              <a:gd name="connsiteX599" fmla="*/ 5553517 w 9595474"/>
              <a:gd name="connsiteY599" fmla="*/ 5469255 h 6858000"/>
              <a:gd name="connsiteX600" fmla="*/ 5548196 w 9595474"/>
              <a:gd name="connsiteY600" fmla="*/ 5471795 h 6858000"/>
              <a:gd name="connsiteX601" fmla="*/ 5542285 w 9595474"/>
              <a:gd name="connsiteY601" fmla="*/ 5474335 h 6858000"/>
              <a:gd name="connsiteX602" fmla="*/ 5536964 w 9595474"/>
              <a:gd name="connsiteY602" fmla="*/ 5476558 h 6858000"/>
              <a:gd name="connsiteX603" fmla="*/ 5531348 w 9595474"/>
              <a:gd name="connsiteY603" fmla="*/ 5478145 h 6858000"/>
              <a:gd name="connsiteX604" fmla="*/ 5525437 w 9595474"/>
              <a:gd name="connsiteY604" fmla="*/ 5479733 h 6858000"/>
              <a:gd name="connsiteX605" fmla="*/ 5519230 w 9595474"/>
              <a:gd name="connsiteY605" fmla="*/ 5481003 h 6858000"/>
              <a:gd name="connsiteX606" fmla="*/ 5513614 w 9595474"/>
              <a:gd name="connsiteY606" fmla="*/ 5482273 h 6858000"/>
              <a:gd name="connsiteX607" fmla="*/ 5507999 w 9595474"/>
              <a:gd name="connsiteY607" fmla="*/ 5482908 h 6858000"/>
              <a:gd name="connsiteX608" fmla="*/ 5501791 w 9595474"/>
              <a:gd name="connsiteY608" fmla="*/ 5483225 h 6858000"/>
              <a:gd name="connsiteX609" fmla="*/ 5495585 w 9595474"/>
              <a:gd name="connsiteY609" fmla="*/ 5483543 h 6858000"/>
              <a:gd name="connsiteX610" fmla="*/ 6873545 w 9595474"/>
              <a:gd name="connsiteY610" fmla="*/ 6858000 h 6858000"/>
              <a:gd name="connsiteX611" fmla="*/ 9595474 w 9595474"/>
              <a:gd name="connsiteY611" fmla="*/ 6858000 h 6858000"/>
              <a:gd name="connsiteX612" fmla="*/ 9595474 w 9595474"/>
              <a:gd name="connsiteY612" fmla="*/ 0 h 6858000"/>
              <a:gd name="connsiteX613" fmla="*/ 3525498 w 9595474"/>
              <a:gd name="connsiteY613" fmla="*/ 0 h 6858000"/>
              <a:gd name="connsiteX0" fmla="*/ 9595474 w 9595474"/>
              <a:gd name="connsiteY0" fmla="*/ 0 h 6858000"/>
              <a:gd name="connsiteX1" fmla="*/ 0 w 9595474"/>
              <a:gd name="connsiteY1" fmla="*/ 0 h 6858000"/>
              <a:gd name="connsiteX2" fmla="*/ 692823 w 9595474"/>
              <a:gd name="connsiteY2" fmla="*/ 691198 h 6858000"/>
              <a:gd name="connsiteX3" fmla="*/ 691345 w 9595474"/>
              <a:gd name="connsiteY3" fmla="*/ 683895 h 6858000"/>
              <a:gd name="connsiteX4" fmla="*/ 690754 w 9595474"/>
              <a:gd name="connsiteY4" fmla="*/ 676275 h 6858000"/>
              <a:gd name="connsiteX5" fmla="*/ 690754 w 9595474"/>
              <a:gd name="connsiteY5" fmla="*/ 669290 h 6858000"/>
              <a:gd name="connsiteX6" fmla="*/ 690754 w 9595474"/>
              <a:gd name="connsiteY6" fmla="*/ 661988 h 6858000"/>
              <a:gd name="connsiteX7" fmla="*/ 691345 w 9595474"/>
              <a:gd name="connsiteY7" fmla="*/ 654368 h 6858000"/>
              <a:gd name="connsiteX8" fmla="*/ 692527 w 9595474"/>
              <a:gd name="connsiteY8" fmla="*/ 647383 h 6858000"/>
              <a:gd name="connsiteX9" fmla="*/ 694005 w 9595474"/>
              <a:gd name="connsiteY9" fmla="*/ 640080 h 6858000"/>
              <a:gd name="connsiteX10" fmla="*/ 695778 w 9595474"/>
              <a:gd name="connsiteY10" fmla="*/ 633095 h 6858000"/>
              <a:gd name="connsiteX11" fmla="*/ 698143 w 9595474"/>
              <a:gd name="connsiteY11" fmla="*/ 625793 h 6858000"/>
              <a:gd name="connsiteX12" fmla="*/ 700803 w 9595474"/>
              <a:gd name="connsiteY12" fmla="*/ 618808 h 6858000"/>
              <a:gd name="connsiteX13" fmla="*/ 704054 w 9595474"/>
              <a:gd name="connsiteY13" fmla="*/ 612140 h 6858000"/>
              <a:gd name="connsiteX14" fmla="*/ 707601 w 9595474"/>
              <a:gd name="connsiteY14" fmla="*/ 605790 h 6858000"/>
              <a:gd name="connsiteX15" fmla="*/ 712035 w 9595474"/>
              <a:gd name="connsiteY15" fmla="*/ 599123 h 6858000"/>
              <a:gd name="connsiteX16" fmla="*/ 716173 w 9595474"/>
              <a:gd name="connsiteY16" fmla="*/ 592773 h 6858000"/>
              <a:gd name="connsiteX17" fmla="*/ 721198 w 9595474"/>
              <a:gd name="connsiteY17" fmla="*/ 587058 h 6858000"/>
              <a:gd name="connsiteX18" fmla="*/ 726518 w 9595474"/>
              <a:gd name="connsiteY18" fmla="*/ 581343 h 6858000"/>
              <a:gd name="connsiteX19" fmla="*/ 731247 w 9595474"/>
              <a:gd name="connsiteY19" fmla="*/ 576898 h 6858000"/>
              <a:gd name="connsiteX20" fmla="*/ 735976 w 9595474"/>
              <a:gd name="connsiteY20" fmla="*/ 572453 h 6858000"/>
              <a:gd name="connsiteX21" fmla="*/ 741001 w 9595474"/>
              <a:gd name="connsiteY21" fmla="*/ 568960 h 6858000"/>
              <a:gd name="connsiteX22" fmla="*/ 746026 w 9595474"/>
              <a:gd name="connsiteY22" fmla="*/ 565468 h 6858000"/>
              <a:gd name="connsiteX23" fmla="*/ 751050 w 9595474"/>
              <a:gd name="connsiteY23" fmla="*/ 562293 h 6858000"/>
              <a:gd name="connsiteX24" fmla="*/ 756371 w 9595474"/>
              <a:gd name="connsiteY24" fmla="*/ 558800 h 6858000"/>
              <a:gd name="connsiteX25" fmla="*/ 761691 w 9595474"/>
              <a:gd name="connsiteY25" fmla="*/ 556578 h 6858000"/>
              <a:gd name="connsiteX26" fmla="*/ 767602 w 9595474"/>
              <a:gd name="connsiteY26" fmla="*/ 554038 h 6858000"/>
              <a:gd name="connsiteX27" fmla="*/ 772923 w 9595474"/>
              <a:gd name="connsiteY27" fmla="*/ 551815 h 6858000"/>
              <a:gd name="connsiteX28" fmla="*/ 778834 w 9595474"/>
              <a:gd name="connsiteY28" fmla="*/ 549910 h 6858000"/>
              <a:gd name="connsiteX29" fmla="*/ 784450 w 9595474"/>
              <a:gd name="connsiteY29" fmla="*/ 548640 h 6858000"/>
              <a:gd name="connsiteX30" fmla="*/ 790066 w 9595474"/>
              <a:gd name="connsiteY30" fmla="*/ 547370 h 6858000"/>
              <a:gd name="connsiteX31" fmla="*/ 795977 w 9595474"/>
              <a:gd name="connsiteY31" fmla="*/ 546418 h 6858000"/>
              <a:gd name="connsiteX32" fmla="*/ 802184 w 9595474"/>
              <a:gd name="connsiteY32" fmla="*/ 545783 h 6858000"/>
              <a:gd name="connsiteX33" fmla="*/ 807800 w 9595474"/>
              <a:gd name="connsiteY33" fmla="*/ 545465 h 6858000"/>
              <a:gd name="connsiteX34" fmla="*/ 814007 w 9595474"/>
              <a:gd name="connsiteY34" fmla="*/ 544830 h 6858000"/>
              <a:gd name="connsiteX35" fmla="*/ 819623 w 9595474"/>
              <a:gd name="connsiteY35" fmla="*/ 545465 h 6858000"/>
              <a:gd name="connsiteX36" fmla="*/ 825830 w 9595474"/>
              <a:gd name="connsiteY36" fmla="*/ 545783 h 6858000"/>
              <a:gd name="connsiteX37" fmla="*/ 831446 w 9595474"/>
              <a:gd name="connsiteY37" fmla="*/ 546418 h 6858000"/>
              <a:gd name="connsiteX38" fmla="*/ 837358 w 9595474"/>
              <a:gd name="connsiteY38" fmla="*/ 547370 h 6858000"/>
              <a:gd name="connsiteX39" fmla="*/ 842974 w 9595474"/>
              <a:gd name="connsiteY39" fmla="*/ 548640 h 6858000"/>
              <a:gd name="connsiteX40" fmla="*/ 848885 w 9595474"/>
              <a:gd name="connsiteY40" fmla="*/ 549910 h 6858000"/>
              <a:gd name="connsiteX41" fmla="*/ 854501 w 9595474"/>
              <a:gd name="connsiteY41" fmla="*/ 551815 h 6858000"/>
              <a:gd name="connsiteX42" fmla="*/ 860117 w 9595474"/>
              <a:gd name="connsiteY42" fmla="*/ 554038 h 6858000"/>
              <a:gd name="connsiteX43" fmla="*/ 865733 w 9595474"/>
              <a:gd name="connsiteY43" fmla="*/ 556578 h 6858000"/>
              <a:gd name="connsiteX44" fmla="*/ 871053 w 9595474"/>
              <a:gd name="connsiteY44" fmla="*/ 558800 h 6858000"/>
              <a:gd name="connsiteX45" fmla="*/ 876373 w 9595474"/>
              <a:gd name="connsiteY45" fmla="*/ 562293 h 6858000"/>
              <a:gd name="connsiteX46" fmla="*/ 881398 w 9595474"/>
              <a:gd name="connsiteY46" fmla="*/ 565468 h 6858000"/>
              <a:gd name="connsiteX47" fmla="*/ 886718 w 9595474"/>
              <a:gd name="connsiteY47" fmla="*/ 568960 h 6858000"/>
              <a:gd name="connsiteX48" fmla="*/ 891447 w 9595474"/>
              <a:gd name="connsiteY48" fmla="*/ 572453 h 6858000"/>
              <a:gd name="connsiteX49" fmla="*/ 896177 w 9595474"/>
              <a:gd name="connsiteY49" fmla="*/ 576898 h 6858000"/>
              <a:gd name="connsiteX50" fmla="*/ 900906 w 9595474"/>
              <a:gd name="connsiteY50" fmla="*/ 581343 h 6858000"/>
              <a:gd name="connsiteX51" fmla="*/ 1431459 w 9595474"/>
              <a:gd name="connsiteY51" fmla="*/ 1111568 h 6858000"/>
              <a:gd name="connsiteX52" fmla="*/ 2394731 w 9595474"/>
              <a:gd name="connsiteY52" fmla="*/ 2074863 h 6858000"/>
              <a:gd name="connsiteX53" fmla="*/ 2399164 w 9595474"/>
              <a:gd name="connsiteY53" fmla="*/ 2079308 h 6858000"/>
              <a:gd name="connsiteX54" fmla="*/ 2404189 w 9595474"/>
              <a:gd name="connsiteY54" fmla="*/ 2083435 h 6858000"/>
              <a:gd name="connsiteX55" fmla="*/ 2408918 w 9595474"/>
              <a:gd name="connsiteY55" fmla="*/ 2087245 h 6858000"/>
              <a:gd name="connsiteX56" fmla="*/ 2413943 w 9595474"/>
              <a:gd name="connsiteY56" fmla="*/ 2090738 h 6858000"/>
              <a:gd name="connsiteX57" fmla="*/ 2419263 w 9595474"/>
              <a:gd name="connsiteY57" fmla="*/ 2093913 h 6858000"/>
              <a:gd name="connsiteX58" fmla="*/ 2424583 w 9595474"/>
              <a:gd name="connsiteY58" fmla="*/ 2096770 h 6858000"/>
              <a:gd name="connsiteX59" fmla="*/ 2430199 w 9595474"/>
              <a:gd name="connsiteY59" fmla="*/ 2099628 h 6858000"/>
              <a:gd name="connsiteX60" fmla="*/ 2435520 w 9595474"/>
              <a:gd name="connsiteY60" fmla="*/ 2101850 h 6858000"/>
              <a:gd name="connsiteX61" fmla="*/ 2441136 w 9595474"/>
              <a:gd name="connsiteY61" fmla="*/ 2104073 h 6858000"/>
              <a:gd name="connsiteX62" fmla="*/ 2447047 w 9595474"/>
              <a:gd name="connsiteY62" fmla="*/ 2105660 h 6858000"/>
              <a:gd name="connsiteX63" fmla="*/ 2452663 w 9595474"/>
              <a:gd name="connsiteY63" fmla="*/ 2107565 h 6858000"/>
              <a:gd name="connsiteX64" fmla="*/ 2458574 w 9595474"/>
              <a:gd name="connsiteY64" fmla="*/ 2108518 h 6858000"/>
              <a:gd name="connsiteX65" fmla="*/ 2464190 w 9595474"/>
              <a:gd name="connsiteY65" fmla="*/ 2109788 h 6858000"/>
              <a:gd name="connsiteX66" fmla="*/ 2469806 w 9595474"/>
              <a:gd name="connsiteY66" fmla="*/ 2110423 h 6858000"/>
              <a:gd name="connsiteX67" fmla="*/ 2476013 w 9595474"/>
              <a:gd name="connsiteY67" fmla="*/ 2110740 h 6858000"/>
              <a:gd name="connsiteX68" fmla="*/ 2481925 w 9595474"/>
              <a:gd name="connsiteY68" fmla="*/ 2111058 h 6858000"/>
              <a:gd name="connsiteX69" fmla="*/ 2487836 w 9595474"/>
              <a:gd name="connsiteY69" fmla="*/ 2110740 h 6858000"/>
              <a:gd name="connsiteX70" fmla="*/ 2493747 w 9595474"/>
              <a:gd name="connsiteY70" fmla="*/ 2110423 h 6858000"/>
              <a:gd name="connsiteX71" fmla="*/ 2499363 w 9595474"/>
              <a:gd name="connsiteY71" fmla="*/ 2109788 h 6858000"/>
              <a:gd name="connsiteX72" fmla="*/ 2505570 w 9595474"/>
              <a:gd name="connsiteY72" fmla="*/ 2108518 h 6858000"/>
              <a:gd name="connsiteX73" fmla="*/ 2511186 w 9595474"/>
              <a:gd name="connsiteY73" fmla="*/ 2107565 h 6858000"/>
              <a:gd name="connsiteX74" fmla="*/ 2517098 w 9595474"/>
              <a:gd name="connsiteY74" fmla="*/ 2105660 h 6858000"/>
              <a:gd name="connsiteX75" fmla="*/ 2522714 w 9595474"/>
              <a:gd name="connsiteY75" fmla="*/ 2104073 h 6858000"/>
              <a:gd name="connsiteX76" fmla="*/ 2528034 w 9595474"/>
              <a:gd name="connsiteY76" fmla="*/ 2101850 h 6858000"/>
              <a:gd name="connsiteX77" fmla="*/ 2533945 w 9595474"/>
              <a:gd name="connsiteY77" fmla="*/ 2099628 h 6858000"/>
              <a:gd name="connsiteX78" fmla="*/ 2539266 w 9595474"/>
              <a:gd name="connsiteY78" fmla="*/ 2096770 h 6858000"/>
              <a:gd name="connsiteX79" fmla="*/ 2544290 w 9595474"/>
              <a:gd name="connsiteY79" fmla="*/ 2093913 h 6858000"/>
              <a:gd name="connsiteX80" fmla="*/ 2549611 w 9595474"/>
              <a:gd name="connsiteY80" fmla="*/ 2090738 h 6858000"/>
              <a:gd name="connsiteX81" fmla="*/ 2554635 w 9595474"/>
              <a:gd name="connsiteY81" fmla="*/ 2087245 h 6858000"/>
              <a:gd name="connsiteX82" fmla="*/ 2559660 w 9595474"/>
              <a:gd name="connsiteY82" fmla="*/ 2083435 h 6858000"/>
              <a:gd name="connsiteX83" fmla="*/ 2564389 w 9595474"/>
              <a:gd name="connsiteY83" fmla="*/ 2079308 h 6858000"/>
              <a:gd name="connsiteX84" fmla="*/ 2569119 w 9595474"/>
              <a:gd name="connsiteY84" fmla="*/ 2074863 h 6858000"/>
              <a:gd name="connsiteX85" fmla="*/ 2573257 w 9595474"/>
              <a:gd name="connsiteY85" fmla="*/ 2070100 h 6858000"/>
              <a:gd name="connsiteX86" fmla="*/ 2577395 w 9595474"/>
              <a:gd name="connsiteY86" fmla="*/ 2065655 h 6858000"/>
              <a:gd name="connsiteX87" fmla="*/ 2581237 w 9595474"/>
              <a:gd name="connsiteY87" fmla="*/ 2060575 h 6858000"/>
              <a:gd name="connsiteX88" fmla="*/ 2584784 w 9595474"/>
              <a:gd name="connsiteY88" fmla="*/ 2055495 h 6858000"/>
              <a:gd name="connsiteX89" fmla="*/ 2588035 w 9595474"/>
              <a:gd name="connsiteY89" fmla="*/ 2050415 h 6858000"/>
              <a:gd name="connsiteX90" fmla="*/ 2590991 w 9595474"/>
              <a:gd name="connsiteY90" fmla="*/ 2045018 h 6858000"/>
              <a:gd name="connsiteX91" fmla="*/ 2593651 w 9595474"/>
              <a:gd name="connsiteY91" fmla="*/ 2039620 h 6858000"/>
              <a:gd name="connsiteX92" fmla="*/ 2596016 w 9595474"/>
              <a:gd name="connsiteY92" fmla="*/ 2034223 h 6858000"/>
              <a:gd name="connsiteX93" fmla="*/ 2598085 w 9595474"/>
              <a:gd name="connsiteY93" fmla="*/ 2028508 h 6858000"/>
              <a:gd name="connsiteX94" fmla="*/ 2599858 w 9595474"/>
              <a:gd name="connsiteY94" fmla="*/ 2022793 h 6858000"/>
              <a:gd name="connsiteX95" fmla="*/ 2601336 w 9595474"/>
              <a:gd name="connsiteY95" fmla="*/ 2017078 h 6858000"/>
              <a:gd name="connsiteX96" fmla="*/ 2602814 w 9595474"/>
              <a:gd name="connsiteY96" fmla="*/ 2011363 h 6858000"/>
              <a:gd name="connsiteX97" fmla="*/ 2603996 w 9595474"/>
              <a:gd name="connsiteY97" fmla="*/ 2005648 h 6858000"/>
              <a:gd name="connsiteX98" fmla="*/ 2604587 w 9595474"/>
              <a:gd name="connsiteY98" fmla="*/ 1999615 h 6858000"/>
              <a:gd name="connsiteX99" fmla="*/ 2604883 w 9595474"/>
              <a:gd name="connsiteY99" fmla="*/ 1993583 h 6858000"/>
              <a:gd name="connsiteX100" fmla="*/ 2604883 w 9595474"/>
              <a:gd name="connsiteY100" fmla="*/ 1987550 h 6858000"/>
              <a:gd name="connsiteX101" fmla="*/ 2604883 w 9595474"/>
              <a:gd name="connsiteY101" fmla="*/ 1981835 h 6858000"/>
              <a:gd name="connsiteX102" fmla="*/ 2604587 w 9595474"/>
              <a:gd name="connsiteY102" fmla="*/ 1976120 h 6858000"/>
              <a:gd name="connsiteX103" fmla="*/ 2603996 w 9595474"/>
              <a:gd name="connsiteY103" fmla="*/ 1970088 h 6858000"/>
              <a:gd name="connsiteX104" fmla="*/ 2602814 w 9595474"/>
              <a:gd name="connsiteY104" fmla="*/ 1964373 h 6858000"/>
              <a:gd name="connsiteX105" fmla="*/ 2601336 w 9595474"/>
              <a:gd name="connsiteY105" fmla="*/ 1958658 h 6858000"/>
              <a:gd name="connsiteX106" fmla="*/ 2599858 w 9595474"/>
              <a:gd name="connsiteY106" fmla="*/ 1952625 h 6858000"/>
              <a:gd name="connsiteX107" fmla="*/ 2598085 w 9595474"/>
              <a:gd name="connsiteY107" fmla="*/ 1946910 h 6858000"/>
              <a:gd name="connsiteX108" fmla="*/ 2596016 w 9595474"/>
              <a:gd name="connsiteY108" fmla="*/ 1941195 h 6858000"/>
              <a:gd name="connsiteX109" fmla="*/ 2593651 w 9595474"/>
              <a:gd name="connsiteY109" fmla="*/ 1935798 h 6858000"/>
              <a:gd name="connsiteX110" fmla="*/ 2590991 w 9595474"/>
              <a:gd name="connsiteY110" fmla="*/ 1930400 h 6858000"/>
              <a:gd name="connsiteX111" fmla="*/ 2588035 w 9595474"/>
              <a:gd name="connsiteY111" fmla="*/ 1925003 h 6858000"/>
              <a:gd name="connsiteX112" fmla="*/ 2584784 w 9595474"/>
              <a:gd name="connsiteY112" fmla="*/ 1919923 h 6858000"/>
              <a:gd name="connsiteX113" fmla="*/ 2581237 w 9595474"/>
              <a:gd name="connsiteY113" fmla="*/ 1915160 h 6858000"/>
              <a:gd name="connsiteX114" fmla="*/ 2577395 w 9595474"/>
              <a:gd name="connsiteY114" fmla="*/ 1910080 h 6858000"/>
              <a:gd name="connsiteX115" fmla="*/ 2573257 w 9595474"/>
              <a:gd name="connsiteY115" fmla="*/ 1905318 h 6858000"/>
              <a:gd name="connsiteX116" fmla="*/ 2569119 w 9595474"/>
              <a:gd name="connsiteY116" fmla="*/ 1900555 h 6858000"/>
              <a:gd name="connsiteX117" fmla="*/ 1590477 w 9595474"/>
              <a:gd name="connsiteY117" fmla="*/ 922020 h 6858000"/>
              <a:gd name="connsiteX118" fmla="*/ 1272736 w 9595474"/>
              <a:gd name="connsiteY118" fmla="*/ 604203 h 6858000"/>
              <a:gd name="connsiteX119" fmla="*/ 1268303 w 9595474"/>
              <a:gd name="connsiteY119" fmla="*/ 599440 h 6858000"/>
              <a:gd name="connsiteX120" fmla="*/ 1264165 w 9595474"/>
              <a:gd name="connsiteY120" fmla="*/ 594995 h 6858000"/>
              <a:gd name="connsiteX121" fmla="*/ 1260322 w 9595474"/>
              <a:gd name="connsiteY121" fmla="*/ 589915 h 6858000"/>
              <a:gd name="connsiteX122" fmla="*/ 1256776 w 9595474"/>
              <a:gd name="connsiteY122" fmla="*/ 584835 h 6858000"/>
              <a:gd name="connsiteX123" fmla="*/ 1253524 w 9595474"/>
              <a:gd name="connsiteY123" fmla="*/ 579755 h 6858000"/>
              <a:gd name="connsiteX124" fmla="*/ 1250864 w 9595474"/>
              <a:gd name="connsiteY124" fmla="*/ 574358 h 6858000"/>
              <a:gd name="connsiteX125" fmla="*/ 1247908 w 9595474"/>
              <a:gd name="connsiteY125" fmla="*/ 568960 h 6858000"/>
              <a:gd name="connsiteX126" fmla="*/ 1245839 w 9595474"/>
              <a:gd name="connsiteY126" fmla="*/ 563563 h 6858000"/>
              <a:gd name="connsiteX127" fmla="*/ 1243475 w 9595474"/>
              <a:gd name="connsiteY127" fmla="*/ 557848 h 6858000"/>
              <a:gd name="connsiteX128" fmla="*/ 1241701 w 9595474"/>
              <a:gd name="connsiteY128" fmla="*/ 552133 h 6858000"/>
              <a:gd name="connsiteX129" fmla="*/ 1239928 w 9595474"/>
              <a:gd name="connsiteY129" fmla="*/ 546418 h 6858000"/>
              <a:gd name="connsiteX130" fmla="*/ 1238746 w 9595474"/>
              <a:gd name="connsiteY130" fmla="*/ 540703 h 6858000"/>
              <a:gd name="connsiteX131" fmla="*/ 1237859 w 9595474"/>
              <a:gd name="connsiteY131" fmla="*/ 534988 h 6858000"/>
              <a:gd name="connsiteX132" fmla="*/ 1236972 w 9595474"/>
              <a:gd name="connsiteY132" fmla="*/ 528638 h 6858000"/>
              <a:gd name="connsiteX133" fmla="*/ 1236677 w 9595474"/>
              <a:gd name="connsiteY133" fmla="*/ 522923 h 6858000"/>
              <a:gd name="connsiteX134" fmla="*/ 1236381 w 9595474"/>
              <a:gd name="connsiteY134" fmla="*/ 516890 h 6858000"/>
              <a:gd name="connsiteX135" fmla="*/ 1236677 w 9595474"/>
              <a:gd name="connsiteY135" fmla="*/ 511175 h 6858000"/>
              <a:gd name="connsiteX136" fmla="*/ 1236972 w 9595474"/>
              <a:gd name="connsiteY136" fmla="*/ 505460 h 6858000"/>
              <a:gd name="connsiteX137" fmla="*/ 1237859 w 9595474"/>
              <a:gd name="connsiteY137" fmla="*/ 499428 h 6858000"/>
              <a:gd name="connsiteX138" fmla="*/ 1238746 w 9595474"/>
              <a:gd name="connsiteY138" fmla="*/ 493713 h 6858000"/>
              <a:gd name="connsiteX139" fmla="*/ 1239928 w 9595474"/>
              <a:gd name="connsiteY139" fmla="*/ 487680 h 6858000"/>
              <a:gd name="connsiteX140" fmla="*/ 1241701 w 9595474"/>
              <a:gd name="connsiteY140" fmla="*/ 481965 h 6858000"/>
              <a:gd name="connsiteX141" fmla="*/ 1243475 w 9595474"/>
              <a:gd name="connsiteY141" fmla="*/ 476250 h 6858000"/>
              <a:gd name="connsiteX142" fmla="*/ 1245839 w 9595474"/>
              <a:gd name="connsiteY142" fmla="*/ 470535 h 6858000"/>
              <a:gd name="connsiteX143" fmla="*/ 1247908 w 9595474"/>
              <a:gd name="connsiteY143" fmla="*/ 465138 h 6858000"/>
              <a:gd name="connsiteX144" fmla="*/ 1250864 w 9595474"/>
              <a:gd name="connsiteY144" fmla="*/ 459740 h 6858000"/>
              <a:gd name="connsiteX145" fmla="*/ 1253524 w 9595474"/>
              <a:gd name="connsiteY145" fmla="*/ 454343 h 6858000"/>
              <a:gd name="connsiteX146" fmla="*/ 1256776 w 9595474"/>
              <a:gd name="connsiteY146" fmla="*/ 449263 h 6858000"/>
              <a:gd name="connsiteX147" fmla="*/ 1260322 w 9595474"/>
              <a:gd name="connsiteY147" fmla="*/ 444500 h 6858000"/>
              <a:gd name="connsiteX148" fmla="*/ 1264165 w 9595474"/>
              <a:gd name="connsiteY148" fmla="*/ 439420 h 6858000"/>
              <a:gd name="connsiteX149" fmla="*/ 1268303 w 9595474"/>
              <a:gd name="connsiteY149" fmla="*/ 434658 h 6858000"/>
              <a:gd name="connsiteX150" fmla="*/ 1272736 w 9595474"/>
              <a:gd name="connsiteY150" fmla="*/ 429895 h 6858000"/>
              <a:gd name="connsiteX151" fmla="*/ 1277466 w 9595474"/>
              <a:gd name="connsiteY151" fmla="*/ 425768 h 6858000"/>
              <a:gd name="connsiteX152" fmla="*/ 1281899 w 9595474"/>
              <a:gd name="connsiteY152" fmla="*/ 421323 h 6858000"/>
              <a:gd name="connsiteX153" fmla="*/ 1286924 w 9595474"/>
              <a:gd name="connsiteY153" fmla="*/ 417830 h 6858000"/>
              <a:gd name="connsiteX154" fmla="*/ 1291949 w 9595474"/>
              <a:gd name="connsiteY154" fmla="*/ 414338 h 6858000"/>
              <a:gd name="connsiteX155" fmla="*/ 1296973 w 9595474"/>
              <a:gd name="connsiteY155" fmla="*/ 410845 h 6858000"/>
              <a:gd name="connsiteX156" fmla="*/ 1302589 w 9595474"/>
              <a:gd name="connsiteY156" fmla="*/ 407988 h 6858000"/>
              <a:gd name="connsiteX157" fmla="*/ 1307910 w 9595474"/>
              <a:gd name="connsiteY157" fmla="*/ 405130 h 6858000"/>
              <a:gd name="connsiteX158" fmla="*/ 1313230 w 9595474"/>
              <a:gd name="connsiteY158" fmla="*/ 402908 h 6858000"/>
              <a:gd name="connsiteX159" fmla="*/ 1318846 w 9595474"/>
              <a:gd name="connsiteY159" fmla="*/ 401003 h 6858000"/>
              <a:gd name="connsiteX160" fmla="*/ 1324757 w 9595474"/>
              <a:gd name="connsiteY160" fmla="*/ 399098 h 6858000"/>
              <a:gd name="connsiteX161" fmla="*/ 1330373 w 9595474"/>
              <a:gd name="connsiteY161" fmla="*/ 397193 h 6858000"/>
              <a:gd name="connsiteX162" fmla="*/ 1336285 w 9595474"/>
              <a:gd name="connsiteY162" fmla="*/ 396240 h 6858000"/>
              <a:gd name="connsiteX163" fmla="*/ 1341901 w 9595474"/>
              <a:gd name="connsiteY163" fmla="*/ 395288 h 6858000"/>
              <a:gd name="connsiteX164" fmla="*/ 1348108 w 9595474"/>
              <a:gd name="connsiteY164" fmla="*/ 394335 h 6858000"/>
              <a:gd name="connsiteX165" fmla="*/ 1353723 w 9595474"/>
              <a:gd name="connsiteY165" fmla="*/ 394018 h 6858000"/>
              <a:gd name="connsiteX166" fmla="*/ 1359930 w 9595474"/>
              <a:gd name="connsiteY166" fmla="*/ 393700 h 6858000"/>
              <a:gd name="connsiteX167" fmla="*/ 1365546 w 9595474"/>
              <a:gd name="connsiteY167" fmla="*/ 394018 h 6858000"/>
              <a:gd name="connsiteX168" fmla="*/ 1371458 w 9595474"/>
              <a:gd name="connsiteY168" fmla="*/ 394335 h 6858000"/>
              <a:gd name="connsiteX169" fmla="*/ 1377665 w 9595474"/>
              <a:gd name="connsiteY169" fmla="*/ 395288 h 6858000"/>
              <a:gd name="connsiteX170" fmla="*/ 1383281 w 9595474"/>
              <a:gd name="connsiteY170" fmla="*/ 396240 h 6858000"/>
              <a:gd name="connsiteX171" fmla="*/ 1388897 w 9595474"/>
              <a:gd name="connsiteY171" fmla="*/ 397193 h 6858000"/>
              <a:gd name="connsiteX172" fmla="*/ 1394808 w 9595474"/>
              <a:gd name="connsiteY172" fmla="*/ 399098 h 6858000"/>
              <a:gd name="connsiteX173" fmla="*/ 1400424 w 9595474"/>
              <a:gd name="connsiteY173" fmla="*/ 401003 h 6858000"/>
              <a:gd name="connsiteX174" fmla="*/ 1406335 w 9595474"/>
              <a:gd name="connsiteY174" fmla="*/ 402908 h 6858000"/>
              <a:gd name="connsiteX175" fmla="*/ 1411656 w 9595474"/>
              <a:gd name="connsiteY175" fmla="*/ 405130 h 6858000"/>
              <a:gd name="connsiteX176" fmla="*/ 1416976 w 9595474"/>
              <a:gd name="connsiteY176" fmla="*/ 407988 h 6858000"/>
              <a:gd name="connsiteX177" fmla="*/ 1422296 w 9595474"/>
              <a:gd name="connsiteY177" fmla="*/ 410845 h 6858000"/>
              <a:gd name="connsiteX178" fmla="*/ 1427617 w 9595474"/>
              <a:gd name="connsiteY178" fmla="*/ 414338 h 6858000"/>
              <a:gd name="connsiteX179" fmla="*/ 1432641 w 9595474"/>
              <a:gd name="connsiteY179" fmla="*/ 417830 h 6858000"/>
              <a:gd name="connsiteX180" fmla="*/ 1437666 w 9595474"/>
              <a:gd name="connsiteY180" fmla="*/ 421323 h 6858000"/>
              <a:gd name="connsiteX181" fmla="*/ 1442100 w 9595474"/>
              <a:gd name="connsiteY181" fmla="*/ 425768 h 6858000"/>
              <a:gd name="connsiteX182" fmla="*/ 1446829 w 9595474"/>
              <a:gd name="connsiteY182" fmla="*/ 429895 h 6858000"/>
              <a:gd name="connsiteX183" fmla="*/ 1907036 w 9595474"/>
              <a:gd name="connsiteY183" fmla="*/ 890270 h 6858000"/>
              <a:gd name="connsiteX184" fmla="*/ 2165662 w 9595474"/>
              <a:gd name="connsiteY184" fmla="*/ 1148715 h 6858000"/>
              <a:gd name="connsiteX185" fmla="*/ 2170391 w 9595474"/>
              <a:gd name="connsiteY185" fmla="*/ 1153160 h 6858000"/>
              <a:gd name="connsiteX186" fmla="*/ 2175416 w 9595474"/>
              <a:gd name="connsiteY186" fmla="*/ 1157288 h 6858000"/>
              <a:gd name="connsiteX187" fmla="*/ 2180145 w 9595474"/>
              <a:gd name="connsiteY187" fmla="*/ 1161098 h 6858000"/>
              <a:gd name="connsiteX188" fmla="*/ 2185170 w 9595474"/>
              <a:gd name="connsiteY188" fmla="*/ 1164590 h 6858000"/>
              <a:gd name="connsiteX189" fmla="*/ 2190490 w 9595474"/>
              <a:gd name="connsiteY189" fmla="*/ 1167765 h 6858000"/>
              <a:gd name="connsiteX190" fmla="*/ 2195810 w 9595474"/>
              <a:gd name="connsiteY190" fmla="*/ 1170623 h 6858000"/>
              <a:gd name="connsiteX191" fmla="*/ 2201130 w 9595474"/>
              <a:gd name="connsiteY191" fmla="*/ 1173480 h 6858000"/>
              <a:gd name="connsiteX192" fmla="*/ 2206746 w 9595474"/>
              <a:gd name="connsiteY192" fmla="*/ 1176020 h 6858000"/>
              <a:gd name="connsiteX193" fmla="*/ 2212362 w 9595474"/>
              <a:gd name="connsiteY193" fmla="*/ 1177925 h 6858000"/>
              <a:gd name="connsiteX194" fmla="*/ 2217683 w 9595474"/>
              <a:gd name="connsiteY194" fmla="*/ 1180148 h 6858000"/>
              <a:gd name="connsiteX195" fmla="*/ 2223594 w 9595474"/>
              <a:gd name="connsiteY195" fmla="*/ 1181418 h 6858000"/>
              <a:gd name="connsiteX196" fmla="*/ 2229505 w 9595474"/>
              <a:gd name="connsiteY196" fmla="*/ 1182688 h 6858000"/>
              <a:gd name="connsiteX197" fmla="*/ 2235417 w 9595474"/>
              <a:gd name="connsiteY197" fmla="*/ 1183640 h 6858000"/>
              <a:gd name="connsiteX198" fmla="*/ 2241033 w 9595474"/>
              <a:gd name="connsiteY198" fmla="*/ 1184275 h 6858000"/>
              <a:gd name="connsiteX199" fmla="*/ 2247240 w 9595474"/>
              <a:gd name="connsiteY199" fmla="*/ 1184593 h 6858000"/>
              <a:gd name="connsiteX200" fmla="*/ 2252856 w 9595474"/>
              <a:gd name="connsiteY200" fmla="*/ 1185228 h 6858000"/>
              <a:gd name="connsiteX201" fmla="*/ 2259063 w 9595474"/>
              <a:gd name="connsiteY201" fmla="*/ 1184593 h 6858000"/>
              <a:gd name="connsiteX202" fmla="*/ 2264679 w 9595474"/>
              <a:gd name="connsiteY202" fmla="*/ 1184275 h 6858000"/>
              <a:gd name="connsiteX203" fmla="*/ 2270590 w 9595474"/>
              <a:gd name="connsiteY203" fmla="*/ 1183640 h 6858000"/>
              <a:gd name="connsiteX204" fmla="*/ 2276797 w 9595474"/>
              <a:gd name="connsiteY204" fmla="*/ 1182688 h 6858000"/>
              <a:gd name="connsiteX205" fmla="*/ 2282413 w 9595474"/>
              <a:gd name="connsiteY205" fmla="*/ 1181418 h 6858000"/>
              <a:gd name="connsiteX206" fmla="*/ 2288029 w 9595474"/>
              <a:gd name="connsiteY206" fmla="*/ 1180148 h 6858000"/>
              <a:gd name="connsiteX207" fmla="*/ 2293940 w 9595474"/>
              <a:gd name="connsiteY207" fmla="*/ 1177925 h 6858000"/>
              <a:gd name="connsiteX208" fmla="*/ 2299261 w 9595474"/>
              <a:gd name="connsiteY208" fmla="*/ 1176020 h 6858000"/>
              <a:gd name="connsiteX209" fmla="*/ 2304581 w 9595474"/>
              <a:gd name="connsiteY209" fmla="*/ 1173480 h 6858000"/>
              <a:gd name="connsiteX210" fmla="*/ 2310492 w 9595474"/>
              <a:gd name="connsiteY210" fmla="*/ 1170623 h 6858000"/>
              <a:gd name="connsiteX211" fmla="*/ 2315517 w 9595474"/>
              <a:gd name="connsiteY211" fmla="*/ 1167765 h 6858000"/>
              <a:gd name="connsiteX212" fmla="*/ 2320837 w 9595474"/>
              <a:gd name="connsiteY212" fmla="*/ 1164590 h 6858000"/>
              <a:gd name="connsiteX213" fmla="*/ 2325862 w 9595474"/>
              <a:gd name="connsiteY213" fmla="*/ 1161098 h 6858000"/>
              <a:gd name="connsiteX214" fmla="*/ 2330887 w 9595474"/>
              <a:gd name="connsiteY214" fmla="*/ 1157288 h 6858000"/>
              <a:gd name="connsiteX215" fmla="*/ 2335616 w 9595474"/>
              <a:gd name="connsiteY215" fmla="*/ 1153160 h 6858000"/>
              <a:gd name="connsiteX216" fmla="*/ 2340345 w 9595474"/>
              <a:gd name="connsiteY216" fmla="*/ 1148715 h 6858000"/>
              <a:gd name="connsiteX217" fmla="*/ 2344483 w 9595474"/>
              <a:gd name="connsiteY217" fmla="*/ 1144270 h 6858000"/>
              <a:gd name="connsiteX218" fmla="*/ 2348621 w 9595474"/>
              <a:gd name="connsiteY218" fmla="*/ 1139508 h 6858000"/>
              <a:gd name="connsiteX219" fmla="*/ 2352464 w 9595474"/>
              <a:gd name="connsiteY219" fmla="*/ 1134428 h 6858000"/>
              <a:gd name="connsiteX220" fmla="*/ 2356011 w 9595474"/>
              <a:gd name="connsiteY220" fmla="*/ 1129348 h 6858000"/>
              <a:gd name="connsiteX221" fmla="*/ 2359262 w 9595474"/>
              <a:gd name="connsiteY221" fmla="*/ 1124268 h 6858000"/>
              <a:gd name="connsiteX222" fmla="*/ 2362218 w 9595474"/>
              <a:gd name="connsiteY222" fmla="*/ 1118870 h 6858000"/>
              <a:gd name="connsiteX223" fmla="*/ 2364582 w 9595474"/>
              <a:gd name="connsiteY223" fmla="*/ 1113473 h 6858000"/>
              <a:gd name="connsiteX224" fmla="*/ 2367242 w 9595474"/>
              <a:gd name="connsiteY224" fmla="*/ 1108075 h 6858000"/>
              <a:gd name="connsiteX225" fmla="*/ 2369311 w 9595474"/>
              <a:gd name="connsiteY225" fmla="*/ 1102360 h 6858000"/>
              <a:gd name="connsiteX226" fmla="*/ 2371085 w 9595474"/>
              <a:gd name="connsiteY226" fmla="*/ 1096645 h 6858000"/>
              <a:gd name="connsiteX227" fmla="*/ 2372563 w 9595474"/>
              <a:gd name="connsiteY227" fmla="*/ 1090930 h 6858000"/>
              <a:gd name="connsiteX228" fmla="*/ 2374041 w 9595474"/>
              <a:gd name="connsiteY228" fmla="*/ 1085215 h 6858000"/>
              <a:gd name="connsiteX229" fmla="*/ 2375223 w 9595474"/>
              <a:gd name="connsiteY229" fmla="*/ 1079500 h 6858000"/>
              <a:gd name="connsiteX230" fmla="*/ 2375814 w 9595474"/>
              <a:gd name="connsiteY230" fmla="*/ 1073785 h 6858000"/>
              <a:gd name="connsiteX231" fmla="*/ 2376110 w 9595474"/>
              <a:gd name="connsiteY231" fmla="*/ 1067753 h 6858000"/>
              <a:gd name="connsiteX232" fmla="*/ 2376110 w 9595474"/>
              <a:gd name="connsiteY232" fmla="*/ 1061720 h 6858000"/>
              <a:gd name="connsiteX233" fmla="*/ 2376110 w 9595474"/>
              <a:gd name="connsiteY233" fmla="*/ 1055688 h 6858000"/>
              <a:gd name="connsiteX234" fmla="*/ 2375814 w 9595474"/>
              <a:gd name="connsiteY234" fmla="*/ 1049973 h 6858000"/>
              <a:gd name="connsiteX235" fmla="*/ 2375223 w 9595474"/>
              <a:gd name="connsiteY235" fmla="*/ 1043940 h 6858000"/>
              <a:gd name="connsiteX236" fmla="*/ 2374041 w 9595474"/>
              <a:gd name="connsiteY236" fmla="*/ 1038225 h 6858000"/>
              <a:gd name="connsiteX237" fmla="*/ 2372563 w 9595474"/>
              <a:gd name="connsiteY237" fmla="*/ 1032510 h 6858000"/>
              <a:gd name="connsiteX238" fmla="*/ 2371085 w 9595474"/>
              <a:gd name="connsiteY238" fmla="*/ 1026795 h 6858000"/>
              <a:gd name="connsiteX239" fmla="*/ 2369311 w 9595474"/>
              <a:gd name="connsiteY239" fmla="*/ 1021080 h 6858000"/>
              <a:gd name="connsiteX240" fmla="*/ 2367242 w 9595474"/>
              <a:gd name="connsiteY240" fmla="*/ 1015683 h 6858000"/>
              <a:gd name="connsiteX241" fmla="*/ 2364582 w 9595474"/>
              <a:gd name="connsiteY241" fmla="*/ 1009650 h 6858000"/>
              <a:gd name="connsiteX242" fmla="*/ 2362218 w 9595474"/>
              <a:gd name="connsiteY242" fmla="*/ 1004253 h 6858000"/>
              <a:gd name="connsiteX243" fmla="*/ 2359262 w 9595474"/>
              <a:gd name="connsiteY243" fmla="*/ 998855 h 6858000"/>
              <a:gd name="connsiteX244" fmla="*/ 2356011 w 9595474"/>
              <a:gd name="connsiteY244" fmla="*/ 994093 h 6858000"/>
              <a:gd name="connsiteX245" fmla="*/ 2352464 w 9595474"/>
              <a:gd name="connsiteY245" fmla="*/ 989013 h 6858000"/>
              <a:gd name="connsiteX246" fmla="*/ 2348621 w 9595474"/>
              <a:gd name="connsiteY246" fmla="*/ 983933 h 6858000"/>
              <a:gd name="connsiteX247" fmla="*/ 2344483 w 9595474"/>
              <a:gd name="connsiteY247" fmla="*/ 979170 h 6858000"/>
              <a:gd name="connsiteX248" fmla="*/ 2340345 w 9595474"/>
              <a:gd name="connsiteY248" fmla="*/ 974725 h 6858000"/>
              <a:gd name="connsiteX249" fmla="*/ 2240737 w 9595474"/>
              <a:gd name="connsiteY249" fmla="*/ 875030 h 6858000"/>
              <a:gd name="connsiteX250" fmla="*/ 1991865 w 9595474"/>
              <a:gd name="connsiteY250" fmla="*/ 626428 h 6858000"/>
              <a:gd name="connsiteX251" fmla="*/ 1987431 w 9595474"/>
              <a:gd name="connsiteY251" fmla="*/ 621665 h 6858000"/>
              <a:gd name="connsiteX252" fmla="*/ 1983589 w 9595474"/>
              <a:gd name="connsiteY252" fmla="*/ 616903 h 6858000"/>
              <a:gd name="connsiteX253" fmla="*/ 1979451 w 9595474"/>
              <a:gd name="connsiteY253" fmla="*/ 612140 h 6858000"/>
              <a:gd name="connsiteX254" fmla="*/ 1975904 w 9595474"/>
              <a:gd name="connsiteY254" fmla="*/ 607060 h 6858000"/>
              <a:gd name="connsiteX255" fmla="*/ 1972653 w 9595474"/>
              <a:gd name="connsiteY255" fmla="*/ 601663 h 6858000"/>
              <a:gd name="connsiteX256" fmla="*/ 1969993 w 9595474"/>
              <a:gd name="connsiteY256" fmla="*/ 596265 h 6858000"/>
              <a:gd name="connsiteX257" fmla="*/ 1967037 w 9595474"/>
              <a:gd name="connsiteY257" fmla="*/ 590868 h 6858000"/>
              <a:gd name="connsiteX258" fmla="*/ 1964968 w 9595474"/>
              <a:gd name="connsiteY258" fmla="*/ 585470 h 6858000"/>
              <a:gd name="connsiteX259" fmla="*/ 1962603 w 9595474"/>
              <a:gd name="connsiteY259" fmla="*/ 579755 h 6858000"/>
              <a:gd name="connsiteX260" fmla="*/ 1960830 w 9595474"/>
              <a:gd name="connsiteY260" fmla="*/ 574358 h 6858000"/>
              <a:gd name="connsiteX261" fmla="*/ 1959056 w 9595474"/>
              <a:gd name="connsiteY261" fmla="*/ 568643 h 6858000"/>
              <a:gd name="connsiteX262" fmla="*/ 1958170 w 9595474"/>
              <a:gd name="connsiteY262" fmla="*/ 562610 h 6858000"/>
              <a:gd name="connsiteX263" fmla="*/ 1956987 w 9595474"/>
              <a:gd name="connsiteY263" fmla="*/ 556895 h 6858000"/>
              <a:gd name="connsiteX264" fmla="*/ 1956396 w 9595474"/>
              <a:gd name="connsiteY264" fmla="*/ 551180 h 6858000"/>
              <a:gd name="connsiteX265" fmla="*/ 1955805 w 9595474"/>
              <a:gd name="connsiteY265" fmla="*/ 544830 h 6858000"/>
              <a:gd name="connsiteX266" fmla="*/ 1955805 w 9595474"/>
              <a:gd name="connsiteY266" fmla="*/ 539115 h 6858000"/>
              <a:gd name="connsiteX267" fmla="*/ 1955805 w 9595474"/>
              <a:gd name="connsiteY267" fmla="*/ 533083 h 6858000"/>
              <a:gd name="connsiteX268" fmla="*/ 1956396 w 9595474"/>
              <a:gd name="connsiteY268" fmla="*/ 527368 h 6858000"/>
              <a:gd name="connsiteX269" fmla="*/ 1956987 w 9595474"/>
              <a:gd name="connsiteY269" fmla="*/ 521653 h 6858000"/>
              <a:gd name="connsiteX270" fmla="*/ 1958170 w 9595474"/>
              <a:gd name="connsiteY270" fmla="*/ 515620 h 6858000"/>
              <a:gd name="connsiteX271" fmla="*/ 1959056 w 9595474"/>
              <a:gd name="connsiteY271" fmla="*/ 509588 h 6858000"/>
              <a:gd name="connsiteX272" fmla="*/ 1960830 w 9595474"/>
              <a:gd name="connsiteY272" fmla="*/ 503873 h 6858000"/>
              <a:gd name="connsiteX273" fmla="*/ 1962603 w 9595474"/>
              <a:gd name="connsiteY273" fmla="*/ 498158 h 6858000"/>
              <a:gd name="connsiteX274" fmla="*/ 1964968 w 9595474"/>
              <a:gd name="connsiteY274" fmla="*/ 492760 h 6858000"/>
              <a:gd name="connsiteX275" fmla="*/ 1967037 w 9595474"/>
              <a:gd name="connsiteY275" fmla="*/ 487363 h 6858000"/>
              <a:gd name="connsiteX276" fmla="*/ 1969993 w 9595474"/>
              <a:gd name="connsiteY276" fmla="*/ 481648 h 6858000"/>
              <a:gd name="connsiteX277" fmla="*/ 1972653 w 9595474"/>
              <a:gd name="connsiteY277" fmla="*/ 476568 h 6858000"/>
              <a:gd name="connsiteX278" fmla="*/ 1975904 w 9595474"/>
              <a:gd name="connsiteY278" fmla="*/ 471170 h 6858000"/>
              <a:gd name="connsiteX279" fmla="*/ 1979451 w 9595474"/>
              <a:gd name="connsiteY279" fmla="*/ 466408 h 6858000"/>
              <a:gd name="connsiteX280" fmla="*/ 1983589 w 9595474"/>
              <a:gd name="connsiteY280" fmla="*/ 461328 h 6858000"/>
              <a:gd name="connsiteX281" fmla="*/ 1987431 w 9595474"/>
              <a:gd name="connsiteY281" fmla="*/ 456565 h 6858000"/>
              <a:gd name="connsiteX282" fmla="*/ 1991865 w 9595474"/>
              <a:gd name="connsiteY282" fmla="*/ 451803 h 6858000"/>
              <a:gd name="connsiteX283" fmla="*/ 1996594 w 9595474"/>
              <a:gd name="connsiteY283" fmla="*/ 447675 h 6858000"/>
              <a:gd name="connsiteX284" fmla="*/ 2001028 w 9595474"/>
              <a:gd name="connsiteY284" fmla="*/ 443548 h 6858000"/>
              <a:gd name="connsiteX285" fmla="*/ 2006052 w 9595474"/>
              <a:gd name="connsiteY285" fmla="*/ 439738 h 6858000"/>
              <a:gd name="connsiteX286" fmla="*/ 2011077 w 9595474"/>
              <a:gd name="connsiteY286" fmla="*/ 436245 h 6858000"/>
              <a:gd name="connsiteX287" fmla="*/ 2016102 w 9595474"/>
              <a:gd name="connsiteY287" fmla="*/ 432753 h 6858000"/>
              <a:gd name="connsiteX288" fmla="*/ 2021718 w 9595474"/>
              <a:gd name="connsiteY288" fmla="*/ 429895 h 6858000"/>
              <a:gd name="connsiteX289" fmla="*/ 2027038 w 9595474"/>
              <a:gd name="connsiteY289" fmla="*/ 427355 h 6858000"/>
              <a:gd name="connsiteX290" fmla="*/ 2032654 w 9595474"/>
              <a:gd name="connsiteY290" fmla="*/ 424815 h 6858000"/>
              <a:gd name="connsiteX291" fmla="*/ 2038270 w 9595474"/>
              <a:gd name="connsiteY291" fmla="*/ 422910 h 6858000"/>
              <a:gd name="connsiteX292" fmla="*/ 2043886 w 9595474"/>
              <a:gd name="connsiteY292" fmla="*/ 421005 h 6858000"/>
              <a:gd name="connsiteX293" fmla="*/ 2049502 w 9595474"/>
              <a:gd name="connsiteY293" fmla="*/ 419735 h 6858000"/>
              <a:gd name="connsiteX294" fmla="*/ 2055413 w 9595474"/>
              <a:gd name="connsiteY294" fmla="*/ 418148 h 6858000"/>
              <a:gd name="connsiteX295" fmla="*/ 2061029 w 9595474"/>
              <a:gd name="connsiteY295" fmla="*/ 417195 h 6858000"/>
              <a:gd name="connsiteX296" fmla="*/ 2067236 w 9595474"/>
              <a:gd name="connsiteY296" fmla="*/ 416243 h 6858000"/>
              <a:gd name="connsiteX297" fmla="*/ 2072852 w 9595474"/>
              <a:gd name="connsiteY297" fmla="*/ 415925 h 6858000"/>
              <a:gd name="connsiteX298" fmla="*/ 2079059 w 9595474"/>
              <a:gd name="connsiteY298" fmla="*/ 415925 h 6858000"/>
              <a:gd name="connsiteX299" fmla="*/ 2084970 w 9595474"/>
              <a:gd name="connsiteY299" fmla="*/ 415925 h 6858000"/>
              <a:gd name="connsiteX300" fmla="*/ 2090882 w 9595474"/>
              <a:gd name="connsiteY300" fmla="*/ 416243 h 6858000"/>
              <a:gd name="connsiteX301" fmla="*/ 2096793 w 9595474"/>
              <a:gd name="connsiteY301" fmla="*/ 417195 h 6858000"/>
              <a:gd name="connsiteX302" fmla="*/ 2102409 w 9595474"/>
              <a:gd name="connsiteY302" fmla="*/ 418148 h 6858000"/>
              <a:gd name="connsiteX303" fmla="*/ 2108321 w 9595474"/>
              <a:gd name="connsiteY303" fmla="*/ 419735 h 6858000"/>
              <a:gd name="connsiteX304" fmla="*/ 2113936 w 9595474"/>
              <a:gd name="connsiteY304" fmla="*/ 421005 h 6858000"/>
              <a:gd name="connsiteX305" fmla="*/ 2119552 w 9595474"/>
              <a:gd name="connsiteY305" fmla="*/ 422910 h 6858000"/>
              <a:gd name="connsiteX306" fmla="*/ 2125464 w 9595474"/>
              <a:gd name="connsiteY306" fmla="*/ 424815 h 6858000"/>
              <a:gd name="connsiteX307" fmla="*/ 2130784 w 9595474"/>
              <a:gd name="connsiteY307" fmla="*/ 427355 h 6858000"/>
              <a:gd name="connsiteX308" fmla="*/ 2136104 w 9595474"/>
              <a:gd name="connsiteY308" fmla="*/ 429895 h 6858000"/>
              <a:gd name="connsiteX309" fmla="*/ 2141720 w 9595474"/>
              <a:gd name="connsiteY309" fmla="*/ 432753 h 6858000"/>
              <a:gd name="connsiteX310" fmla="*/ 2146745 w 9595474"/>
              <a:gd name="connsiteY310" fmla="*/ 436245 h 6858000"/>
              <a:gd name="connsiteX311" fmla="*/ 2152065 w 9595474"/>
              <a:gd name="connsiteY311" fmla="*/ 439738 h 6858000"/>
              <a:gd name="connsiteX312" fmla="*/ 2156795 w 9595474"/>
              <a:gd name="connsiteY312" fmla="*/ 443548 h 6858000"/>
              <a:gd name="connsiteX313" fmla="*/ 2161819 w 9595474"/>
              <a:gd name="connsiteY313" fmla="*/ 447675 h 6858000"/>
              <a:gd name="connsiteX314" fmla="*/ 2165957 w 9595474"/>
              <a:gd name="connsiteY314" fmla="*/ 451803 h 6858000"/>
              <a:gd name="connsiteX315" fmla="*/ 2966073 w 9595474"/>
              <a:gd name="connsiteY315" fmla="*/ 1251903 h 6858000"/>
              <a:gd name="connsiteX316" fmla="*/ 5612631 w 9595474"/>
              <a:gd name="connsiteY316" fmla="*/ 3898583 h 6858000"/>
              <a:gd name="connsiteX317" fmla="*/ 5617360 w 9595474"/>
              <a:gd name="connsiteY317" fmla="*/ 3903345 h 6858000"/>
              <a:gd name="connsiteX318" fmla="*/ 5621498 w 9595474"/>
              <a:gd name="connsiteY318" fmla="*/ 3908425 h 6858000"/>
              <a:gd name="connsiteX319" fmla="*/ 5625341 w 9595474"/>
              <a:gd name="connsiteY319" fmla="*/ 3913505 h 6858000"/>
              <a:gd name="connsiteX320" fmla="*/ 5628888 w 9595474"/>
              <a:gd name="connsiteY320" fmla="*/ 3918585 h 6858000"/>
              <a:gd name="connsiteX321" fmla="*/ 5632139 w 9595474"/>
              <a:gd name="connsiteY321" fmla="*/ 3923348 h 6858000"/>
              <a:gd name="connsiteX322" fmla="*/ 5635094 w 9595474"/>
              <a:gd name="connsiteY322" fmla="*/ 3928745 h 6858000"/>
              <a:gd name="connsiteX323" fmla="*/ 5638050 w 9595474"/>
              <a:gd name="connsiteY323" fmla="*/ 3934460 h 6858000"/>
              <a:gd name="connsiteX324" fmla="*/ 5640415 w 9595474"/>
              <a:gd name="connsiteY324" fmla="*/ 3939858 h 6858000"/>
              <a:gd name="connsiteX325" fmla="*/ 5642484 w 9595474"/>
              <a:gd name="connsiteY325" fmla="*/ 3945890 h 6858000"/>
              <a:gd name="connsiteX326" fmla="*/ 5644257 w 9595474"/>
              <a:gd name="connsiteY326" fmla="*/ 3951605 h 6858000"/>
              <a:gd name="connsiteX327" fmla="*/ 5645735 w 9595474"/>
              <a:gd name="connsiteY327" fmla="*/ 3957320 h 6858000"/>
              <a:gd name="connsiteX328" fmla="*/ 5647213 w 9595474"/>
              <a:gd name="connsiteY328" fmla="*/ 3963353 h 6858000"/>
              <a:gd name="connsiteX329" fmla="*/ 5648100 w 9595474"/>
              <a:gd name="connsiteY329" fmla="*/ 3969068 h 6858000"/>
              <a:gd name="connsiteX330" fmla="*/ 5648691 w 9595474"/>
              <a:gd name="connsiteY330" fmla="*/ 3975100 h 6858000"/>
              <a:gd name="connsiteX331" fmla="*/ 5649282 w 9595474"/>
              <a:gd name="connsiteY331" fmla="*/ 3980815 h 6858000"/>
              <a:gd name="connsiteX332" fmla="*/ 5649282 w 9595474"/>
              <a:gd name="connsiteY332" fmla="*/ 3987165 h 6858000"/>
              <a:gd name="connsiteX333" fmla="*/ 5649282 w 9595474"/>
              <a:gd name="connsiteY333" fmla="*/ 3992880 h 6858000"/>
              <a:gd name="connsiteX334" fmla="*/ 5648691 w 9595474"/>
              <a:gd name="connsiteY334" fmla="*/ 3998913 h 6858000"/>
              <a:gd name="connsiteX335" fmla="*/ 5648100 w 9595474"/>
              <a:gd name="connsiteY335" fmla="*/ 4004945 h 6858000"/>
              <a:gd name="connsiteX336" fmla="*/ 5647213 w 9595474"/>
              <a:gd name="connsiteY336" fmla="*/ 4010660 h 6858000"/>
              <a:gd name="connsiteX337" fmla="*/ 5645735 w 9595474"/>
              <a:gd name="connsiteY337" fmla="*/ 4016375 h 6858000"/>
              <a:gd name="connsiteX338" fmla="*/ 5644257 w 9595474"/>
              <a:gd name="connsiteY338" fmla="*/ 4022725 h 6858000"/>
              <a:gd name="connsiteX339" fmla="*/ 5642484 w 9595474"/>
              <a:gd name="connsiteY339" fmla="*/ 4028440 h 6858000"/>
              <a:gd name="connsiteX340" fmla="*/ 5640415 w 9595474"/>
              <a:gd name="connsiteY340" fmla="*/ 4033838 h 6858000"/>
              <a:gd name="connsiteX341" fmla="*/ 5638050 w 9595474"/>
              <a:gd name="connsiteY341" fmla="*/ 4039553 h 6858000"/>
              <a:gd name="connsiteX342" fmla="*/ 5635094 w 9595474"/>
              <a:gd name="connsiteY342" fmla="*/ 4044950 h 6858000"/>
              <a:gd name="connsiteX343" fmla="*/ 5632139 w 9595474"/>
              <a:gd name="connsiteY343" fmla="*/ 4050348 h 6858000"/>
              <a:gd name="connsiteX344" fmla="*/ 5628888 w 9595474"/>
              <a:gd name="connsiteY344" fmla="*/ 4055745 h 6858000"/>
              <a:gd name="connsiteX345" fmla="*/ 5625341 w 9595474"/>
              <a:gd name="connsiteY345" fmla="*/ 4060825 h 6858000"/>
              <a:gd name="connsiteX346" fmla="*/ 5621498 w 9595474"/>
              <a:gd name="connsiteY346" fmla="*/ 4065588 h 6858000"/>
              <a:gd name="connsiteX347" fmla="*/ 5617360 w 9595474"/>
              <a:gd name="connsiteY347" fmla="*/ 4070350 h 6858000"/>
              <a:gd name="connsiteX348" fmla="*/ 5612631 w 9595474"/>
              <a:gd name="connsiteY348" fmla="*/ 4075113 h 6858000"/>
              <a:gd name="connsiteX349" fmla="*/ 5608198 w 9595474"/>
              <a:gd name="connsiteY349" fmla="*/ 4079875 h 6858000"/>
              <a:gd name="connsiteX350" fmla="*/ 5603468 w 9595474"/>
              <a:gd name="connsiteY350" fmla="*/ 4083685 h 6858000"/>
              <a:gd name="connsiteX351" fmla="*/ 5598443 w 9595474"/>
              <a:gd name="connsiteY351" fmla="*/ 4087495 h 6858000"/>
              <a:gd name="connsiteX352" fmla="*/ 5593419 w 9595474"/>
              <a:gd name="connsiteY352" fmla="*/ 4091305 h 6858000"/>
              <a:gd name="connsiteX353" fmla="*/ 5588098 w 9595474"/>
              <a:gd name="connsiteY353" fmla="*/ 4094480 h 6858000"/>
              <a:gd name="connsiteX354" fmla="*/ 5582482 w 9595474"/>
              <a:gd name="connsiteY354" fmla="*/ 4097338 h 6858000"/>
              <a:gd name="connsiteX355" fmla="*/ 5577162 w 9595474"/>
              <a:gd name="connsiteY355" fmla="*/ 4100195 h 6858000"/>
              <a:gd name="connsiteX356" fmla="*/ 5571842 w 9595474"/>
              <a:gd name="connsiteY356" fmla="*/ 4102418 h 6858000"/>
              <a:gd name="connsiteX357" fmla="*/ 5565931 w 9595474"/>
              <a:gd name="connsiteY357" fmla="*/ 4104640 h 6858000"/>
              <a:gd name="connsiteX358" fmla="*/ 5560315 w 9595474"/>
              <a:gd name="connsiteY358" fmla="*/ 4106545 h 6858000"/>
              <a:gd name="connsiteX359" fmla="*/ 5554699 w 9595474"/>
              <a:gd name="connsiteY359" fmla="*/ 4108133 h 6858000"/>
              <a:gd name="connsiteX360" fmla="*/ 5548492 w 9595474"/>
              <a:gd name="connsiteY360" fmla="*/ 4109403 h 6858000"/>
              <a:gd name="connsiteX361" fmla="*/ 5542580 w 9595474"/>
              <a:gd name="connsiteY361" fmla="*/ 4110355 h 6858000"/>
              <a:gd name="connsiteX362" fmla="*/ 5536669 w 9595474"/>
              <a:gd name="connsiteY362" fmla="*/ 4110990 h 6858000"/>
              <a:gd name="connsiteX363" fmla="*/ 5530758 w 9595474"/>
              <a:gd name="connsiteY363" fmla="*/ 4111308 h 6858000"/>
              <a:gd name="connsiteX364" fmla="*/ 5524846 w 9595474"/>
              <a:gd name="connsiteY364" fmla="*/ 4111625 h 6858000"/>
              <a:gd name="connsiteX365" fmla="*/ 5518639 w 9595474"/>
              <a:gd name="connsiteY365" fmla="*/ 4111308 h 6858000"/>
              <a:gd name="connsiteX366" fmla="*/ 5513023 w 9595474"/>
              <a:gd name="connsiteY366" fmla="*/ 4110990 h 6858000"/>
              <a:gd name="connsiteX367" fmla="*/ 5506816 w 9595474"/>
              <a:gd name="connsiteY367" fmla="*/ 4110355 h 6858000"/>
              <a:gd name="connsiteX368" fmla="*/ 5501200 w 9595474"/>
              <a:gd name="connsiteY368" fmla="*/ 4109403 h 6858000"/>
              <a:gd name="connsiteX369" fmla="*/ 5494993 w 9595474"/>
              <a:gd name="connsiteY369" fmla="*/ 4108133 h 6858000"/>
              <a:gd name="connsiteX370" fmla="*/ 5489081 w 9595474"/>
              <a:gd name="connsiteY370" fmla="*/ 4106545 h 6858000"/>
              <a:gd name="connsiteX371" fmla="*/ 5483466 w 9595474"/>
              <a:gd name="connsiteY371" fmla="*/ 4104640 h 6858000"/>
              <a:gd name="connsiteX372" fmla="*/ 5477850 w 9595474"/>
              <a:gd name="connsiteY372" fmla="*/ 4102418 h 6858000"/>
              <a:gd name="connsiteX373" fmla="*/ 5472234 w 9595474"/>
              <a:gd name="connsiteY373" fmla="*/ 4100195 h 6858000"/>
              <a:gd name="connsiteX374" fmla="*/ 5466913 w 9595474"/>
              <a:gd name="connsiteY374" fmla="*/ 4097338 h 6858000"/>
              <a:gd name="connsiteX375" fmla="*/ 5461593 w 9595474"/>
              <a:gd name="connsiteY375" fmla="*/ 4094480 h 6858000"/>
              <a:gd name="connsiteX376" fmla="*/ 5456273 w 9595474"/>
              <a:gd name="connsiteY376" fmla="*/ 4091305 h 6858000"/>
              <a:gd name="connsiteX377" fmla="*/ 5451248 w 9595474"/>
              <a:gd name="connsiteY377" fmla="*/ 4087495 h 6858000"/>
              <a:gd name="connsiteX378" fmla="*/ 5446223 w 9595474"/>
              <a:gd name="connsiteY378" fmla="*/ 4083685 h 6858000"/>
              <a:gd name="connsiteX379" fmla="*/ 5441495 w 9595474"/>
              <a:gd name="connsiteY379" fmla="*/ 4079875 h 6858000"/>
              <a:gd name="connsiteX380" fmla="*/ 5436765 w 9595474"/>
              <a:gd name="connsiteY380" fmla="*/ 4075113 h 6858000"/>
              <a:gd name="connsiteX381" fmla="*/ 5322379 w 9595474"/>
              <a:gd name="connsiteY381" fmla="*/ 3960813 h 6858000"/>
              <a:gd name="connsiteX382" fmla="*/ 5317945 w 9595474"/>
              <a:gd name="connsiteY382" fmla="*/ 3956368 h 6858000"/>
              <a:gd name="connsiteX383" fmla="*/ 5312921 w 9595474"/>
              <a:gd name="connsiteY383" fmla="*/ 3952240 h 6858000"/>
              <a:gd name="connsiteX384" fmla="*/ 5307896 w 9595474"/>
              <a:gd name="connsiteY384" fmla="*/ 3948748 h 6858000"/>
              <a:gd name="connsiteX385" fmla="*/ 5302871 w 9595474"/>
              <a:gd name="connsiteY385" fmla="*/ 3944938 h 6858000"/>
              <a:gd name="connsiteX386" fmla="*/ 5297255 w 9595474"/>
              <a:gd name="connsiteY386" fmla="*/ 3941763 h 6858000"/>
              <a:gd name="connsiteX387" fmla="*/ 5292230 w 9595474"/>
              <a:gd name="connsiteY387" fmla="*/ 3938588 h 6858000"/>
              <a:gd name="connsiteX388" fmla="*/ 5286615 w 9595474"/>
              <a:gd name="connsiteY388" fmla="*/ 3936048 h 6858000"/>
              <a:gd name="connsiteX389" fmla="*/ 5281294 w 9595474"/>
              <a:gd name="connsiteY389" fmla="*/ 3933508 h 6858000"/>
              <a:gd name="connsiteX390" fmla="*/ 5275383 w 9595474"/>
              <a:gd name="connsiteY390" fmla="*/ 3931285 h 6858000"/>
              <a:gd name="connsiteX391" fmla="*/ 5269767 w 9595474"/>
              <a:gd name="connsiteY391" fmla="*/ 3929698 h 6858000"/>
              <a:gd name="connsiteX392" fmla="*/ 5263855 w 9595474"/>
              <a:gd name="connsiteY392" fmla="*/ 3927793 h 6858000"/>
              <a:gd name="connsiteX393" fmla="*/ 5257944 w 9595474"/>
              <a:gd name="connsiteY393" fmla="*/ 3926840 h 6858000"/>
              <a:gd name="connsiteX394" fmla="*/ 5252033 w 9595474"/>
              <a:gd name="connsiteY394" fmla="*/ 3925570 h 6858000"/>
              <a:gd name="connsiteX395" fmla="*/ 5246121 w 9595474"/>
              <a:gd name="connsiteY395" fmla="*/ 3924935 h 6858000"/>
              <a:gd name="connsiteX396" fmla="*/ 5240210 w 9595474"/>
              <a:gd name="connsiteY396" fmla="*/ 3924618 h 6858000"/>
              <a:gd name="connsiteX397" fmla="*/ 5234298 w 9595474"/>
              <a:gd name="connsiteY397" fmla="*/ 3924618 h 6858000"/>
              <a:gd name="connsiteX398" fmla="*/ 5228091 w 9595474"/>
              <a:gd name="connsiteY398" fmla="*/ 3924618 h 6858000"/>
              <a:gd name="connsiteX399" fmla="*/ 5222180 w 9595474"/>
              <a:gd name="connsiteY399" fmla="*/ 3924935 h 6858000"/>
              <a:gd name="connsiteX400" fmla="*/ 5216268 w 9595474"/>
              <a:gd name="connsiteY400" fmla="*/ 3925570 h 6858000"/>
              <a:gd name="connsiteX401" fmla="*/ 5210357 w 9595474"/>
              <a:gd name="connsiteY401" fmla="*/ 3926840 h 6858000"/>
              <a:gd name="connsiteX402" fmla="*/ 5204741 w 9595474"/>
              <a:gd name="connsiteY402" fmla="*/ 3927793 h 6858000"/>
              <a:gd name="connsiteX403" fmla="*/ 5198534 w 9595474"/>
              <a:gd name="connsiteY403" fmla="*/ 3929698 h 6858000"/>
              <a:gd name="connsiteX404" fmla="*/ 5192918 w 9595474"/>
              <a:gd name="connsiteY404" fmla="*/ 3931285 h 6858000"/>
              <a:gd name="connsiteX405" fmla="*/ 5187598 w 9595474"/>
              <a:gd name="connsiteY405" fmla="*/ 3933508 h 6858000"/>
              <a:gd name="connsiteX406" fmla="*/ 5181686 w 9595474"/>
              <a:gd name="connsiteY406" fmla="*/ 3936048 h 6858000"/>
              <a:gd name="connsiteX407" fmla="*/ 5176366 w 9595474"/>
              <a:gd name="connsiteY407" fmla="*/ 3938588 h 6858000"/>
              <a:gd name="connsiteX408" fmla="*/ 5171046 w 9595474"/>
              <a:gd name="connsiteY408" fmla="*/ 3941763 h 6858000"/>
              <a:gd name="connsiteX409" fmla="*/ 5165430 w 9595474"/>
              <a:gd name="connsiteY409" fmla="*/ 3944938 h 6858000"/>
              <a:gd name="connsiteX410" fmla="*/ 5160405 w 9595474"/>
              <a:gd name="connsiteY410" fmla="*/ 3948748 h 6858000"/>
              <a:gd name="connsiteX411" fmla="*/ 5155380 w 9595474"/>
              <a:gd name="connsiteY411" fmla="*/ 3952240 h 6858000"/>
              <a:gd name="connsiteX412" fmla="*/ 5150947 w 9595474"/>
              <a:gd name="connsiteY412" fmla="*/ 3956368 h 6858000"/>
              <a:gd name="connsiteX413" fmla="*/ 5146218 w 9595474"/>
              <a:gd name="connsiteY413" fmla="*/ 3960813 h 6858000"/>
              <a:gd name="connsiteX414" fmla="*/ 5141488 w 9595474"/>
              <a:gd name="connsiteY414" fmla="*/ 3965575 h 6858000"/>
              <a:gd name="connsiteX415" fmla="*/ 5137646 w 9595474"/>
              <a:gd name="connsiteY415" fmla="*/ 3970655 h 6858000"/>
              <a:gd name="connsiteX416" fmla="*/ 5133508 w 9595474"/>
              <a:gd name="connsiteY416" fmla="*/ 3975100 h 6858000"/>
              <a:gd name="connsiteX417" fmla="*/ 5129961 w 9595474"/>
              <a:gd name="connsiteY417" fmla="*/ 3980498 h 6858000"/>
              <a:gd name="connsiteX418" fmla="*/ 5126710 w 9595474"/>
              <a:gd name="connsiteY418" fmla="*/ 3985578 h 6858000"/>
              <a:gd name="connsiteX419" fmla="*/ 5123754 w 9595474"/>
              <a:gd name="connsiteY419" fmla="*/ 3990975 h 6858000"/>
              <a:gd name="connsiteX420" fmla="*/ 5121094 w 9595474"/>
              <a:gd name="connsiteY420" fmla="*/ 3996373 h 6858000"/>
              <a:gd name="connsiteX421" fmla="*/ 5118729 w 9595474"/>
              <a:gd name="connsiteY421" fmla="*/ 4002088 h 6858000"/>
              <a:gd name="connsiteX422" fmla="*/ 5116660 w 9595474"/>
              <a:gd name="connsiteY422" fmla="*/ 4007803 h 6858000"/>
              <a:gd name="connsiteX423" fmla="*/ 5114591 w 9595474"/>
              <a:gd name="connsiteY423" fmla="*/ 4013518 h 6858000"/>
              <a:gd name="connsiteX424" fmla="*/ 5113113 w 9595474"/>
              <a:gd name="connsiteY424" fmla="*/ 4019233 h 6858000"/>
              <a:gd name="connsiteX425" fmla="*/ 5111636 w 9595474"/>
              <a:gd name="connsiteY425" fmla="*/ 4025265 h 6858000"/>
              <a:gd name="connsiteX426" fmla="*/ 5111044 w 9595474"/>
              <a:gd name="connsiteY426" fmla="*/ 4031298 h 6858000"/>
              <a:gd name="connsiteX427" fmla="*/ 5110158 w 9595474"/>
              <a:gd name="connsiteY427" fmla="*/ 4037013 h 6858000"/>
              <a:gd name="connsiteX428" fmla="*/ 5109862 w 9595474"/>
              <a:gd name="connsiteY428" fmla="*/ 4043045 h 6858000"/>
              <a:gd name="connsiteX429" fmla="*/ 5109567 w 9595474"/>
              <a:gd name="connsiteY429" fmla="*/ 4049078 h 6858000"/>
              <a:gd name="connsiteX430" fmla="*/ 5109862 w 9595474"/>
              <a:gd name="connsiteY430" fmla="*/ 4055110 h 6858000"/>
              <a:gd name="connsiteX431" fmla="*/ 5110158 w 9595474"/>
              <a:gd name="connsiteY431" fmla="*/ 4061143 h 6858000"/>
              <a:gd name="connsiteX432" fmla="*/ 5111044 w 9595474"/>
              <a:gd name="connsiteY432" fmla="*/ 4066858 h 6858000"/>
              <a:gd name="connsiteX433" fmla="*/ 5111636 w 9595474"/>
              <a:gd name="connsiteY433" fmla="*/ 4072890 h 6858000"/>
              <a:gd name="connsiteX434" fmla="*/ 5113113 w 9595474"/>
              <a:gd name="connsiteY434" fmla="*/ 4078605 h 6858000"/>
              <a:gd name="connsiteX435" fmla="*/ 5114591 w 9595474"/>
              <a:gd name="connsiteY435" fmla="*/ 4084320 h 6858000"/>
              <a:gd name="connsiteX436" fmla="*/ 5116660 w 9595474"/>
              <a:gd name="connsiteY436" fmla="*/ 4090035 h 6858000"/>
              <a:gd name="connsiteX437" fmla="*/ 5118729 w 9595474"/>
              <a:gd name="connsiteY437" fmla="*/ 4095750 h 6858000"/>
              <a:gd name="connsiteX438" fmla="*/ 5121094 w 9595474"/>
              <a:gd name="connsiteY438" fmla="*/ 4101783 h 6858000"/>
              <a:gd name="connsiteX439" fmla="*/ 5123754 w 9595474"/>
              <a:gd name="connsiteY439" fmla="*/ 4107180 h 6858000"/>
              <a:gd name="connsiteX440" fmla="*/ 5126710 w 9595474"/>
              <a:gd name="connsiteY440" fmla="*/ 4112578 h 6858000"/>
              <a:gd name="connsiteX441" fmla="*/ 5129961 w 9595474"/>
              <a:gd name="connsiteY441" fmla="*/ 4117975 h 6858000"/>
              <a:gd name="connsiteX442" fmla="*/ 5133508 w 9595474"/>
              <a:gd name="connsiteY442" fmla="*/ 4122738 h 6858000"/>
              <a:gd name="connsiteX443" fmla="*/ 5137646 w 9595474"/>
              <a:gd name="connsiteY443" fmla="*/ 4127818 h 6858000"/>
              <a:gd name="connsiteX444" fmla="*/ 5141488 w 9595474"/>
              <a:gd name="connsiteY444" fmla="*/ 4132580 h 6858000"/>
              <a:gd name="connsiteX445" fmla="*/ 5146218 w 9595474"/>
              <a:gd name="connsiteY445" fmla="*/ 4137343 h 6858000"/>
              <a:gd name="connsiteX446" fmla="*/ 5870075 w 9595474"/>
              <a:gd name="connsiteY446" fmla="*/ 4860925 h 6858000"/>
              <a:gd name="connsiteX447" fmla="*/ 5874509 w 9595474"/>
              <a:gd name="connsiteY447" fmla="*/ 4865688 h 6858000"/>
              <a:gd name="connsiteX448" fmla="*/ 5878646 w 9595474"/>
              <a:gd name="connsiteY448" fmla="*/ 4870768 h 6858000"/>
              <a:gd name="connsiteX449" fmla="*/ 5882489 w 9595474"/>
              <a:gd name="connsiteY449" fmla="*/ 4875848 h 6858000"/>
              <a:gd name="connsiteX450" fmla="*/ 5886036 w 9595474"/>
              <a:gd name="connsiteY450" fmla="*/ 4880928 h 6858000"/>
              <a:gd name="connsiteX451" fmla="*/ 5889287 w 9595474"/>
              <a:gd name="connsiteY451" fmla="*/ 4885690 h 6858000"/>
              <a:gd name="connsiteX452" fmla="*/ 5892243 w 9595474"/>
              <a:gd name="connsiteY452" fmla="*/ 4891088 h 6858000"/>
              <a:gd name="connsiteX453" fmla="*/ 5895199 w 9595474"/>
              <a:gd name="connsiteY453" fmla="*/ 4897120 h 6858000"/>
              <a:gd name="connsiteX454" fmla="*/ 5897268 w 9595474"/>
              <a:gd name="connsiteY454" fmla="*/ 4902518 h 6858000"/>
              <a:gd name="connsiteX455" fmla="*/ 5899336 w 9595474"/>
              <a:gd name="connsiteY455" fmla="*/ 4908233 h 6858000"/>
              <a:gd name="connsiteX456" fmla="*/ 5901701 w 9595474"/>
              <a:gd name="connsiteY456" fmla="*/ 4913948 h 6858000"/>
              <a:gd name="connsiteX457" fmla="*/ 5902883 w 9595474"/>
              <a:gd name="connsiteY457" fmla="*/ 4919663 h 6858000"/>
              <a:gd name="connsiteX458" fmla="*/ 5904066 w 9595474"/>
              <a:gd name="connsiteY458" fmla="*/ 4925695 h 6858000"/>
              <a:gd name="connsiteX459" fmla="*/ 5905248 w 9595474"/>
              <a:gd name="connsiteY459" fmla="*/ 4931410 h 6858000"/>
              <a:gd name="connsiteX460" fmla="*/ 5905840 w 9595474"/>
              <a:gd name="connsiteY460" fmla="*/ 4937443 h 6858000"/>
              <a:gd name="connsiteX461" fmla="*/ 5906135 w 9595474"/>
              <a:gd name="connsiteY461" fmla="*/ 4943475 h 6858000"/>
              <a:gd name="connsiteX462" fmla="*/ 5906726 w 9595474"/>
              <a:gd name="connsiteY462" fmla="*/ 4949508 h 6858000"/>
              <a:gd name="connsiteX463" fmla="*/ 5906135 w 9595474"/>
              <a:gd name="connsiteY463" fmla="*/ 4955223 h 6858000"/>
              <a:gd name="connsiteX464" fmla="*/ 5905840 w 9595474"/>
              <a:gd name="connsiteY464" fmla="*/ 4961255 h 6858000"/>
              <a:gd name="connsiteX465" fmla="*/ 5905248 w 9595474"/>
              <a:gd name="connsiteY465" fmla="*/ 4967288 h 6858000"/>
              <a:gd name="connsiteX466" fmla="*/ 5904066 w 9595474"/>
              <a:gd name="connsiteY466" fmla="*/ 4973003 h 6858000"/>
              <a:gd name="connsiteX467" fmla="*/ 5902883 w 9595474"/>
              <a:gd name="connsiteY467" fmla="*/ 4979035 h 6858000"/>
              <a:gd name="connsiteX468" fmla="*/ 5901701 w 9595474"/>
              <a:gd name="connsiteY468" fmla="*/ 4985068 h 6858000"/>
              <a:gd name="connsiteX469" fmla="*/ 5899336 w 9595474"/>
              <a:gd name="connsiteY469" fmla="*/ 4990783 h 6858000"/>
              <a:gd name="connsiteX470" fmla="*/ 5897268 w 9595474"/>
              <a:gd name="connsiteY470" fmla="*/ 4996180 h 6858000"/>
              <a:gd name="connsiteX471" fmla="*/ 5895199 w 9595474"/>
              <a:gd name="connsiteY471" fmla="*/ 5001895 h 6858000"/>
              <a:gd name="connsiteX472" fmla="*/ 5892243 w 9595474"/>
              <a:gd name="connsiteY472" fmla="*/ 5007293 h 6858000"/>
              <a:gd name="connsiteX473" fmla="*/ 5889287 w 9595474"/>
              <a:gd name="connsiteY473" fmla="*/ 5012690 h 6858000"/>
              <a:gd name="connsiteX474" fmla="*/ 5886036 w 9595474"/>
              <a:gd name="connsiteY474" fmla="*/ 5018088 h 6858000"/>
              <a:gd name="connsiteX475" fmla="*/ 5882489 w 9595474"/>
              <a:gd name="connsiteY475" fmla="*/ 5023168 h 6858000"/>
              <a:gd name="connsiteX476" fmla="*/ 5878646 w 9595474"/>
              <a:gd name="connsiteY476" fmla="*/ 5028248 h 6858000"/>
              <a:gd name="connsiteX477" fmla="*/ 5874509 w 9595474"/>
              <a:gd name="connsiteY477" fmla="*/ 5032693 h 6858000"/>
              <a:gd name="connsiteX478" fmla="*/ 5870075 w 9595474"/>
              <a:gd name="connsiteY478" fmla="*/ 5037455 h 6858000"/>
              <a:gd name="connsiteX479" fmla="*/ 5865346 w 9595474"/>
              <a:gd name="connsiteY479" fmla="*/ 5041900 h 6858000"/>
              <a:gd name="connsiteX480" fmla="*/ 5860617 w 9595474"/>
              <a:gd name="connsiteY480" fmla="*/ 5046028 h 6858000"/>
              <a:gd name="connsiteX481" fmla="*/ 5855592 w 9595474"/>
              <a:gd name="connsiteY481" fmla="*/ 5050155 h 6858000"/>
              <a:gd name="connsiteX482" fmla="*/ 5850567 w 9595474"/>
              <a:gd name="connsiteY482" fmla="*/ 5053648 h 6858000"/>
              <a:gd name="connsiteX483" fmla="*/ 5845247 w 9595474"/>
              <a:gd name="connsiteY483" fmla="*/ 5056823 h 6858000"/>
              <a:gd name="connsiteX484" fmla="*/ 5839926 w 9595474"/>
              <a:gd name="connsiteY484" fmla="*/ 5059680 h 6858000"/>
              <a:gd name="connsiteX485" fmla="*/ 5834311 w 9595474"/>
              <a:gd name="connsiteY485" fmla="*/ 5062538 h 6858000"/>
              <a:gd name="connsiteX486" fmla="*/ 5828695 w 9595474"/>
              <a:gd name="connsiteY486" fmla="*/ 5064760 h 6858000"/>
              <a:gd name="connsiteX487" fmla="*/ 5823375 w 9595474"/>
              <a:gd name="connsiteY487" fmla="*/ 5066983 h 6858000"/>
              <a:gd name="connsiteX488" fmla="*/ 5817463 w 9595474"/>
              <a:gd name="connsiteY488" fmla="*/ 5069205 h 6858000"/>
              <a:gd name="connsiteX489" fmla="*/ 5811552 w 9595474"/>
              <a:gd name="connsiteY489" fmla="*/ 5070475 h 6858000"/>
              <a:gd name="connsiteX490" fmla="*/ 5805640 w 9595474"/>
              <a:gd name="connsiteY490" fmla="*/ 5071428 h 6858000"/>
              <a:gd name="connsiteX491" fmla="*/ 5800024 w 9595474"/>
              <a:gd name="connsiteY491" fmla="*/ 5072698 h 6858000"/>
              <a:gd name="connsiteX492" fmla="*/ 5793817 w 9595474"/>
              <a:gd name="connsiteY492" fmla="*/ 5073333 h 6858000"/>
              <a:gd name="connsiteX493" fmla="*/ 5787610 w 9595474"/>
              <a:gd name="connsiteY493" fmla="*/ 5073650 h 6858000"/>
              <a:gd name="connsiteX494" fmla="*/ 5781994 w 9595474"/>
              <a:gd name="connsiteY494" fmla="*/ 5073968 h 6858000"/>
              <a:gd name="connsiteX495" fmla="*/ 5775787 w 9595474"/>
              <a:gd name="connsiteY495" fmla="*/ 5073650 h 6858000"/>
              <a:gd name="connsiteX496" fmla="*/ 5770171 w 9595474"/>
              <a:gd name="connsiteY496" fmla="*/ 5073333 h 6858000"/>
              <a:gd name="connsiteX497" fmla="*/ 5763965 w 9595474"/>
              <a:gd name="connsiteY497" fmla="*/ 5072698 h 6858000"/>
              <a:gd name="connsiteX498" fmla="*/ 5758349 w 9595474"/>
              <a:gd name="connsiteY498" fmla="*/ 5071428 h 6858000"/>
              <a:gd name="connsiteX499" fmla="*/ 5752141 w 9595474"/>
              <a:gd name="connsiteY499" fmla="*/ 5070475 h 6858000"/>
              <a:gd name="connsiteX500" fmla="*/ 5746526 w 9595474"/>
              <a:gd name="connsiteY500" fmla="*/ 5069205 h 6858000"/>
              <a:gd name="connsiteX501" fmla="*/ 5740614 w 9595474"/>
              <a:gd name="connsiteY501" fmla="*/ 5066983 h 6858000"/>
              <a:gd name="connsiteX502" fmla="*/ 5734998 w 9595474"/>
              <a:gd name="connsiteY502" fmla="*/ 5064760 h 6858000"/>
              <a:gd name="connsiteX503" fmla="*/ 5729382 w 9595474"/>
              <a:gd name="connsiteY503" fmla="*/ 5062538 h 6858000"/>
              <a:gd name="connsiteX504" fmla="*/ 5723767 w 9595474"/>
              <a:gd name="connsiteY504" fmla="*/ 5059680 h 6858000"/>
              <a:gd name="connsiteX505" fmla="*/ 5718446 w 9595474"/>
              <a:gd name="connsiteY505" fmla="*/ 5056823 h 6858000"/>
              <a:gd name="connsiteX506" fmla="*/ 5713421 w 9595474"/>
              <a:gd name="connsiteY506" fmla="*/ 5053648 h 6858000"/>
              <a:gd name="connsiteX507" fmla="*/ 5708396 w 9595474"/>
              <a:gd name="connsiteY507" fmla="*/ 5050155 h 6858000"/>
              <a:gd name="connsiteX508" fmla="*/ 5703372 w 9595474"/>
              <a:gd name="connsiteY508" fmla="*/ 5046028 h 6858000"/>
              <a:gd name="connsiteX509" fmla="*/ 5698347 w 9595474"/>
              <a:gd name="connsiteY509" fmla="*/ 5041900 h 6858000"/>
              <a:gd name="connsiteX510" fmla="*/ 5693618 w 9595474"/>
              <a:gd name="connsiteY510" fmla="*/ 5037455 h 6858000"/>
              <a:gd name="connsiteX511" fmla="*/ 5598148 w 9595474"/>
              <a:gd name="connsiteY511" fmla="*/ 4941888 h 6858000"/>
              <a:gd name="connsiteX512" fmla="*/ 5490560 w 9595474"/>
              <a:gd name="connsiteY512" fmla="*/ 4834573 h 6858000"/>
              <a:gd name="connsiteX513" fmla="*/ 5485830 w 9595474"/>
              <a:gd name="connsiteY513" fmla="*/ 4830128 h 6858000"/>
              <a:gd name="connsiteX514" fmla="*/ 5481397 w 9595474"/>
              <a:gd name="connsiteY514" fmla="*/ 4826000 h 6858000"/>
              <a:gd name="connsiteX515" fmla="*/ 5476372 w 9595474"/>
              <a:gd name="connsiteY515" fmla="*/ 4821873 h 6858000"/>
              <a:gd name="connsiteX516" fmla="*/ 5471348 w 9595474"/>
              <a:gd name="connsiteY516" fmla="*/ 4818380 h 6858000"/>
              <a:gd name="connsiteX517" fmla="*/ 5465732 w 9595474"/>
              <a:gd name="connsiteY517" fmla="*/ 4815205 h 6858000"/>
              <a:gd name="connsiteX518" fmla="*/ 5460411 w 9595474"/>
              <a:gd name="connsiteY518" fmla="*/ 4812348 h 6858000"/>
              <a:gd name="connsiteX519" fmla="*/ 5455091 w 9595474"/>
              <a:gd name="connsiteY519" fmla="*/ 4809173 h 6858000"/>
              <a:gd name="connsiteX520" fmla="*/ 5449475 w 9595474"/>
              <a:gd name="connsiteY520" fmla="*/ 4807268 h 6858000"/>
              <a:gd name="connsiteX521" fmla="*/ 5443563 w 9595474"/>
              <a:gd name="connsiteY521" fmla="*/ 4805045 h 6858000"/>
              <a:gd name="connsiteX522" fmla="*/ 5437948 w 9595474"/>
              <a:gd name="connsiteY522" fmla="*/ 4802823 h 6858000"/>
              <a:gd name="connsiteX523" fmla="*/ 5432036 w 9595474"/>
              <a:gd name="connsiteY523" fmla="*/ 4801553 h 6858000"/>
              <a:gd name="connsiteX524" fmla="*/ 5426420 w 9595474"/>
              <a:gd name="connsiteY524" fmla="*/ 4800283 h 6858000"/>
              <a:gd name="connsiteX525" fmla="*/ 5420509 w 9595474"/>
              <a:gd name="connsiteY525" fmla="*/ 4799330 h 6858000"/>
              <a:gd name="connsiteX526" fmla="*/ 5414597 w 9595474"/>
              <a:gd name="connsiteY526" fmla="*/ 4798695 h 6858000"/>
              <a:gd name="connsiteX527" fmla="*/ 5408391 w 9595474"/>
              <a:gd name="connsiteY527" fmla="*/ 4798060 h 6858000"/>
              <a:gd name="connsiteX528" fmla="*/ 5402775 w 9595474"/>
              <a:gd name="connsiteY528" fmla="*/ 4797743 h 6858000"/>
              <a:gd name="connsiteX529" fmla="*/ 5396568 w 9595474"/>
              <a:gd name="connsiteY529" fmla="*/ 4798060 h 6858000"/>
              <a:gd name="connsiteX530" fmla="*/ 5390361 w 9595474"/>
              <a:gd name="connsiteY530" fmla="*/ 4798695 h 6858000"/>
              <a:gd name="connsiteX531" fmla="*/ 5384745 w 9595474"/>
              <a:gd name="connsiteY531" fmla="*/ 4799330 h 6858000"/>
              <a:gd name="connsiteX532" fmla="*/ 5378538 w 9595474"/>
              <a:gd name="connsiteY532" fmla="*/ 4800283 h 6858000"/>
              <a:gd name="connsiteX533" fmla="*/ 5372922 w 9595474"/>
              <a:gd name="connsiteY533" fmla="*/ 4801553 h 6858000"/>
              <a:gd name="connsiteX534" fmla="*/ 5367010 w 9595474"/>
              <a:gd name="connsiteY534" fmla="*/ 4802823 h 6858000"/>
              <a:gd name="connsiteX535" fmla="*/ 5361394 w 9595474"/>
              <a:gd name="connsiteY535" fmla="*/ 4805045 h 6858000"/>
              <a:gd name="connsiteX536" fmla="*/ 5355483 w 9595474"/>
              <a:gd name="connsiteY536" fmla="*/ 4807268 h 6858000"/>
              <a:gd name="connsiteX537" fmla="*/ 5350163 w 9595474"/>
              <a:gd name="connsiteY537" fmla="*/ 4809173 h 6858000"/>
              <a:gd name="connsiteX538" fmla="*/ 5344547 w 9595474"/>
              <a:gd name="connsiteY538" fmla="*/ 4812348 h 6858000"/>
              <a:gd name="connsiteX539" fmla="*/ 5338931 w 9595474"/>
              <a:gd name="connsiteY539" fmla="*/ 4815205 h 6858000"/>
              <a:gd name="connsiteX540" fmla="*/ 5333906 w 9595474"/>
              <a:gd name="connsiteY540" fmla="*/ 4818380 h 6858000"/>
              <a:gd name="connsiteX541" fmla="*/ 5328881 w 9595474"/>
              <a:gd name="connsiteY541" fmla="*/ 4821873 h 6858000"/>
              <a:gd name="connsiteX542" fmla="*/ 5323857 w 9595474"/>
              <a:gd name="connsiteY542" fmla="*/ 4826000 h 6858000"/>
              <a:gd name="connsiteX543" fmla="*/ 5318832 w 9595474"/>
              <a:gd name="connsiteY543" fmla="*/ 4830128 h 6858000"/>
              <a:gd name="connsiteX544" fmla="*/ 5314398 w 9595474"/>
              <a:gd name="connsiteY544" fmla="*/ 4834573 h 6858000"/>
              <a:gd name="connsiteX545" fmla="*/ 5307305 w 9595474"/>
              <a:gd name="connsiteY545" fmla="*/ 4841875 h 6858000"/>
              <a:gd name="connsiteX546" fmla="*/ 5301393 w 9595474"/>
              <a:gd name="connsiteY546" fmla="*/ 4849813 h 6858000"/>
              <a:gd name="connsiteX547" fmla="*/ 5295482 w 9595474"/>
              <a:gd name="connsiteY547" fmla="*/ 4858068 h 6858000"/>
              <a:gd name="connsiteX548" fmla="*/ 5291048 w 9595474"/>
              <a:gd name="connsiteY548" fmla="*/ 4867275 h 6858000"/>
              <a:gd name="connsiteX549" fmla="*/ 5286910 w 9595474"/>
              <a:gd name="connsiteY549" fmla="*/ 4875848 h 6858000"/>
              <a:gd name="connsiteX550" fmla="*/ 5283659 w 9595474"/>
              <a:gd name="connsiteY550" fmla="*/ 4885055 h 6858000"/>
              <a:gd name="connsiteX551" fmla="*/ 5281294 w 9595474"/>
              <a:gd name="connsiteY551" fmla="*/ 4894580 h 6858000"/>
              <a:gd name="connsiteX552" fmla="*/ 5279521 w 9595474"/>
              <a:gd name="connsiteY552" fmla="*/ 4903788 h 6858000"/>
              <a:gd name="connsiteX553" fmla="*/ 5278339 w 9595474"/>
              <a:gd name="connsiteY553" fmla="*/ 4913630 h 6858000"/>
              <a:gd name="connsiteX554" fmla="*/ 5278339 w 9595474"/>
              <a:gd name="connsiteY554" fmla="*/ 4923155 h 6858000"/>
              <a:gd name="connsiteX555" fmla="*/ 5278634 w 9595474"/>
              <a:gd name="connsiteY555" fmla="*/ 4932998 h 6858000"/>
              <a:gd name="connsiteX556" fmla="*/ 5279816 w 9595474"/>
              <a:gd name="connsiteY556" fmla="*/ 4942205 h 6858000"/>
              <a:gd name="connsiteX557" fmla="*/ 5281885 w 9595474"/>
              <a:gd name="connsiteY557" fmla="*/ 4952048 h 6858000"/>
              <a:gd name="connsiteX558" fmla="*/ 5284546 w 9595474"/>
              <a:gd name="connsiteY558" fmla="*/ 4960938 h 6858000"/>
              <a:gd name="connsiteX559" fmla="*/ 5288092 w 9595474"/>
              <a:gd name="connsiteY559" fmla="*/ 4970145 h 6858000"/>
              <a:gd name="connsiteX560" fmla="*/ 5291935 w 9595474"/>
              <a:gd name="connsiteY560" fmla="*/ 4979353 h 6858000"/>
              <a:gd name="connsiteX561" fmla="*/ 5583665 w 9595474"/>
              <a:gd name="connsiteY561" fmla="*/ 5270500 h 6858000"/>
              <a:gd name="connsiteX562" fmla="*/ 5588098 w 9595474"/>
              <a:gd name="connsiteY562" fmla="*/ 5275263 h 6858000"/>
              <a:gd name="connsiteX563" fmla="*/ 5592237 w 9595474"/>
              <a:gd name="connsiteY563" fmla="*/ 5280343 h 6858000"/>
              <a:gd name="connsiteX564" fmla="*/ 5595784 w 9595474"/>
              <a:gd name="connsiteY564" fmla="*/ 5284788 h 6858000"/>
              <a:gd name="connsiteX565" fmla="*/ 5599626 w 9595474"/>
              <a:gd name="connsiteY565" fmla="*/ 5290185 h 6858000"/>
              <a:gd name="connsiteX566" fmla="*/ 5602582 w 9595474"/>
              <a:gd name="connsiteY566" fmla="*/ 5295265 h 6858000"/>
              <a:gd name="connsiteX567" fmla="*/ 5605833 w 9595474"/>
              <a:gd name="connsiteY567" fmla="*/ 5300663 h 6858000"/>
              <a:gd name="connsiteX568" fmla="*/ 5608493 w 9595474"/>
              <a:gd name="connsiteY568" fmla="*/ 5306060 h 6858000"/>
              <a:gd name="connsiteX569" fmla="*/ 5610857 w 9595474"/>
              <a:gd name="connsiteY569" fmla="*/ 5311775 h 6858000"/>
              <a:gd name="connsiteX570" fmla="*/ 5613222 w 9595474"/>
              <a:gd name="connsiteY570" fmla="*/ 5317490 h 6858000"/>
              <a:gd name="connsiteX571" fmla="*/ 5614996 w 9595474"/>
              <a:gd name="connsiteY571" fmla="*/ 5323523 h 6858000"/>
              <a:gd name="connsiteX572" fmla="*/ 5616474 w 9595474"/>
              <a:gd name="connsiteY572" fmla="*/ 5329238 h 6858000"/>
              <a:gd name="connsiteX573" fmla="*/ 5617656 w 9595474"/>
              <a:gd name="connsiteY573" fmla="*/ 5334953 h 6858000"/>
              <a:gd name="connsiteX574" fmla="*/ 5618838 w 9595474"/>
              <a:gd name="connsiteY574" fmla="*/ 5340985 h 6858000"/>
              <a:gd name="connsiteX575" fmla="*/ 5619725 w 9595474"/>
              <a:gd name="connsiteY575" fmla="*/ 5346700 h 6858000"/>
              <a:gd name="connsiteX576" fmla="*/ 5620021 w 9595474"/>
              <a:gd name="connsiteY576" fmla="*/ 5352733 h 6858000"/>
              <a:gd name="connsiteX577" fmla="*/ 5620021 w 9595474"/>
              <a:gd name="connsiteY577" fmla="*/ 5359083 h 6858000"/>
              <a:gd name="connsiteX578" fmla="*/ 5620021 w 9595474"/>
              <a:gd name="connsiteY578" fmla="*/ 5364798 h 6858000"/>
              <a:gd name="connsiteX579" fmla="*/ 5619725 w 9595474"/>
              <a:gd name="connsiteY579" fmla="*/ 5370830 h 6858000"/>
              <a:gd name="connsiteX580" fmla="*/ 5618838 w 9595474"/>
              <a:gd name="connsiteY580" fmla="*/ 5376545 h 6858000"/>
              <a:gd name="connsiteX581" fmla="*/ 5617656 w 9595474"/>
              <a:gd name="connsiteY581" fmla="*/ 5382578 h 6858000"/>
              <a:gd name="connsiteX582" fmla="*/ 5616474 w 9595474"/>
              <a:gd name="connsiteY582" fmla="*/ 5388293 h 6858000"/>
              <a:gd name="connsiteX583" fmla="*/ 5614996 w 9595474"/>
              <a:gd name="connsiteY583" fmla="*/ 5394008 h 6858000"/>
              <a:gd name="connsiteX584" fmla="*/ 5613222 w 9595474"/>
              <a:gd name="connsiteY584" fmla="*/ 5400040 h 6858000"/>
              <a:gd name="connsiteX585" fmla="*/ 5610857 w 9595474"/>
              <a:gd name="connsiteY585" fmla="*/ 5405755 h 6858000"/>
              <a:gd name="connsiteX586" fmla="*/ 5608493 w 9595474"/>
              <a:gd name="connsiteY586" fmla="*/ 5411470 h 6858000"/>
              <a:gd name="connsiteX587" fmla="*/ 5605833 w 9595474"/>
              <a:gd name="connsiteY587" fmla="*/ 5416868 h 6858000"/>
              <a:gd name="connsiteX588" fmla="*/ 5602582 w 9595474"/>
              <a:gd name="connsiteY588" fmla="*/ 5422265 h 6858000"/>
              <a:gd name="connsiteX589" fmla="*/ 5599626 w 9595474"/>
              <a:gd name="connsiteY589" fmla="*/ 5427663 h 6858000"/>
              <a:gd name="connsiteX590" fmla="*/ 5595784 w 9595474"/>
              <a:gd name="connsiteY590" fmla="*/ 5432743 h 6858000"/>
              <a:gd name="connsiteX591" fmla="*/ 5592237 w 9595474"/>
              <a:gd name="connsiteY591" fmla="*/ 5437505 h 6858000"/>
              <a:gd name="connsiteX592" fmla="*/ 5588098 w 9595474"/>
              <a:gd name="connsiteY592" fmla="*/ 5442268 h 6858000"/>
              <a:gd name="connsiteX593" fmla="*/ 5583665 w 9595474"/>
              <a:gd name="connsiteY593" fmla="*/ 5447030 h 6858000"/>
              <a:gd name="connsiteX594" fmla="*/ 5578936 w 9595474"/>
              <a:gd name="connsiteY594" fmla="*/ 5451158 h 6858000"/>
              <a:gd name="connsiteX595" fmla="*/ 5573911 w 9595474"/>
              <a:gd name="connsiteY595" fmla="*/ 5455603 h 6858000"/>
              <a:gd name="connsiteX596" fmla="*/ 5569182 w 9595474"/>
              <a:gd name="connsiteY596" fmla="*/ 5459095 h 6858000"/>
              <a:gd name="connsiteX597" fmla="*/ 5563862 w 9595474"/>
              <a:gd name="connsiteY597" fmla="*/ 5462905 h 6858000"/>
              <a:gd name="connsiteX598" fmla="*/ 5558837 w 9595474"/>
              <a:gd name="connsiteY598" fmla="*/ 5466080 h 6858000"/>
              <a:gd name="connsiteX599" fmla="*/ 5553517 w 9595474"/>
              <a:gd name="connsiteY599" fmla="*/ 5469255 h 6858000"/>
              <a:gd name="connsiteX600" fmla="*/ 5548196 w 9595474"/>
              <a:gd name="connsiteY600" fmla="*/ 5471795 h 6858000"/>
              <a:gd name="connsiteX601" fmla="*/ 5542285 w 9595474"/>
              <a:gd name="connsiteY601" fmla="*/ 5474335 h 6858000"/>
              <a:gd name="connsiteX602" fmla="*/ 5536964 w 9595474"/>
              <a:gd name="connsiteY602" fmla="*/ 5476558 h 6858000"/>
              <a:gd name="connsiteX603" fmla="*/ 5531348 w 9595474"/>
              <a:gd name="connsiteY603" fmla="*/ 5478145 h 6858000"/>
              <a:gd name="connsiteX604" fmla="*/ 5525437 w 9595474"/>
              <a:gd name="connsiteY604" fmla="*/ 5479733 h 6858000"/>
              <a:gd name="connsiteX605" fmla="*/ 5519230 w 9595474"/>
              <a:gd name="connsiteY605" fmla="*/ 5481003 h 6858000"/>
              <a:gd name="connsiteX606" fmla="*/ 5513614 w 9595474"/>
              <a:gd name="connsiteY606" fmla="*/ 5482273 h 6858000"/>
              <a:gd name="connsiteX607" fmla="*/ 5507999 w 9595474"/>
              <a:gd name="connsiteY607" fmla="*/ 5482908 h 6858000"/>
              <a:gd name="connsiteX608" fmla="*/ 5501791 w 9595474"/>
              <a:gd name="connsiteY608" fmla="*/ 5483225 h 6858000"/>
              <a:gd name="connsiteX609" fmla="*/ 5495585 w 9595474"/>
              <a:gd name="connsiteY609" fmla="*/ 5483543 h 6858000"/>
              <a:gd name="connsiteX610" fmla="*/ 6873545 w 9595474"/>
              <a:gd name="connsiteY610" fmla="*/ 6858000 h 6858000"/>
              <a:gd name="connsiteX611" fmla="*/ 9595474 w 9595474"/>
              <a:gd name="connsiteY611" fmla="*/ 6858000 h 6858000"/>
              <a:gd name="connsiteX612" fmla="*/ 9595474 w 9595474"/>
              <a:gd name="connsiteY6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</a:cxnLst>
            <a:rect l="l" t="t" r="r" b="b"/>
            <a:pathLst>
              <a:path w="9595474" h="6858000">
                <a:moveTo>
                  <a:pt x="9595474" y="0"/>
                </a:moveTo>
                <a:lnTo>
                  <a:pt x="0" y="0"/>
                </a:lnTo>
                <a:lnTo>
                  <a:pt x="692823" y="691198"/>
                </a:lnTo>
                <a:cubicBezTo>
                  <a:pt x="692231" y="688658"/>
                  <a:pt x="691936" y="686435"/>
                  <a:pt x="691345" y="683895"/>
                </a:cubicBezTo>
                <a:cubicBezTo>
                  <a:pt x="691049" y="681355"/>
                  <a:pt x="691049" y="678815"/>
                  <a:pt x="690754" y="676275"/>
                </a:cubicBezTo>
                <a:lnTo>
                  <a:pt x="690754" y="669290"/>
                </a:lnTo>
                <a:lnTo>
                  <a:pt x="690754" y="661988"/>
                </a:lnTo>
                <a:cubicBezTo>
                  <a:pt x="691049" y="659448"/>
                  <a:pt x="691049" y="656908"/>
                  <a:pt x="691345" y="654368"/>
                </a:cubicBezTo>
                <a:cubicBezTo>
                  <a:pt x="691640" y="652145"/>
                  <a:pt x="692231" y="649605"/>
                  <a:pt x="692527" y="647383"/>
                </a:cubicBezTo>
                <a:cubicBezTo>
                  <a:pt x="693118" y="644843"/>
                  <a:pt x="693414" y="642620"/>
                  <a:pt x="694005" y="640080"/>
                </a:cubicBezTo>
                <a:cubicBezTo>
                  <a:pt x="694596" y="637858"/>
                  <a:pt x="695187" y="635318"/>
                  <a:pt x="695778" y="633095"/>
                </a:cubicBezTo>
                <a:cubicBezTo>
                  <a:pt x="696665" y="630555"/>
                  <a:pt x="697256" y="628333"/>
                  <a:pt x="698143" y="625793"/>
                </a:cubicBezTo>
                <a:cubicBezTo>
                  <a:pt x="699030" y="623570"/>
                  <a:pt x="699916" y="621030"/>
                  <a:pt x="700803" y="618808"/>
                </a:cubicBezTo>
                <a:cubicBezTo>
                  <a:pt x="701985" y="616585"/>
                  <a:pt x="702872" y="614363"/>
                  <a:pt x="704054" y="612140"/>
                </a:cubicBezTo>
                <a:cubicBezTo>
                  <a:pt x="705237" y="609918"/>
                  <a:pt x="706419" y="608013"/>
                  <a:pt x="707601" y="605790"/>
                </a:cubicBezTo>
                <a:lnTo>
                  <a:pt x="712035" y="599123"/>
                </a:lnTo>
                <a:cubicBezTo>
                  <a:pt x="713513" y="596900"/>
                  <a:pt x="714695" y="594995"/>
                  <a:pt x="716173" y="592773"/>
                </a:cubicBezTo>
                <a:cubicBezTo>
                  <a:pt x="717946" y="590868"/>
                  <a:pt x="719424" y="588963"/>
                  <a:pt x="721198" y="587058"/>
                </a:cubicBezTo>
                <a:lnTo>
                  <a:pt x="726518" y="581343"/>
                </a:lnTo>
                <a:cubicBezTo>
                  <a:pt x="727996" y="579755"/>
                  <a:pt x="729769" y="578485"/>
                  <a:pt x="731247" y="576898"/>
                </a:cubicBezTo>
                <a:cubicBezTo>
                  <a:pt x="732725" y="575310"/>
                  <a:pt x="734498" y="574040"/>
                  <a:pt x="735976" y="572453"/>
                </a:cubicBezTo>
                <a:cubicBezTo>
                  <a:pt x="737750" y="571183"/>
                  <a:pt x="739227" y="570230"/>
                  <a:pt x="741001" y="568960"/>
                </a:cubicBezTo>
                <a:cubicBezTo>
                  <a:pt x="742774" y="567690"/>
                  <a:pt x="744252" y="566738"/>
                  <a:pt x="746026" y="565468"/>
                </a:cubicBezTo>
                <a:cubicBezTo>
                  <a:pt x="747799" y="564515"/>
                  <a:pt x="749277" y="563245"/>
                  <a:pt x="751050" y="562293"/>
                </a:cubicBezTo>
                <a:cubicBezTo>
                  <a:pt x="752824" y="561023"/>
                  <a:pt x="754597" y="560070"/>
                  <a:pt x="756371" y="558800"/>
                </a:cubicBezTo>
                <a:cubicBezTo>
                  <a:pt x="758144" y="558165"/>
                  <a:pt x="759918" y="557213"/>
                  <a:pt x="761691" y="556578"/>
                </a:cubicBezTo>
                <a:cubicBezTo>
                  <a:pt x="763760" y="555625"/>
                  <a:pt x="765533" y="554990"/>
                  <a:pt x="767602" y="554038"/>
                </a:cubicBezTo>
                <a:cubicBezTo>
                  <a:pt x="769376" y="553403"/>
                  <a:pt x="771149" y="552450"/>
                  <a:pt x="772923" y="551815"/>
                </a:cubicBezTo>
                <a:cubicBezTo>
                  <a:pt x="774992" y="551180"/>
                  <a:pt x="776765" y="550545"/>
                  <a:pt x="778834" y="549910"/>
                </a:cubicBezTo>
                <a:cubicBezTo>
                  <a:pt x="780608" y="549593"/>
                  <a:pt x="782677" y="548958"/>
                  <a:pt x="784450" y="548640"/>
                </a:cubicBezTo>
                <a:cubicBezTo>
                  <a:pt x="786224" y="548323"/>
                  <a:pt x="788293" y="547688"/>
                  <a:pt x="790066" y="547370"/>
                </a:cubicBezTo>
                <a:lnTo>
                  <a:pt x="795977" y="546418"/>
                </a:lnTo>
                <a:cubicBezTo>
                  <a:pt x="798046" y="546100"/>
                  <a:pt x="800115" y="546100"/>
                  <a:pt x="802184" y="545783"/>
                </a:cubicBezTo>
                <a:cubicBezTo>
                  <a:pt x="803958" y="545783"/>
                  <a:pt x="806027" y="545465"/>
                  <a:pt x="807800" y="545465"/>
                </a:cubicBezTo>
                <a:cubicBezTo>
                  <a:pt x="809869" y="545148"/>
                  <a:pt x="811938" y="545148"/>
                  <a:pt x="814007" y="544830"/>
                </a:cubicBezTo>
                <a:cubicBezTo>
                  <a:pt x="815781" y="545148"/>
                  <a:pt x="817850" y="545148"/>
                  <a:pt x="819623" y="545465"/>
                </a:cubicBezTo>
                <a:cubicBezTo>
                  <a:pt x="821692" y="545465"/>
                  <a:pt x="823761" y="545783"/>
                  <a:pt x="825830" y="545783"/>
                </a:cubicBezTo>
                <a:cubicBezTo>
                  <a:pt x="827604" y="546100"/>
                  <a:pt x="829673" y="546100"/>
                  <a:pt x="831446" y="546418"/>
                </a:cubicBezTo>
                <a:lnTo>
                  <a:pt x="837358" y="547370"/>
                </a:lnTo>
                <a:cubicBezTo>
                  <a:pt x="839131" y="547688"/>
                  <a:pt x="841200" y="548323"/>
                  <a:pt x="842974" y="548640"/>
                </a:cubicBezTo>
                <a:cubicBezTo>
                  <a:pt x="845042" y="548958"/>
                  <a:pt x="846816" y="549593"/>
                  <a:pt x="848885" y="549910"/>
                </a:cubicBezTo>
                <a:cubicBezTo>
                  <a:pt x="850658" y="550545"/>
                  <a:pt x="852727" y="551180"/>
                  <a:pt x="854501" y="551815"/>
                </a:cubicBezTo>
                <a:cubicBezTo>
                  <a:pt x="856274" y="552450"/>
                  <a:pt x="858343" y="553403"/>
                  <a:pt x="860117" y="554038"/>
                </a:cubicBezTo>
                <a:cubicBezTo>
                  <a:pt x="861890" y="554990"/>
                  <a:pt x="863959" y="555625"/>
                  <a:pt x="865733" y="556578"/>
                </a:cubicBezTo>
                <a:cubicBezTo>
                  <a:pt x="867506" y="557213"/>
                  <a:pt x="869280" y="558165"/>
                  <a:pt x="871053" y="558800"/>
                </a:cubicBezTo>
                <a:cubicBezTo>
                  <a:pt x="872826" y="560070"/>
                  <a:pt x="874600" y="561023"/>
                  <a:pt x="876373" y="562293"/>
                </a:cubicBezTo>
                <a:cubicBezTo>
                  <a:pt x="878147" y="563245"/>
                  <a:pt x="879624" y="564515"/>
                  <a:pt x="881398" y="565468"/>
                </a:cubicBezTo>
                <a:cubicBezTo>
                  <a:pt x="883171" y="566738"/>
                  <a:pt x="884945" y="567690"/>
                  <a:pt x="886718" y="568960"/>
                </a:cubicBezTo>
                <a:cubicBezTo>
                  <a:pt x="888196" y="570230"/>
                  <a:pt x="889970" y="571183"/>
                  <a:pt x="891447" y="572453"/>
                </a:cubicBezTo>
                <a:cubicBezTo>
                  <a:pt x="892925" y="574040"/>
                  <a:pt x="894699" y="575310"/>
                  <a:pt x="896177" y="576898"/>
                </a:cubicBezTo>
                <a:cubicBezTo>
                  <a:pt x="897654" y="578485"/>
                  <a:pt x="899428" y="579755"/>
                  <a:pt x="900906" y="581343"/>
                </a:cubicBezTo>
                <a:lnTo>
                  <a:pt x="1431459" y="1111568"/>
                </a:lnTo>
                <a:lnTo>
                  <a:pt x="2394731" y="2074863"/>
                </a:lnTo>
                <a:cubicBezTo>
                  <a:pt x="2396208" y="2076450"/>
                  <a:pt x="2397686" y="2077720"/>
                  <a:pt x="2399164" y="2079308"/>
                </a:cubicBezTo>
                <a:cubicBezTo>
                  <a:pt x="2400938" y="2080578"/>
                  <a:pt x="2402415" y="2082165"/>
                  <a:pt x="2404189" y="2083435"/>
                </a:cubicBezTo>
                <a:cubicBezTo>
                  <a:pt x="2405667" y="2084705"/>
                  <a:pt x="2407440" y="2085975"/>
                  <a:pt x="2408918" y="2087245"/>
                </a:cubicBezTo>
                <a:cubicBezTo>
                  <a:pt x="2410692" y="2088515"/>
                  <a:pt x="2412169" y="2089468"/>
                  <a:pt x="2413943" y="2090738"/>
                </a:cubicBezTo>
                <a:cubicBezTo>
                  <a:pt x="2415716" y="2091690"/>
                  <a:pt x="2417490" y="2092960"/>
                  <a:pt x="2419263" y="2093913"/>
                </a:cubicBezTo>
                <a:lnTo>
                  <a:pt x="2424583" y="2096770"/>
                </a:lnTo>
                <a:cubicBezTo>
                  <a:pt x="2426357" y="2097723"/>
                  <a:pt x="2428426" y="2098675"/>
                  <a:pt x="2430199" y="2099628"/>
                </a:cubicBezTo>
                <a:cubicBezTo>
                  <a:pt x="2431973" y="2100263"/>
                  <a:pt x="2433746" y="2101215"/>
                  <a:pt x="2435520" y="2101850"/>
                </a:cubicBezTo>
                <a:cubicBezTo>
                  <a:pt x="2437293" y="2102485"/>
                  <a:pt x="2439362" y="2103438"/>
                  <a:pt x="2441136" y="2104073"/>
                </a:cubicBezTo>
                <a:cubicBezTo>
                  <a:pt x="2443205" y="2104708"/>
                  <a:pt x="2444978" y="2105025"/>
                  <a:pt x="2447047" y="2105660"/>
                </a:cubicBezTo>
                <a:cubicBezTo>
                  <a:pt x="2448820" y="2106295"/>
                  <a:pt x="2450889" y="2106930"/>
                  <a:pt x="2452663" y="2107565"/>
                </a:cubicBezTo>
                <a:lnTo>
                  <a:pt x="2458574" y="2108518"/>
                </a:lnTo>
                <a:cubicBezTo>
                  <a:pt x="2460348" y="2108835"/>
                  <a:pt x="2462417" y="2109470"/>
                  <a:pt x="2464190" y="2109788"/>
                </a:cubicBezTo>
                <a:cubicBezTo>
                  <a:pt x="2465964" y="2110105"/>
                  <a:pt x="2468033" y="2110105"/>
                  <a:pt x="2469806" y="2110423"/>
                </a:cubicBezTo>
                <a:cubicBezTo>
                  <a:pt x="2471875" y="2110423"/>
                  <a:pt x="2473944" y="2110740"/>
                  <a:pt x="2476013" y="2110740"/>
                </a:cubicBezTo>
                <a:cubicBezTo>
                  <a:pt x="2478082" y="2110740"/>
                  <a:pt x="2479856" y="2111058"/>
                  <a:pt x="2481925" y="2111058"/>
                </a:cubicBezTo>
                <a:cubicBezTo>
                  <a:pt x="2483994" y="2111058"/>
                  <a:pt x="2485767" y="2110740"/>
                  <a:pt x="2487836" y="2110740"/>
                </a:cubicBezTo>
                <a:cubicBezTo>
                  <a:pt x="2489905" y="2110740"/>
                  <a:pt x="2491678" y="2110423"/>
                  <a:pt x="2493747" y="2110423"/>
                </a:cubicBezTo>
                <a:cubicBezTo>
                  <a:pt x="2495521" y="2110105"/>
                  <a:pt x="2497590" y="2110105"/>
                  <a:pt x="2499363" y="2109788"/>
                </a:cubicBezTo>
                <a:cubicBezTo>
                  <a:pt x="2501432" y="2109470"/>
                  <a:pt x="2503501" y="2108835"/>
                  <a:pt x="2505570" y="2108518"/>
                </a:cubicBezTo>
                <a:lnTo>
                  <a:pt x="2511186" y="2107565"/>
                </a:lnTo>
                <a:cubicBezTo>
                  <a:pt x="2513255" y="2106930"/>
                  <a:pt x="2515029" y="2106295"/>
                  <a:pt x="2517098" y="2105660"/>
                </a:cubicBezTo>
                <a:cubicBezTo>
                  <a:pt x="2518871" y="2105025"/>
                  <a:pt x="2520940" y="2104708"/>
                  <a:pt x="2522714" y="2104073"/>
                </a:cubicBezTo>
                <a:cubicBezTo>
                  <a:pt x="2524487" y="2103438"/>
                  <a:pt x="2526260" y="2102485"/>
                  <a:pt x="2528034" y="2101850"/>
                </a:cubicBezTo>
                <a:cubicBezTo>
                  <a:pt x="2530103" y="2101215"/>
                  <a:pt x="2531876" y="2100263"/>
                  <a:pt x="2533945" y="2099628"/>
                </a:cubicBezTo>
                <a:lnTo>
                  <a:pt x="2539266" y="2096770"/>
                </a:lnTo>
                <a:cubicBezTo>
                  <a:pt x="2541039" y="2095818"/>
                  <a:pt x="2542517" y="2094865"/>
                  <a:pt x="2544290" y="2093913"/>
                </a:cubicBezTo>
                <a:cubicBezTo>
                  <a:pt x="2546064" y="2092960"/>
                  <a:pt x="2547837" y="2091690"/>
                  <a:pt x="2549611" y="2090738"/>
                </a:cubicBezTo>
                <a:cubicBezTo>
                  <a:pt x="2551384" y="2089468"/>
                  <a:pt x="2552862" y="2088515"/>
                  <a:pt x="2554635" y="2087245"/>
                </a:cubicBezTo>
                <a:cubicBezTo>
                  <a:pt x="2556409" y="2085975"/>
                  <a:pt x="2557887" y="2084705"/>
                  <a:pt x="2559660" y="2083435"/>
                </a:cubicBezTo>
                <a:cubicBezTo>
                  <a:pt x="2561138" y="2082165"/>
                  <a:pt x="2562912" y="2080578"/>
                  <a:pt x="2564389" y="2079308"/>
                </a:cubicBezTo>
                <a:cubicBezTo>
                  <a:pt x="2565867" y="2077720"/>
                  <a:pt x="2567641" y="2076450"/>
                  <a:pt x="2569119" y="2074863"/>
                </a:cubicBezTo>
                <a:cubicBezTo>
                  <a:pt x="2570596" y="2073275"/>
                  <a:pt x="2571779" y="2071688"/>
                  <a:pt x="2573257" y="2070100"/>
                </a:cubicBezTo>
                <a:lnTo>
                  <a:pt x="2577395" y="2065655"/>
                </a:lnTo>
                <a:cubicBezTo>
                  <a:pt x="2578577" y="2064068"/>
                  <a:pt x="2580055" y="2062163"/>
                  <a:pt x="2581237" y="2060575"/>
                </a:cubicBezTo>
                <a:cubicBezTo>
                  <a:pt x="2582419" y="2058988"/>
                  <a:pt x="2583602" y="2057083"/>
                  <a:pt x="2584784" y="2055495"/>
                </a:cubicBezTo>
                <a:cubicBezTo>
                  <a:pt x="2585966" y="2053908"/>
                  <a:pt x="2586853" y="2052003"/>
                  <a:pt x="2588035" y="2050415"/>
                </a:cubicBezTo>
                <a:cubicBezTo>
                  <a:pt x="2588922" y="2048510"/>
                  <a:pt x="2590104" y="2046923"/>
                  <a:pt x="2590991" y="2045018"/>
                </a:cubicBezTo>
                <a:cubicBezTo>
                  <a:pt x="2591878" y="2043113"/>
                  <a:pt x="2592764" y="2041525"/>
                  <a:pt x="2593651" y="2039620"/>
                </a:cubicBezTo>
                <a:cubicBezTo>
                  <a:pt x="2594538" y="2037715"/>
                  <a:pt x="2595129" y="2036128"/>
                  <a:pt x="2596016" y="2034223"/>
                </a:cubicBezTo>
                <a:cubicBezTo>
                  <a:pt x="2596607" y="2032318"/>
                  <a:pt x="2597494" y="2030413"/>
                  <a:pt x="2598085" y="2028508"/>
                </a:cubicBezTo>
                <a:lnTo>
                  <a:pt x="2599858" y="2022793"/>
                </a:lnTo>
                <a:cubicBezTo>
                  <a:pt x="2600449" y="2020888"/>
                  <a:pt x="2600745" y="2018983"/>
                  <a:pt x="2601336" y="2017078"/>
                </a:cubicBezTo>
                <a:cubicBezTo>
                  <a:pt x="2601927" y="2015173"/>
                  <a:pt x="2602223" y="2013268"/>
                  <a:pt x="2602814" y="2011363"/>
                </a:cubicBezTo>
                <a:cubicBezTo>
                  <a:pt x="2603109" y="2009458"/>
                  <a:pt x="2603701" y="2007553"/>
                  <a:pt x="2603996" y="2005648"/>
                </a:cubicBezTo>
                <a:cubicBezTo>
                  <a:pt x="2604292" y="2003743"/>
                  <a:pt x="2604292" y="2001520"/>
                  <a:pt x="2604587" y="1999615"/>
                </a:cubicBezTo>
                <a:cubicBezTo>
                  <a:pt x="2604587" y="1997710"/>
                  <a:pt x="2604883" y="1995488"/>
                  <a:pt x="2604883" y="1993583"/>
                </a:cubicBezTo>
                <a:lnTo>
                  <a:pt x="2604883" y="1987550"/>
                </a:lnTo>
                <a:lnTo>
                  <a:pt x="2604883" y="1981835"/>
                </a:lnTo>
                <a:cubicBezTo>
                  <a:pt x="2604883" y="1979930"/>
                  <a:pt x="2604587" y="1978025"/>
                  <a:pt x="2604587" y="1976120"/>
                </a:cubicBezTo>
                <a:cubicBezTo>
                  <a:pt x="2604292" y="1974215"/>
                  <a:pt x="2604292" y="1971993"/>
                  <a:pt x="2603996" y="1970088"/>
                </a:cubicBezTo>
                <a:cubicBezTo>
                  <a:pt x="2603701" y="1968183"/>
                  <a:pt x="2603109" y="1966278"/>
                  <a:pt x="2602814" y="1964373"/>
                </a:cubicBezTo>
                <a:cubicBezTo>
                  <a:pt x="2602223" y="1962468"/>
                  <a:pt x="2601927" y="1960563"/>
                  <a:pt x="2601336" y="1958658"/>
                </a:cubicBezTo>
                <a:cubicBezTo>
                  <a:pt x="2600745" y="1956753"/>
                  <a:pt x="2600449" y="1954530"/>
                  <a:pt x="2599858" y="1952625"/>
                </a:cubicBezTo>
                <a:lnTo>
                  <a:pt x="2598085" y="1946910"/>
                </a:lnTo>
                <a:cubicBezTo>
                  <a:pt x="2597494" y="1945005"/>
                  <a:pt x="2596607" y="1943100"/>
                  <a:pt x="2596016" y="1941195"/>
                </a:cubicBezTo>
                <a:cubicBezTo>
                  <a:pt x="2595129" y="1939290"/>
                  <a:pt x="2594538" y="1937703"/>
                  <a:pt x="2593651" y="1935798"/>
                </a:cubicBezTo>
                <a:cubicBezTo>
                  <a:pt x="2592764" y="1933893"/>
                  <a:pt x="2591878" y="1932305"/>
                  <a:pt x="2590991" y="1930400"/>
                </a:cubicBezTo>
                <a:cubicBezTo>
                  <a:pt x="2590104" y="1928495"/>
                  <a:pt x="2588922" y="1926908"/>
                  <a:pt x="2588035" y="1925003"/>
                </a:cubicBezTo>
                <a:cubicBezTo>
                  <a:pt x="2586853" y="1923415"/>
                  <a:pt x="2585966" y="1921510"/>
                  <a:pt x="2584784" y="1919923"/>
                </a:cubicBezTo>
                <a:lnTo>
                  <a:pt x="2581237" y="1915160"/>
                </a:lnTo>
                <a:cubicBezTo>
                  <a:pt x="2580055" y="1913573"/>
                  <a:pt x="2578577" y="1911668"/>
                  <a:pt x="2577395" y="1910080"/>
                </a:cubicBezTo>
                <a:cubicBezTo>
                  <a:pt x="2575917" y="1908493"/>
                  <a:pt x="2574734" y="1906905"/>
                  <a:pt x="2573257" y="1905318"/>
                </a:cubicBezTo>
                <a:cubicBezTo>
                  <a:pt x="2571779" y="1903730"/>
                  <a:pt x="2570596" y="1902143"/>
                  <a:pt x="2569119" y="1900555"/>
                </a:cubicBezTo>
                <a:lnTo>
                  <a:pt x="1590477" y="922020"/>
                </a:lnTo>
                <a:lnTo>
                  <a:pt x="1272736" y="604203"/>
                </a:lnTo>
                <a:lnTo>
                  <a:pt x="1268303" y="599440"/>
                </a:lnTo>
                <a:lnTo>
                  <a:pt x="1264165" y="594995"/>
                </a:lnTo>
                <a:cubicBezTo>
                  <a:pt x="1262983" y="593408"/>
                  <a:pt x="1261505" y="591503"/>
                  <a:pt x="1260322" y="589915"/>
                </a:cubicBezTo>
                <a:cubicBezTo>
                  <a:pt x="1259140" y="588328"/>
                  <a:pt x="1257958" y="586423"/>
                  <a:pt x="1256776" y="584835"/>
                </a:cubicBezTo>
                <a:cubicBezTo>
                  <a:pt x="1255593" y="583248"/>
                  <a:pt x="1254707" y="581343"/>
                  <a:pt x="1253524" y="579755"/>
                </a:cubicBezTo>
                <a:cubicBezTo>
                  <a:pt x="1252638" y="577850"/>
                  <a:pt x="1251751" y="576263"/>
                  <a:pt x="1250864" y="574358"/>
                </a:cubicBezTo>
                <a:cubicBezTo>
                  <a:pt x="1249977" y="572453"/>
                  <a:pt x="1248795" y="570865"/>
                  <a:pt x="1247908" y="568960"/>
                </a:cubicBezTo>
                <a:cubicBezTo>
                  <a:pt x="1247317" y="567055"/>
                  <a:pt x="1246431" y="565468"/>
                  <a:pt x="1245839" y="563563"/>
                </a:cubicBezTo>
                <a:cubicBezTo>
                  <a:pt x="1244953" y="561658"/>
                  <a:pt x="1244361" y="559753"/>
                  <a:pt x="1243475" y="557848"/>
                </a:cubicBezTo>
                <a:lnTo>
                  <a:pt x="1241701" y="552133"/>
                </a:lnTo>
                <a:lnTo>
                  <a:pt x="1239928" y="546418"/>
                </a:lnTo>
                <a:cubicBezTo>
                  <a:pt x="1239632" y="544513"/>
                  <a:pt x="1239041" y="542608"/>
                  <a:pt x="1238746" y="540703"/>
                </a:cubicBezTo>
                <a:lnTo>
                  <a:pt x="1237859" y="534988"/>
                </a:lnTo>
                <a:cubicBezTo>
                  <a:pt x="1237563" y="532765"/>
                  <a:pt x="1237268" y="530860"/>
                  <a:pt x="1236972" y="528638"/>
                </a:cubicBezTo>
                <a:cubicBezTo>
                  <a:pt x="1236972" y="526733"/>
                  <a:pt x="1236677" y="524828"/>
                  <a:pt x="1236677" y="522923"/>
                </a:cubicBezTo>
                <a:cubicBezTo>
                  <a:pt x="1236677" y="521018"/>
                  <a:pt x="1236381" y="518795"/>
                  <a:pt x="1236381" y="516890"/>
                </a:cubicBezTo>
                <a:cubicBezTo>
                  <a:pt x="1236381" y="514985"/>
                  <a:pt x="1236677" y="513080"/>
                  <a:pt x="1236677" y="511175"/>
                </a:cubicBezTo>
                <a:cubicBezTo>
                  <a:pt x="1236677" y="509270"/>
                  <a:pt x="1236972" y="507365"/>
                  <a:pt x="1236972" y="505460"/>
                </a:cubicBezTo>
                <a:cubicBezTo>
                  <a:pt x="1237268" y="503555"/>
                  <a:pt x="1237563" y="501333"/>
                  <a:pt x="1237859" y="499428"/>
                </a:cubicBezTo>
                <a:lnTo>
                  <a:pt x="1238746" y="493713"/>
                </a:lnTo>
                <a:cubicBezTo>
                  <a:pt x="1239041" y="491808"/>
                  <a:pt x="1239632" y="489585"/>
                  <a:pt x="1239928" y="487680"/>
                </a:cubicBezTo>
                <a:lnTo>
                  <a:pt x="1241701" y="481965"/>
                </a:lnTo>
                <a:lnTo>
                  <a:pt x="1243475" y="476250"/>
                </a:lnTo>
                <a:cubicBezTo>
                  <a:pt x="1244361" y="474345"/>
                  <a:pt x="1244953" y="472440"/>
                  <a:pt x="1245839" y="470535"/>
                </a:cubicBezTo>
                <a:cubicBezTo>
                  <a:pt x="1246431" y="468630"/>
                  <a:pt x="1247317" y="467043"/>
                  <a:pt x="1247908" y="465138"/>
                </a:cubicBezTo>
                <a:cubicBezTo>
                  <a:pt x="1248795" y="463233"/>
                  <a:pt x="1249977" y="461645"/>
                  <a:pt x="1250864" y="459740"/>
                </a:cubicBezTo>
                <a:cubicBezTo>
                  <a:pt x="1251751" y="457835"/>
                  <a:pt x="1252638" y="456248"/>
                  <a:pt x="1253524" y="454343"/>
                </a:cubicBezTo>
                <a:cubicBezTo>
                  <a:pt x="1254707" y="452755"/>
                  <a:pt x="1255593" y="450850"/>
                  <a:pt x="1256776" y="449263"/>
                </a:cubicBezTo>
                <a:lnTo>
                  <a:pt x="1260322" y="444500"/>
                </a:lnTo>
                <a:cubicBezTo>
                  <a:pt x="1261505" y="442913"/>
                  <a:pt x="1262983" y="441008"/>
                  <a:pt x="1264165" y="439420"/>
                </a:cubicBezTo>
                <a:cubicBezTo>
                  <a:pt x="1265643" y="437833"/>
                  <a:pt x="1266825" y="436245"/>
                  <a:pt x="1268303" y="434658"/>
                </a:cubicBezTo>
                <a:lnTo>
                  <a:pt x="1272736" y="429895"/>
                </a:lnTo>
                <a:cubicBezTo>
                  <a:pt x="1274214" y="428625"/>
                  <a:pt x="1275988" y="427038"/>
                  <a:pt x="1277466" y="425768"/>
                </a:cubicBezTo>
                <a:cubicBezTo>
                  <a:pt x="1278944" y="424180"/>
                  <a:pt x="1280421" y="422910"/>
                  <a:pt x="1281899" y="421323"/>
                </a:cubicBezTo>
                <a:cubicBezTo>
                  <a:pt x="1283673" y="420053"/>
                  <a:pt x="1285151" y="419100"/>
                  <a:pt x="1286924" y="417830"/>
                </a:cubicBezTo>
                <a:cubicBezTo>
                  <a:pt x="1288697" y="416560"/>
                  <a:pt x="1290175" y="415608"/>
                  <a:pt x="1291949" y="414338"/>
                </a:cubicBezTo>
                <a:cubicBezTo>
                  <a:pt x="1293722" y="413068"/>
                  <a:pt x="1295200" y="412115"/>
                  <a:pt x="1296973" y="410845"/>
                </a:cubicBezTo>
                <a:cubicBezTo>
                  <a:pt x="1298747" y="409893"/>
                  <a:pt x="1300816" y="408940"/>
                  <a:pt x="1302589" y="407988"/>
                </a:cubicBezTo>
                <a:lnTo>
                  <a:pt x="1307910" y="405130"/>
                </a:lnTo>
                <a:cubicBezTo>
                  <a:pt x="1309683" y="404495"/>
                  <a:pt x="1311457" y="403543"/>
                  <a:pt x="1313230" y="402908"/>
                </a:cubicBezTo>
                <a:cubicBezTo>
                  <a:pt x="1315003" y="402273"/>
                  <a:pt x="1317072" y="401638"/>
                  <a:pt x="1318846" y="401003"/>
                </a:cubicBezTo>
                <a:cubicBezTo>
                  <a:pt x="1320915" y="400368"/>
                  <a:pt x="1322688" y="399733"/>
                  <a:pt x="1324757" y="399098"/>
                </a:cubicBezTo>
                <a:cubicBezTo>
                  <a:pt x="1326531" y="398463"/>
                  <a:pt x="1328600" y="397828"/>
                  <a:pt x="1330373" y="397193"/>
                </a:cubicBezTo>
                <a:lnTo>
                  <a:pt x="1336285" y="396240"/>
                </a:lnTo>
                <a:lnTo>
                  <a:pt x="1341901" y="395288"/>
                </a:lnTo>
                <a:lnTo>
                  <a:pt x="1348108" y="394335"/>
                </a:lnTo>
                <a:cubicBezTo>
                  <a:pt x="1349881" y="394335"/>
                  <a:pt x="1351950" y="394018"/>
                  <a:pt x="1353723" y="394018"/>
                </a:cubicBezTo>
                <a:cubicBezTo>
                  <a:pt x="1355792" y="394018"/>
                  <a:pt x="1357861" y="393700"/>
                  <a:pt x="1359930" y="393700"/>
                </a:cubicBezTo>
                <a:cubicBezTo>
                  <a:pt x="1361704" y="393700"/>
                  <a:pt x="1363773" y="394018"/>
                  <a:pt x="1365546" y="394018"/>
                </a:cubicBezTo>
                <a:cubicBezTo>
                  <a:pt x="1367615" y="394018"/>
                  <a:pt x="1369389" y="394335"/>
                  <a:pt x="1371458" y="394335"/>
                </a:cubicBezTo>
                <a:lnTo>
                  <a:pt x="1377665" y="395288"/>
                </a:lnTo>
                <a:lnTo>
                  <a:pt x="1383281" y="396240"/>
                </a:lnTo>
                <a:lnTo>
                  <a:pt x="1388897" y="397193"/>
                </a:lnTo>
                <a:cubicBezTo>
                  <a:pt x="1390966" y="397828"/>
                  <a:pt x="1392739" y="398463"/>
                  <a:pt x="1394808" y="399098"/>
                </a:cubicBezTo>
                <a:cubicBezTo>
                  <a:pt x="1396581" y="399733"/>
                  <a:pt x="1398650" y="400368"/>
                  <a:pt x="1400424" y="401003"/>
                </a:cubicBezTo>
                <a:cubicBezTo>
                  <a:pt x="1402493" y="401638"/>
                  <a:pt x="1404266" y="402273"/>
                  <a:pt x="1406335" y="402908"/>
                </a:cubicBezTo>
                <a:cubicBezTo>
                  <a:pt x="1408109" y="403543"/>
                  <a:pt x="1409882" y="404495"/>
                  <a:pt x="1411656" y="405130"/>
                </a:cubicBezTo>
                <a:lnTo>
                  <a:pt x="1416976" y="407988"/>
                </a:lnTo>
                <a:lnTo>
                  <a:pt x="1422296" y="410845"/>
                </a:lnTo>
                <a:cubicBezTo>
                  <a:pt x="1424070" y="412115"/>
                  <a:pt x="1425843" y="413068"/>
                  <a:pt x="1427617" y="414338"/>
                </a:cubicBezTo>
                <a:cubicBezTo>
                  <a:pt x="1429390" y="415608"/>
                  <a:pt x="1430868" y="416560"/>
                  <a:pt x="1432641" y="417830"/>
                </a:cubicBezTo>
                <a:cubicBezTo>
                  <a:pt x="1434415" y="419100"/>
                  <a:pt x="1435893" y="420053"/>
                  <a:pt x="1437666" y="421323"/>
                </a:cubicBezTo>
                <a:cubicBezTo>
                  <a:pt x="1439144" y="422910"/>
                  <a:pt x="1440622" y="424180"/>
                  <a:pt x="1442100" y="425768"/>
                </a:cubicBezTo>
                <a:cubicBezTo>
                  <a:pt x="1443578" y="427038"/>
                  <a:pt x="1445351" y="428625"/>
                  <a:pt x="1446829" y="429895"/>
                </a:cubicBezTo>
                <a:lnTo>
                  <a:pt x="1907036" y="890270"/>
                </a:lnTo>
                <a:lnTo>
                  <a:pt x="2165662" y="1148715"/>
                </a:lnTo>
                <a:cubicBezTo>
                  <a:pt x="2167140" y="1150303"/>
                  <a:pt x="2168913" y="1151573"/>
                  <a:pt x="2170391" y="1153160"/>
                </a:cubicBezTo>
                <a:cubicBezTo>
                  <a:pt x="2172164" y="1154430"/>
                  <a:pt x="2173642" y="1156018"/>
                  <a:pt x="2175416" y="1157288"/>
                </a:cubicBezTo>
                <a:cubicBezTo>
                  <a:pt x="2176893" y="1158558"/>
                  <a:pt x="2178667" y="1159828"/>
                  <a:pt x="2180145" y="1161098"/>
                </a:cubicBezTo>
                <a:cubicBezTo>
                  <a:pt x="2181918" y="1162368"/>
                  <a:pt x="2183396" y="1163320"/>
                  <a:pt x="2185170" y="1164590"/>
                </a:cubicBezTo>
                <a:cubicBezTo>
                  <a:pt x="2186943" y="1165543"/>
                  <a:pt x="2188716" y="1166813"/>
                  <a:pt x="2190490" y="1167765"/>
                </a:cubicBezTo>
                <a:lnTo>
                  <a:pt x="2195810" y="1170623"/>
                </a:lnTo>
                <a:lnTo>
                  <a:pt x="2201130" y="1173480"/>
                </a:lnTo>
                <a:cubicBezTo>
                  <a:pt x="2202904" y="1174433"/>
                  <a:pt x="2204973" y="1175068"/>
                  <a:pt x="2206746" y="1176020"/>
                </a:cubicBezTo>
                <a:cubicBezTo>
                  <a:pt x="2208520" y="1176655"/>
                  <a:pt x="2210589" y="1177290"/>
                  <a:pt x="2212362" y="1177925"/>
                </a:cubicBezTo>
                <a:cubicBezTo>
                  <a:pt x="2214136" y="1178560"/>
                  <a:pt x="2215909" y="1179513"/>
                  <a:pt x="2217683" y="1180148"/>
                </a:cubicBezTo>
                <a:cubicBezTo>
                  <a:pt x="2219752" y="1180465"/>
                  <a:pt x="2221525" y="1181100"/>
                  <a:pt x="2223594" y="1181418"/>
                </a:cubicBezTo>
                <a:cubicBezTo>
                  <a:pt x="2225663" y="1181735"/>
                  <a:pt x="2227436" y="1182370"/>
                  <a:pt x="2229505" y="1182688"/>
                </a:cubicBezTo>
                <a:lnTo>
                  <a:pt x="2235417" y="1183640"/>
                </a:lnTo>
                <a:cubicBezTo>
                  <a:pt x="2237190" y="1183958"/>
                  <a:pt x="2239259" y="1183958"/>
                  <a:pt x="2241033" y="1184275"/>
                </a:cubicBezTo>
                <a:cubicBezTo>
                  <a:pt x="2243102" y="1184275"/>
                  <a:pt x="2245171" y="1184593"/>
                  <a:pt x="2247240" y="1184593"/>
                </a:cubicBezTo>
                <a:cubicBezTo>
                  <a:pt x="2249013" y="1184910"/>
                  <a:pt x="2251082" y="1184910"/>
                  <a:pt x="2252856" y="1185228"/>
                </a:cubicBezTo>
                <a:cubicBezTo>
                  <a:pt x="2254925" y="1184910"/>
                  <a:pt x="2256994" y="1184910"/>
                  <a:pt x="2259063" y="1184593"/>
                </a:cubicBezTo>
                <a:cubicBezTo>
                  <a:pt x="2260836" y="1184593"/>
                  <a:pt x="2262905" y="1184275"/>
                  <a:pt x="2264679" y="1184275"/>
                </a:cubicBezTo>
                <a:cubicBezTo>
                  <a:pt x="2266748" y="1183958"/>
                  <a:pt x="2268521" y="1183958"/>
                  <a:pt x="2270590" y="1183640"/>
                </a:cubicBezTo>
                <a:lnTo>
                  <a:pt x="2276797" y="1182688"/>
                </a:lnTo>
                <a:cubicBezTo>
                  <a:pt x="2278571" y="1182370"/>
                  <a:pt x="2280640" y="1181735"/>
                  <a:pt x="2282413" y="1181418"/>
                </a:cubicBezTo>
                <a:cubicBezTo>
                  <a:pt x="2284186" y="1181100"/>
                  <a:pt x="2286255" y="1180465"/>
                  <a:pt x="2288029" y="1180148"/>
                </a:cubicBezTo>
                <a:cubicBezTo>
                  <a:pt x="2290098" y="1179513"/>
                  <a:pt x="2291871" y="1178560"/>
                  <a:pt x="2293940" y="1177925"/>
                </a:cubicBezTo>
                <a:lnTo>
                  <a:pt x="2299261" y="1176020"/>
                </a:lnTo>
                <a:cubicBezTo>
                  <a:pt x="2301034" y="1175068"/>
                  <a:pt x="2302807" y="1174433"/>
                  <a:pt x="2304581" y="1173480"/>
                </a:cubicBezTo>
                <a:cubicBezTo>
                  <a:pt x="2306650" y="1172528"/>
                  <a:pt x="2308423" y="1171575"/>
                  <a:pt x="2310492" y="1170623"/>
                </a:cubicBezTo>
                <a:cubicBezTo>
                  <a:pt x="2312266" y="1169670"/>
                  <a:pt x="2313744" y="1168718"/>
                  <a:pt x="2315517" y="1167765"/>
                </a:cubicBezTo>
                <a:cubicBezTo>
                  <a:pt x="2317291" y="1166813"/>
                  <a:pt x="2319064" y="1165543"/>
                  <a:pt x="2320837" y="1164590"/>
                </a:cubicBezTo>
                <a:cubicBezTo>
                  <a:pt x="2322611" y="1163320"/>
                  <a:pt x="2324089" y="1162368"/>
                  <a:pt x="2325862" y="1161098"/>
                </a:cubicBezTo>
                <a:cubicBezTo>
                  <a:pt x="2327636" y="1159828"/>
                  <a:pt x="2329113" y="1158558"/>
                  <a:pt x="2330887" y="1157288"/>
                </a:cubicBezTo>
                <a:cubicBezTo>
                  <a:pt x="2332365" y="1156018"/>
                  <a:pt x="2334138" y="1154430"/>
                  <a:pt x="2335616" y="1153160"/>
                </a:cubicBezTo>
                <a:cubicBezTo>
                  <a:pt x="2337094" y="1151573"/>
                  <a:pt x="2338867" y="1150303"/>
                  <a:pt x="2340345" y="1148715"/>
                </a:cubicBezTo>
                <a:lnTo>
                  <a:pt x="2344483" y="1144270"/>
                </a:lnTo>
                <a:cubicBezTo>
                  <a:pt x="2345961" y="1142683"/>
                  <a:pt x="2347143" y="1141095"/>
                  <a:pt x="2348621" y="1139508"/>
                </a:cubicBezTo>
                <a:cubicBezTo>
                  <a:pt x="2349804" y="1137920"/>
                  <a:pt x="2351281" y="1136015"/>
                  <a:pt x="2352464" y="1134428"/>
                </a:cubicBezTo>
                <a:cubicBezTo>
                  <a:pt x="2353646" y="1132840"/>
                  <a:pt x="2354828" y="1130935"/>
                  <a:pt x="2356011" y="1129348"/>
                </a:cubicBezTo>
                <a:cubicBezTo>
                  <a:pt x="2357193" y="1127760"/>
                  <a:pt x="2358080" y="1125855"/>
                  <a:pt x="2359262" y="1124268"/>
                </a:cubicBezTo>
                <a:cubicBezTo>
                  <a:pt x="2360149" y="1122363"/>
                  <a:pt x="2361331" y="1120775"/>
                  <a:pt x="2362218" y="1118870"/>
                </a:cubicBezTo>
                <a:cubicBezTo>
                  <a:pt x="2363104" y="1116965"/>
                  <a:pt x="2363695" y="1115378"/>
                  <a:pt x="2364582" y="1113473"/>
                </a:cubicBezTo>
                <a:cubicBezTo>
                  <a:pt x="2365469" y="1111568"/>
                  <a:pt x="2366356" y="1109980"/>
                  <a:pt x="2367242" y="1108075"/>
                </a:cubicBezTo>
                <a:cubicBezTo>
                  <a:pt x="2367833" y="1106170"/>
                  <a:pt x="2368720" y="1104265"/>
                  <a:pt x="2369311" y="1102360"/>
                </a:cubicBezTo>
                <a:lnTo>
                  <a:pt x="2371085" y="1096645"/>
                </a:lnTo>
                <a:cubicBezTo>
                  <a:pt x="2371676" y="1094740"/>
                  <a:pt x="2371972" y="1092835"/>
                  <a:pt x="2372563" y="1090930"/>
                </a:cubicBezTo>
                <a:cubicBezTo>
                  <a:pt x="2373154" y="1089025"/>
                  <a:pt x="2373449" y="1087120"/>
                  <a:pt x="2374041" y="1085215"/>
                </a:cubicBezTo>
                <a:cubicBezTo>
                  <a:pt x="2374336" y="1083310"/>
                  <a:pt x="2374927" y="1081405"/>
                  <a:pt x="2375223" y="1079500"/>
                </a:cubicBezTo>
                <a:cubicBezTo>
                  <a:pt x="2375518" y="1077595"/>
                  <a:pt x="2375518" y="1075690"/>
                  <a:pt x="2375814" y="1073785"/>
                </a:cubicBezTo>
                <a:cubicBezTo>
                  <a:pt x="2375814" y="1071880"/>
                  <a:pt x="2376110" y="1069658"/>
                  <a:pt x="2376110" y="1067753"/>
                </a:cubicBezTo>
                <a:lnTo>
                  <a:pt x="2376110" y="1061720"/>
                </a:lnTo>
                <a:lnTo>
                  <a:pt x="2376110" y="1055688"/>
                </a:lnTo>
                <a:cubicBezTo>
                  <a:pt x="2376110" y="1053783"/>
                  <a:pt x="2375814" y="1051878"/>
                  <a:pt x="2375814" y="1049973"/>
                </a:cubicBezTo>
                <a:cubicBezTo>
                  <a:pt x="2375518" y="1048068"/>
                  <a:pt x="2375518" y="1045845"/>
                  <a:pt x="2375223" y="1043940"/>
                </a:cubicBezTo>
                <a:cubicBezTo>
                  <a:pt x="2374927" y="1042035"/>
                  <a:pt x="2374336" y="1040130"/>
                  <a:pt x="2374041" y="1038225"/>
                </a:cubicBezTo>
                <a:cubicBezTo>
                  <a:pt x="2373449" y="1036320"/>
                  <a:pt x="2373154" y="1034415"/>
                  <a:pt x="2372563" y="1032510"/>
                </a:cubicBezTo>
                <a:cubicBezTo>
                  <a:pt x="2371972" y="1030605"/>
                  <a:pt x="2371676" y="1028700"/>
                  <a:pt x="2371085" y="1026795"/>
                </a:cubicBezTo>
                <a:lnTo>
                  <a:pt x="2369311" y="1021080"/>
                </a:lnTo>
                <a:cubicBezTo>
                  <a:pt x="2368720" y="1019175"/>
                  <a:pt x="2367833" y="1017588"/>
                  <a:pt x="2367242" y="1015683"/>
                </a:cubicBezTo>
                <a:cubicBezTo>
                  <a:pt x="2366356" y="1013778"/>
                  <a:pt x="2365469" y="1011555"/>
                  <a:pt x="2364582" y="1009650"/>
                </a:cubicBezTo>
                <a:cubicBezTo>
                  <a:pt x="2363695" y="1007745"/>
                  <a:pt x="2363104" y="1006158"/>
                  <a:pt x="2362218" y="1004253"/>
                </a:cubicBezTo>
                <a:cubicBezTo>
                  <a:pt x="2361331" y="1002348"/>
                  <a:pt x="2360149" y="1000760"/>
                  <a:pt x="2359262" y="998855"/>
                </a:cubicBezTo>
                <a:cubicBezTo>
                  <a:pt x="2358080" y="997268"/>
                  <a:pt x="2357193" y="995680"/>
                  <a:pt x="2356011" y="994093"/>
                </a:cubicBezTo>
                <a:cubicBezTo>
                  <a:pt x="2354828" y="992505"/>
                  <a:pt x="2353646" y="990600"/>
                  <a:pt x="2352464" y="989013"/>
                </a:cubicBezTo>
                <a:cubicBezTo>
                  <a:pt x="2351281" y="987425"/>
                  <a:pt x="2349804" y="985520"/>
                  <a:pt x="2348621" y="983933"/>
                </a:cubicBezTo>
                <a:cubicBezTo>
                  <a:pt x="2347143" y="982345"/>
                  <a:pt x="2345961" y="980758"/>
                  <a:pt x="2344483" y="979170"/>
                </a:cubicBezTo>
                <a:lnTo>
                  <a:pt x="2340345" y="974725"/>
                </a:lnTo>
                <a:lnTo>
                  <a:pt x="2240737" y="875030"/>
                </a:lnTo>
                <a:lnTo>
                  <a:pt x="1991865" y="626428"/>
                </a:lnTo>
                <a:lnTo>
                  <a:pt x="1987431" y="621665"/>
                </a:lnTo>
                <a:cubicBezTo>
                  <a:pt x="1986249" y="620078"/>
                  <a:pt x="1984771" y="618490"/>
                  <a:pt x="1983589" y="616903"/>
                </a:cubicBezTo>
                <a:cubicBezTo>
                  <a:pt x="1982111" y="615315"/>
                  <a:pt x="1980929" y="613728"/>
                  <a:pt x="1979451" y="612140"/>
                </a:cubicBezTo>
                <a:cubicBezTo>
                  <a:pt x="1978269" y="610553"/>
                  <a:pt x="1977086" y="608648"/>
                  <a:pt x="1975904" y="607060"/>
                </a:cubicBezTo>
                <a:cubicBezTo>
                  <a:pt x="1974722" y="605155"/>
                  <a:pt x="1973835" y="603568"/>
                  <a:pt x="1972653" y="601663"/>
                </a:cubicBezTo>
                <a:cubicBezTo>
                  <a:pt x="1971766" y="599758"/>
                  <a:pt x="1970879" y="598170"/>
                  <a:pt x="1969993" y="596265"/>
                </a:cubicBezTo>
                <a:cubicBezTo>
                  <a:pt x="1969106" y="594360"/>
                  <a:pt x="1967924" y="592773"/>
                  <a:pt x="1967037" y="590868"/>
                </a:cubicBezTo>
                <a:cubicBezTo>
                  <a:pt x="1966446" y="588963"/>
                  <a:pt x="1965559" y="587375"/>
                  <a:pt x="1964968" y="585470"/>
                </a:cubicBezTo>
                <a:cubicBezTo>
                  <a:pt x="1964081" y="583565"/>
                  <a:pt x="1963490" y="581660"/>
                  <a:pt x="1962603" y="579755"/>
                </a:cubicBezTo>
                <a:cubicBezTo>
                  <a:pt x="1962012" y="577850"/>
                  <a:pt x="1961421" y="576263"/>
                  <a:pt x="1960830" y="574358"/>
                </a:cubicBezTo>
                <a:lnTo>
                  <a:pt x="1959056" y="568643"/>
                </a:lnTo>
                <a:cubicBezTo>
                  <a:pt x="1958761" y="566738"/>
                  <a:pt x="1958465" y="564515"/>
                  <a:pt x="1958170" y="562610"/>
                </a:cubicBezTo>
                <a:cubicBezTo>
                  <a:pt x="1957874" y="560705"/>
                  <a:pt x="1957283" y="558800"/>
                  <a:pt x="1956987" y="556895"/>
                </a:cubicBezTo>
                <a:cubicBezTo>
                  <a:pt x="1956692" y="554990"/>
                  <a:pt x="1956692" y="553085"/>
                  <a:pt x="1956396" y="551180"/>
                </a:cubicBezTo>
                <a:cubicBezTo>
                  <a:pt x="1956101" y="548958"/>
                  <a:pt x="1956101" y="547053"/>
                  <a:pt x="1955805" y="544830"/>
                </a:cubicBezTo>
                <a:lnTo>
                  <a:pt x="1955805" y="539115"/>
                </a:lnTo>
                <a:lnTo>
                  <a:pt x="1955805" y="533083"/>
                </a:lnTo>
                <a:cubicBezTo>
                  <a:pt x="1956101" y="531178"/>
                  <a:pt x="1956101" y="529273"/>
                  <a:pt x="1956396" y="527368"/>
                </a:cubicBezTo>
                <a:cubicBezTo>
                  <a:pt x="1956692" y="525463"/>
                  <a:pt x="1956692" y="523558"/>
                  <a:pt x="1956987" y="521653"/>
                </a:cubicBezTo>
                <a:cubicBezTo>
                  <a:pt x="1957283" y="519748"/>
                  <a:pt x="1957874" y="517525"/>
                  <a:pt x="1958170" y="515620"/>
                </a:cubicBezTo>
                <a:cubicBezTo>
                  <a:pt x="1958465" y="513715"/>
                  <a:pt x="1958761" y="511493"/>
                  <a:pt x="1959056" y="509588"/>
                </a:cubicBezTo>
                <a:lnTo>
                  <a:pt x="1960830" y="503873"/>
                </a:lnTo>
                <a:lnTo>
                  <a:pt x="1962603" y="498158"/>
                </a:lnTo>
                <a:cubicBezTo>
                  <a:pt x="1963490" y="496253"/>
                  <a:pt x="1964081" y="494665"/>
                  <a:pt x="1964968" y="492760"/>
                </a:cubicBezTo>
                <a:cubicBezTo>
                  <a:pt x="1965559" y="490855"/>
                  <a:pt x="1966446" y="489268"/>
                  <a:pt x="1967037" y="487363"/>
                </a:cubicBezTo>
                <a:cubicBezTo>
                  <a:pt x="1967924" y="485458"/>
                  <a:pt x="1969106" y="483553"/>
                  <a:pt x="1969993" y="481648"/>
                </a:cubicBezTo>
                <a:cubicBezTo>
                  <a:pt x="1970879" y="480060"/>
                  <a:pt x="1971766" y="478155"/>
                  <a:pt x="1972653" y="476568"/>
                </a:cubicBezTo>
                <a:cubicBezTo>
                  <a:pt x="1973835" y="474663"/>
                  <a:pt x="1974722" y="473075"/>
                  <a:pt x="1975904" y="471170"/>
                </a:cubicBezTo>
                <a:lnTo>
                  <a:pt x="1979451" y="466408"/>
                </a:lnTo>
                <a:cubicBezTo>
                  <a:pt x="1980929" y="464820"/>
                  <a:pt x="1982111" y="462915"/>
                  <a:pt x="1983589" y="461328"/>
                </a:cubicBezTo>
                <a:cubicBezTo>
                  <a:pt x="1984771" y="459740"/>
                  <a:pt x="1986249" y="458153"/>
                  <a:pt x="1987431" y="456565"/>
                </a:cubicBezTo>
                <a:lnTo>
                  <a:pt x="1991865" y="451803"/>
                </a:lnTo>
                <a:cubicBezTo>
                  <a:pt x="1993343" y="450533"/>
                  <a:pt x="1995116" y="448945"/>
                  <a:pt x="1996594" y="447675"/>
                </a:cubicBezTo>
                <a:cubicBezTo>
                  <a:pt x="1998072" y="446405"/>
                  <a:pt x="1999550" y="444818"/>
                  <a:pt x="2001028" y="443548"/>
                </a:cubicBezTo>
                <a:cubicBezTo>
                  <a:pt x="2002801" y="442278"/>
                  <a:pt x="2004279" y="441008"/>
                  <a:pt x="2006052" y="439738"/>
                </a:cubicBezTo>
                <a:cubicBezTo>
                  <a:pt x="2007826" y="438468"/>
                  <a:pt x="2009304" y="437515"/>
                  <a:pt x="2011077" y="436245"/>
                </a:cubicBezTo>
                <a:cubicBezTo>
                  <a:pt x="2012851" y="434975"/>
                  <a:pt x="2014329" y="434023"/>
                  <a:pt x="2016102" y="432753"/>
                </a:cubicBezTo>
                <a:cubicBezTo>
                  <a:pt x="2017875" y="431800"/>
                  <a:pt x="2019944" y="430848"/>
                  <a:pt x="2021718" y="429895"/>
                </a:cubicBezTo>
                <a:cubicBezTo>
                  <a:pt x="2023491" y="428943"/>
                  <a:pt x="2025265" y="428308"/>
                  <a:pt x="2027038" y="427355"/>
                </a:cubicBezTo>
                <a:cubicBezTo>
                  <a:pt x="2028812" y="426403"/>
                  <a:pt x="2030881" y="425768"/>
                  <a:pt x="2032654" y="424815"/>
                </a:cubicBezTo>
                <a:cubicBezTo>
                  <a:pt x="2034427" y="424180"/>
                  <a:pt x="2036496" y="423545"/>
                  <a:pt x="2038270" y="422910"/>
                </a:cubicBezTo>
                <a:cubicBezTo>
                  <a:pt x="2040043" y="422275"/>
                  <a:pt x="2042112" y="421640"/>
                  <a:pt x="2043886" y="421005"/>
                </a:cubicBezTo>
                <a:cubicBezTo>
                  <a:pt x="2045659" y="420688"/>
                  <a:pt x="2047728" y="420053"/>
                  <a:pt x="2049502" y="419735"/>
                </a:cubicBezTo>
                <a:cubicBezTo>
                  <a:pt x="2051571" y="419100"/>
                  <a:pt x="2053344" y="418783"/>
                  <a:pt x="2055413" y="418148"/>
                </a:cubicBezTo>
                <a:lnTo>
                  <a:pt x="2061029" y="417195"/>
                </a:lnTo>
                <a:lnTo>
                  <a:pt x="2067236" y="416243"/>
                </a:lnTo>
                <a:cubicBezTo>
                  <a:pt x="2069009" y="416243"/>
                  <a:pt x="2071078" y="415925"/>
                  <a:pt x="2072852" y="415925"/>
                </a:cubicBezTo>
                <a:lnTo>
                  <a:pt x="2079059" y="415925"/>
                </a:lnTo>
                <a:lnTo>
                  <a:pt x="2084970" y="415925"/>
                </a:lnTo>
                <a:cubicBezTo>
                  <a:pt x="2087039" y="415925"/>
                  <a:pt x="2088813" y="416243"/>
                  <a:pt x="2090882" y="416243"/>
                </a:cubicBezTo>
                <a:lnTo>
                  <a:pt x="2096793" y="417195"/>
                </a:lnTo>
                <a:lnTo>
                  <a:pt x="2102409" y="418148"/>
                </a:lnTo>
                <a:cubicBezTo>
                  <a:pt x="2104478" y="418783"/>
                  <a:pt x="2106252" y="419100"/>
                  <a:pt x="2108321" y="419735"/>
                </a:cubicBezTo>
                <a:cubicBezTo>
                  <a:pt x="2110094" y="420053"/>
                  <a:pt x="2112163" y="420688"/>
                  <a:pt x="2113936" y="421005"/>
                </a:cubicBezTo>
                <a:cubicBezTo>
                  <a:pt x="2115710" y="421640"/>
                  <a:pt x="2117779" y="422275"/>
                  <a:pt x="2119552" y="422910"/>
                </a:cubicBezTo>
                <a:cubicBezTo>
                  <a:pt x="2121621" y="423545"/>
                  <a:pt x="2123395" y="424180"/>
                  <a:pt x="2125464" y="424815"/>
                </a:cubicBezTo>
                <a:cubicBezTo>
                  <a:pt x="2127237" y="425768"/>
                  <a:pt x="2129011" y="426403"/>
                  <a:pt x="2130784" y="427355"/>
                </a:cubicBezTo>
                <a:cubicBezTo>
                  <a:pt x="2132558" y="428308"/>
                  <a:pt x="2134331" y="428943"/>
                  <a:pt x="2136104" y="429895"/>
                </a:cubicBezTo>
                <a:cubicBezTo>
                  <a:pt x="2137878" y="430848"/>
                  <a:pt x="2139947" y="431800"/>
                  <a:pt x="2141720" y="432753"/>
                </a:cubicBezTo>
                <a:cubicBezTo>
                  <a:pt x="2143494" y="434023"/>
                  <a:pt x="2144972" y="434975"/>
                  <a:pt x="2146745" y="436245"/>
                </a:cubicBezTo>
                <a:cubicBezTo>
                  <a:pt x="2148518" y="437515"/>
                  <a:pt x="2150292" y="438468"/>
                  <a:pt x="2152065" y="439738"/>
                </a:cubicBezTo>
                <a:cubicBezTo>
                  <a:pt x="2153543" y="441008"/>
                  <a:pt x="2155317" y="442278"/>
                  <a:pt x="2156795" y="443548"/>
                </a:cubicBezTo>
                <a:cubicBezTo>
                  <a:pt x="2158568" y="444818"/>
                  <a:pt x="2160046" y="446405"/>
                  <a:pt x="2161819" y="447675"/>
                </a:cubicBezTo>
                <a:cubicBezTo>
                  <a:pt x="2163297" y="448945"/>
                  <a:pt x="2164479" y="450533"/>
                  <a:pt x="2165957" y="451803"/>
                </a:cubicBezTo>
                <a:lnTo>
                  <a:pt x="2966073" y="1251903"/>
                </a:lnTo>
                <a:lnTo>
                  <a:pt x="5612631" y="3898583"/>
                </a:lnTo>
                <a:cubicBezTo>
                  <a:pt x="5614109" y="3900170"/>
                  <a:pt x="5615882" y="3901758"/>
                  <a:pt x="5617360" y="3903345"/>
                </a:cubicBezTo>
                <a:cubicBezTo>
                  <a:pt x="5618838" y="3904933"/>
                  <a:pt x="5620021" y="3906838"/>
                  <a:pt x="5621498" y="3908425"/>
                </a:cubicBezTo>
                <a:cubicBezTo>
                  <a:pt x="5622680" y="3910013"/>
                  <a:pt x="5624158" y="3911918"/>
                  <a:pt x="5625341" y="3913505"/>
                </a:cubicBezTo>
                <a:cubicBezTo>
                  <a:pt x="5626523" y="3915093"/>
                  <a:pt x="5627705" y="3916998"/>
                  <a:pt x="5628888" y="3918585"/>
                </a:cubicBezTo>
                <a:cubicBezTo>
                  <a:pt x="5630070" y="3920173"/>
                  <a:pt x="5630957" y="3921760"/>
                  <a:pt x="5632139" y="3923348"/>
                </a:cubicBezTo>
                <a:cubicBezTo>
                  <a:pt x="5633025" y="3925253"/>
                  <a:pt x="5634208" y="3926840"/>
                  <a:pt x="5635094" y="3928745"/>
                </a:cubicBezTo>
                <a:cubicBezTo>
                  <a:pt x="5635982" y="3930650"/>
                  <a:pt x="5637163" y="3932555"/>
                  <a:pt x="5638050" y="3934460"/>
                </a:cubicBezTo>
                <a:cubicBezTo>
                  <a:pt x="5638937" y="3936365"/>
                  <a:pt x="5639528" y="3937953"/>
                  <a:pt x="5640415" y="3939858"/>
                </a:cubicBezTo>
                <a:cubicBezTo>
                  <a:pt x="5641006" y="3941763"/>
                  <a:pt x="5641893" y="3943985"/>
                  <a:pt x="5642484" y="3945890"/>
                </a:cubicBezTo>
                <a:lnTo>
                  <a:pt x="5644257" y="3951605"/>
                </a:lnTo>
                <a:cubicBezTo>
                  <a:pt x="5644849" y="3953510"/>
                  <a:pt x="5645144" y="3955415"/>
                  <a:pt x="5645735" y="3957320"/>
                </a:cubicBezTo>
                <a:cubicBezTo>
                  <a:pt x="5646327" y="3959225"/>
                  <a:pt x="5646622" y="3961448"/>
                  <a:pt x="5647213" y="3963353"/>
                </a:cubicBezTo>
                <a:lnTo>
                  <a:pt x="5648100" y="3969068"/>
                </a:lnTo>
                <a:cubicBezTo>
                  <a:pt x="5648396" y="3970973"/>
                  <a:pt x="5648396" y="3973195"/>
                  <a:pt x="5648691" y="3975100"/>
                </a:cubicBezTo>
                <a:cubicBezTo>
                  <a:pt x="5648986" y="3977005"/>
                  <a:pt x="5648986" y="3978910"/>
                  <a:pt x="5649282" y="3980815"/>
                </a:cubicBezTo>
                <a:lnTo>
                  <a:pt x="5649282" y="3987165"/>
                </a:lnTo>
                <a:lnTo>
                  <a:pt x="5649282" y="3992880"/>
                </a:lnTo>
                <a:cubicBezTo>
                  <a:pt x="5648986" y="3994785"/>
                  <a:pt x="5648986" y="3997008"/>
                  <a:pt x="5648691" y="3998913"/>
                </a:cubicBezTo>
                <a:cubicBezTo>
                  <a:pt x="5648396" y="4000818"/>
                  <a:pt x="5648396" y="4003040"/>
                  <a:pt x="5648100" y="4004945"/>
                </a:cubicBezTo>
                <a:lnTo>
                  <a:pt x="5647213" y="4010660"/>
                </a:lnTo>
                <a:cubicBezTo>
                  <a:pt x="5646622" y="4012565"/>
                  <a:pt x="5646327" y="4014470"/>
                  <a:pt x="5645735" y="4016375"/>
                </a:cubicBezTo>
                <a:cubicBezTo>
                  <a:pt x="5645144" y="4018598"/>
                  <a:pt x="5644849" y="4020503"/>
                  <a:pt x="5644257" y="4022725"/>
                </a:cubicBezTo>
                <a:lnTo>
                  <a:pt x="5642484" y="4028440"/>
                </a:lnTo>
                <a:cubicBezTo>
                  <a:pt x="5641893" y="4030345"/>
                  <a:pt x="5641006" y="4031933"/>
                  <a:pt x="5640415" y="4033838"/>
                </a:cubicBezTo>
                <a:cubicBezTo>
                  <a:pt x="5639528" y="4035743"/>
                  <a:pt x="5638937" y="4037648"/>
                  <a:pt x="5638050" y="4039553"/>
                </a:cubicBezTo>
                <a:cubicBezTo>
                  <a:pt x="5637163" y="4041458"/>
                  <a:pt x="5635982" y="4043045"/>
                  <a:pt x="5635094" y="4044950"/>
                </a:cubicBezTo>
                <a:cubicBezTo>
                  <a:pt x="5634208" y="4046855"/>
                  <a:pt x="5633025" y="4048443"/>
                  <a:pt x="5632139" y="4050348"/>
                </a:cubicBezTo>
                <a:cubicBezTo>
                  <a:pt x="5630957" y="4052253"/>
                  <a:pt x="5630070" y="4053840"/>
                  <a:pt x="5628888" y="4055745"/>
                </a:cubicBezTo>
                <a:cubicBezTo>
                  <a:pt x="5627705" y="4057333"/>
                  <a:pt x="5626523" y="4059238"/>
                  <a:pt x="5625341" y="4060825"/>
                </a:cubicBezTo>
                <a:cubicBezTo>
                  <a:pt x="5624158" y="4062413"/>
                  <a:pt x="5622680" y="4064000"/>
                  <a:pt x="5621498" y="4065588"/>
                </a:cubicBezTo>
                <a:cubicBezTo>
                  <a:pt x="5620021" y="4067175"/>
                  <a:pt x="5618838" y="4068763"/>
                  <a:pt x="5617360" y="4070350"/>
                </a:cubicBezTo>
                <a:cubicBezTo>
                  <a:pt x="5615882" y="4071938"/>
                  <a:pt x="5614109" y="4073525"/>
                  <a:pt x="5612631" y="4075113"/>
                </a:cubicBezTo>
                <a:lnTo>
                  <a:pt x="5608198" y="4079875"/>
                </a:lnTo>
                <a:cubicBezTo>
                  <a:pt x="5606719" y="4081145"/>
                  <a:pt x="5604946" y="4082415"/>
                  <a:pt x="5603468" y="4083685"/>
                </a:cubicBezTo>
                <a:cubicBezTo>
                  <a:pt x="5601695" y="4084955"/>
                  <a:pt x="5600217" y="4086225"/>
                  <a:pt x="5598443" y="4087495"/>
                </a:cubicBezTo>
                <a:cubicBezTo>
                  <a:pt x="5596670" y="4088765"/>
                  <a:pt x="5595192" y="4090035"/>
                  <a:pt x="5593419" y="4091305"/>
                </a:cubicBezTo>
                <a:cubicBezTo>
                  <a:pt x="5591645" y="4092258"/>
                  <a:pt x="5589872" y="4093528"/>
                  <a:pt x="5588098" y="4094480"/>
                </a:cubicBezTo>
                <a:cubicBezTo>
                  <a:pt x="5586325" y="4095433"/>
                  <a:pt x="5584256" y="4096385"/>
                  <a:pt x="5582482" y="4097338"/>
                </a:cubicBezTo>
                <a:lnTo>
                  <a:pt x="5577162" y="4100195"/>
                </a:lnTo>
                <a:cubicBezTo>
                  <a:pt x="5575389" y="4100830"/>
                  <a:pt x="5573615" y="4101783"/>
                  <a:pt x="5571842" y="4102418"/>
                </a:cubicBezTo>
                <a:cubicBezTo>
                  <a:pt x="5569773" y="4103053"/>
                  <a:pt x="5567999" y="4104005"/>
                  <a:pt x="5565931" y="4104640"/>
                </a:cubicBezTo>
                <a:cubicBezTo>
                  <a:pt x="5564157" y="4105275"/>
                  <a:pt x="5562088" y="4105910"/>
                  <a:pt x="5560315" y="4106545"/>
                </a:cubicBezTo>
                <a:cubicBezTo>
                  <a:pt x="5558542" y="4107180"/>
                  <a:pt x="5556472" y="4107498"/>
                  <a:pt x="5554699" y="4108133"/>
                </a:cubicBezTo>
                <a:cubicBezTo>
                  <a:pt x="5552630" y="4108450"/>
                  <a:pt x="5550561" y="4109085"/>
                  <a:pt x="5548492" y="4109403"/>
                </a:cubicBezTo>
                <a:lnTo>
                  <a:pt x="5542580" y="4110355"/>
                </a:lnTo>
                <a:cubicBezTo>
                  <a:pt x="5540511" y="4110673"/>
                  <a:pt x="5538738" y="4110673"/>
                  <a:pt x="5536669" y="4110990"/>
                </a:cubicBezTo>
                <a:cubicBezTo>
                  <a:pt x="5534600" y="4110990"/>
                  <a:pt x="5532827" y="4111308"/>
                  <a:pt x="5530758" y="4111308"/>
                </a:cubicBezTo>
                <a:cubicBezTo>
                  <a:pt x="5528688" y="4111308"/>
                  <a:pt x="5526915" y="4111625"/>
                  <a:pt x="5524846" y="4111625"/>
                </a:cubicBezTo>
                <a:cubicBezTo>
                  <a:pt x="5522777" y="4111625"/>
                  <a:pt x="5520708" y="4111308"/>
                  <a:pt x="5518639" y="4111308"/>
                </a:cubicBezTo>
                <a:cubicBezTo>
                  <a:pt x="5516866" y="4111308"/>
                  <a:pt x="5514797" y="4110990"/>
                  <a:pt x="5513023" y="4110990"/>
                </a:cubicBezTo>
                <a:cubicBezTo>
                  <a:pt x="5510954" y="4110673"/>
                  <a:pt x="5508885" y="4110673"/>
                  <a:pt x="5506816" y="4110355"/>
                </a:cubicBezTo>
                <a:lnTo>
                  <a:pt x="5501200" y="4109403"/>
                </a:lnTo>
                <a:cubicBezTo>
                  <a:pt x="5499131" y="4109085"/>
                  <a:pt x="5497062" y="4108450"/>
                  <a:pt x="5494993" y="4108133"/>
                </a:cubicBezTo>
                <a:cubicBezTo>
                  <a:pt x="5492924" y="4107498"/>
                  <a:pt x="5491150" y="4107180"/>
                  <a:pt x="5489081" y="4106545"/>
                </a:cubicBezTo>
                <a:cubicBezTo>
                  <a:pt x="5487308" y="4105910"/>
                  <a:pt x="5485239" y="4105275"/>
                  <a:pt x="5483466" y="4104640"/>
                </a:cubicBezTo>
                <a:cubicBezTo>
                  <a:pt x="5481693" y="4104005"/>
                  <a:pt x="5479623" y="4103053"/>
                  <a:pt x="5477850" y="4102418"/>
                </a:cubicBezTo>
                <a:cubicBezTo>
                  <a:pt x="5476076" y="4101783"/>
                  <a:pt x="5474007" y="4100830"/>
                  <a:pt x="5472234" y="4100195"/>
                </a:cubicBezTo>
                <a:lnTo>
                  <a:pt x="5466913" y="4097338"/>
                </a:lnTo>
                <a:lnTo>
                  <a:pt x="5461593" y="4094480"/>
                </a:lnTo>
                <a:cubicBezTo>
                  <a:pt x="5459820" y="4093528"/>
                  <a:pt x="5458046" y="4092258"/>
                  <a:pt x="5456273" y="4091305"/>
                </a:cubicBezTo>
                <a:cubicBezTo>
                  <a:pt x="5454499" y="4090035"/>
                  <a:pt x="5453022" y="4088765"/>
                  <a:pt x="5451248" y="4087495"/>
                </a:cubicBezTo>
                <a:cubicBezTo>
                  <a:pt x="5449475" y="4086225"/>
                  <a:pt x="5447997" y="4084955"/>
                  <a:pt x="5446223" y="4083685"/>
                </a:cubicBezTo>
                <a:cubicBezTo>
                  <a:pt x="5444746" y="4082415"/>
                  <a:pt x="5442973" y="4081145"/>
                  <a:pt x="5441495" y="4079875"/>
                </a:cubicBezTo>
                <a:cubicBezTo>
                  <a:pt x="5440016" y="4078288"/>
                  <a:pt x="5438243" y="4076700"/>
                  <a:pt x="5436765" y="4075113"/>
                </a:cubicBezTo>
                <a:lnTo>
                  <a:pt x="5322379" y="3960813"/>
                </a:lnTo>
                <a:cubicBezTo>
                  <a:pt x="5320901" y="3959225"/>
                  <a:pt x="5319423" y="3957955"/>
                  <a:pt x="5317945" y="3956368"/>
                </a:cubicBezTo>
                <a:cubicBezTo>
                  <a:pt x="5316172" y="3955098"/>
                  <a:pt x="5314694" y="3953510"/>
                  <a:pt x="5312921" y="3952240"/>
                </a:cubicBezTo>
                <a:cubicBezTo>
                  <a:pt x="5311147" y="3950970"/>
                  <a:pt x="5309669" y="3950018"/>
                  <a:pt x="5307896" y="3948748"/>
                </a:cubicBezTo>
                <a:cubicBezTo>
                  <a:pt x="5306122" y="3947478"/>
                  <a:pt x="5304645" y="3946208"/>
                  <a:pt x="5302871" y="3944938"/>
                </a:cubicBezTo>
                <a:cubicBezTo>
                  <a:pt x="5301098" y="3943985"/>
                  <a:pt x="5299029" y="3942715"/>
                  <a:pt x="5297255" y="3941763"/>
                </a:cubicBezTo>
                <a:cubicBezTo>
                  <a:pt x="5295482" y="3940810"/>
                  <a:pt x="5294004" y="3939540"/>
                  <a:pt x="5292230" y="3938588"/>
                </a:cubicBezTo>
                <a:cubicBezTo>
                  <a:pt x="5290457" y="3937635"/>
                  <a:pt x="5288388" y="3937000"/>
                  <a:pt x="5286615" y="3936048"/>
                </a:cubicBezTo>
                <a:cubicBezTo>
                  <a:pt x="5284841" y="3935095"/>
                  <a:pt x="5283068" y="3934460"/>
                  <a:pt x="5281294" y="3933508"/>
                </a:cubicBezTo>
                <a:cubicBezTo>
                  <a:pt x="5279225" y="3932873"/>
                  <a:pt x="5277452" y="3931920"/>
                  <a:pt x="5275383" y="3931285"/>
                </a:cubicBezTo>
                <a:cubicBezTo>
                  <a:pt x="5273609" y="3930650"/>
                  <a:pt x="5271540" y="3930333"/>
                  <a:pt x="5269767" y="3929698"/>
                </a:cubicBezTo>
                <a:cubicBezTo>
                  <a:pt x="5267698" y="3929063"/>
                  <a:pt x="5265924" y="3928428"/>
                  <a:pt x="5263855" y="3927793"/>
                </a:cubicBezTo>
                <a:lnTo>
                  <a:pt x="5257944" y="3926840"/>
                </a:lnTo>
                <a:cubicBezTo>
                  <a:pt x="5255875" y="3926523"/>
                  <a:pt x="5254102" y="3925888"/>
                  <a:pt x="5252033" y="3925570"/>
                </a:cubicBezTo>
                <a:cubicBezTo>
                  <a:pt x="5249964" y="3925253"/>
                  <a:pt x="5248190" y="3925253"/>
                  <a:pt x="5246121" y="3924935"/>
                </a:cubicBezTo>
                <a:cubicBezTo>
                  <a:pt x="5244052" y="3924935"/>
                  <a:pt x="5242279" y="3924618"/>
                  <a:pt x="5240210" y="3924618"/>
                </a:cubicBezTo>
                <a:lnTo>
                  <a:pt x="5234298" y="3924618"/>
                </a:lnTo>
                <a:lnTo>
                  <a:pt x="5228091" y="3924618"/>
                </a:lnTo>
                <a:cubicBezTo>
                  <a:pt x="5226022" y="3924618"/>
                  <a:pt x="5224249" y="3924935"/>
                  <a:pt x="5222180" y="3924935"/>
                </a:cubicBezTo>
                <a:cubicBezTo>
                  <a:pt x="5220111" y="3925253"/>
                  <a:pt x="5218337" y="3925253"/>
                  <a:pt x="5216268" y="3925570"/>
                </a:cubicBezTo>
                <a:cubicBezTo>
                  <a:pt x="5214199" y="3925888"/>
                  <a:pt x="5212426" y="3926523"/>
                  <a:pt x="5210357" y="3926840"/>
                </a:cubicBezTo>
                <a:lnTo>
                  <a:pt x="5204741" y="3927793"/>
                </a:lnTo>
                <a:lnTo>
                  <a:pt x="5198534" y="3929698"/>
                </a:lnTo>
                <a:cubicBezTo>
                  <a:pt x="5196760" y="3930333"/>
                  <a:pt x="5194691" y="3930650"/>
                  <a:pt x="5192918" y="3931285"/>
                </a:cubicBezTo>
                <a:cubicBezTo>
                  <a:pt x="5191145" y="3931920"/>
                  <a:pt x="5189371" y="3932873"/>
                  <a:pt x="5187598" y="3933508"/>
                </a:cubicBezTo>
                <a:cubicBezTo>
                  <a:pt x="5185529" y="3934460"/>
                  <a:pt x="5183755" y="3935095"/>
                  <a:pt x="5181686" y="3936048"/>
                </a:cubicBezTo>
                <a:cubicBezTo>
                  <a:pt x="5179913" y="3937000"/>
                  <a:pt x="5178139" y="3937635"/>
                  <a:pt x="5176366" y="3938588"/>
                </a:cubicBezTo>
                <a:cubicBezTo>
                  <a:pt x="5174593" y="3939540"/>
                  <a:pt x="5172819" y="3940810"/>
                  <a:pt x="5171046" y="3941763"/>
                </a:cubicBezTo>
                <a:cubicBezTo>
                  <a:pt x="5169272" y="3942715"/>
                  <a:pt x="5167203" y="3943985"/>
                  <a:pt x="5165430" y="3944938"/>
                </a:cubicBezTo>
                <a:cubicBezTo>
                  <a:pt x="5163656" y="3946208"/>
                  <a:pt x="5162178" y="3947478"/>
                  <a:pt x="5160405" y="3948748"/>
                </a:cubicBezTo>
                <a:cubicBezTo>
                  <a:pt x="5158632" y="3950018"/>
                  <a:pt x="5157154" y="3950970"/>
                  <a:pt x="5155380" y="3952240"/>
                </a:cubicBezTo>
                <a:cubicBezTo>
                  <a:pt x="5153902" y="3953510"/>
                  <a:pt x="5152425" y="3955098"/>
                  <a:pt x="5150947" y="3956368"/>
                </a:cubicBezTo>
                <a:cubicBezTo>
                  <a:pt x="5149469" y="3957955"/>
                  <a:pt x="5147695" y="3959225"/>
                  <a:pt x="5146218" y="3960813"/>
                </a:cubicBezTo>
                <a:cubicBezTo>
                  <a:pt x="5144740" y="3962400"/>
                  <a:pt x="5142966" y="3963988"/>
                  <a:pt x="5141488" y="3965575"/>
                </a:cubicBezTo>
                <a:cubicBezTo>
                  <a:pt x="5140306" y="3967163"/>
                  <a:pt x="5138828" y="3969068"/>
                  <a:pt x="5137646" y="3970655"/>
                </a:cubicBezTo>
                <a:lnTo>
                  <a:pt x="5133508" y="3975100"/>
                </a:lnTo>
                <a:cubicBezTo>
                  <a:pt x="5132326" y="3977005"/>
                  <a:pt x="5131143" y="3978593"/>
                  <a:pt x="5129961" y="3980498"/>
                </a:cubicBezTo>
                <a:cubicBezTo>
                  <a:pt x="5128779" y="3982085"/>
                  <a:pt x="5127892" y="3983990"/>
                  <a:pt x="5126710" y="3985578"/>
                </a:cubicBezTo>
                <a:cubicBezTo>
                  <a:pt x="5125823" y="3987483"/>
                  <a:pt x="5124641" y="3989070"/>
                  <a:pt x="5123754" y="3990975"/>
                </a:cubicBezTo>
                <a:cubicBezTo>
                  <a:pt x="5122867" y="3992880"/>
                  <a:pt x="5121981" y="3994468"/>
                  <a:pt x="5121094" y="3996373"/>
                </a:cubicBezTo>
                <a:cubicBezTo>
                  <a:pt x="5120207" y="3998278"/>
                  <a:pt x="5119616" y="4000183"/>
                  <a:pt x="5118729" y="4002088"/>
                </a:cubicBezTo>
                <a:cubicBezTo>
                  <a:pt x="5118138" y="4003993"/>
                  <a:pt x="5117251" y="4005898"/>
                  <a:pt x="5116660" y="4007803"/>
                </a:cubicBezTo>
                <a:cubicBezTo>
                  <a:pt x="5116069" y="4009708"/>
                  <a:pt x="5115182" y="4011613"/>
                  <a:pt x="5114591" y="4013518"/>
                </a:cubicBezTo>
                <a:cubicBezTo>
                  <a:pt x="5114000" y="4015423"/>
                  <a:pt x="5113705" y="4017328"/>
                  <a:pt x="5113113" y="4019233"/>
                </a:cubicBezTo>
                <a:cubicBezTo>
                  <a:pt x="5112522" y="4021138"/>
                  <a:pt x="5112227" y="4023360"/>
                  <a:pt x="5111636" y="4025265"/>
                </a:cubicBezTo>
                <a:cubicBezTo>
                  <a:pt x="5111340" y="4027170"/>
                  <a:pt x="5111340" y="4029393"/>
                  <a:pt x="5111044" y="4031298"/>
                </a:cubicBezTo>
                <a:lnTo>
                  <a:pt x="5110158" y="4037013"/>
                </a:lnTo>
                <a:cubicBezTo>
                  <a:pt x="5110158" y="4038918"/>
                  <a:pt x="5109862" y="4041140"/>
                  <a:pt x="5109862" y="4043045"/>
                </a:cubicBezTo>
                <a:cubicBezTo>
                  <a:pt x="5109862" y="4044950"/>
                  <a:pt x="5109567" y="4047173"/>
                  <a:pt x="5109567" y="4049078"/>
                </a:cubicBezTo>
                <a:cubicBezTo>
                  <a:pt x="5109567" y="4050983"/>
                  <a:pt x="5109862" y="4053205"/>
                  <a:pt x="5109862" y="4055110"/>
                </a:cubicBezTo>
                <a:cubicBezTo>
                  <a:pt x="5109862" y="4057015"/>
                  <a:pt x="5110158" y="4059238"/>
                  <a:pt x="5110158" y="4061143"/>
                </a:cubicBezTo>
                <a:lnTo>
                  <a:pt x="5111044" y="4066858"/>
                </a:lnTo>
                <a:cubicBezTo>
                  <a:pt x="5111340" y="4068763"/>
                  <a:pt x="5111340" y="4070985"/>
                  <a:pt x="5111636" y="4072890"/>
                </a:cubicBezTo>
                <a:cubicBezTo>
                  <a:pt x="5112227" y="4074795"/>
                  <a:pt x="5112522" y="4076700"/>
                  <a:pt x="5113113" y="4078605"/>
                </a:cubicBezTo>
                <a:cubicBezTo>
                  <a:pt x="5113705" y="4080510"/>
                  <a:pt x="5114000" y="4082415"/>
                  <a:pt x="5114591" y="4084320"/>
                </a:cubicBezTo>
                <a:cubicBezTo>
                  <a:pt x="5115182" y="4086225"/>
                  <a:pt x="5116069" y="4088130"/>
                  <a:pt x="5116660" y="4090035"/>
                </a:cubicBezTo>
                <a:cubicBezTo>
                  <a:pt x="5117251" y="4091940"/>
                  <a:pt x="5118138" y="4093845"/>
                  <a:pt x="5118729" y="4095750"/>
                </a:cubicBezTo>
                <a:cubicBezTo>
                  <a:pt x="5119616" y="4097655"/>
                  <a:pt x="5120207" y="4099878"/>
                  <a:pt x="5121094" y="4101783"/>
                </a:cubicBezTo>
                <a:cubicBezTo>
                  <a:pt x="5121981" y="4103688"/>
                  <a:pt x="5122867" y="4105275"/>
                  <a:pt x="5123754" y="4107180"/>
                </a:cubicBezTo>
                <a:cubicBezTo>
                  <a:pt x="5124641" y="4109085"/>
                  <a:pt x="5125823" y="4110673"/>
                  <a:pt x="5126710" y="4112578"/>
                </a:cubicBezTo>
                <a:cubicBezTo>
                  <a:pt x="5127892" y="4114483"/>
                  <a:pt x="5128779" y="4116070"/>
                  <a:pt x="5129961" y="4117975"/>
                </a:cubicBezTo>
                <a:lnTo>
                  <a:pt x="5133508" y="4122738"/>
                </a:lnTo>
                <a:cubicBezTo>
                  <a:pt x="5134986" y="4124325"/>
                  <a:pt x="5136168" y="4126230"/>
                  <a:pt x="5137646" y="4127818"/>
                </a:cubicBezTo>
                <a:cubicBezTo>
                  <a:pt x="5138828" y="4129405"/>
                  <a:pt x="5140306" y="4130993"/>
                  <a:pt x="5141488" y="4132580"/>
                </a:cubicBezTo>
                <a:cubicBezTo>
                  <a:pt x="5142966" y="4134168"/>
                  <a:pt x="5144740" y="4135755"/>
                  <a:pt x="5146218" y="4137343"/>
                </a:cubicBezTo>
                <a:lnTo>
                  <a:pt x="5870075" y="4860925"/>
                </a:lnTo>
                <a:lnTo>
                  <a:pt x="5874509" y="4865688"/>
                </a:lnTo>
                <a:cubicBezTo>
                  <a:pt x="5875987" y="4867275"/>
                  <a:pt x="5877168" y="4869180"/>
                  <a:pt x="5878646" y="4870768"/>
                </a:cubicBezTo>
                <a:cubicBezTo>
                  <a:pt x="5879829" y="4872355"/>
                  <a:pt x="5881307" y="4874260"/>
                  <a:pt x="5882489" y="4875848"/>
                </a:cubicBezTo>
                <a:cubicBezTo>
                  <a:pt x="5883671" y="4877435"/>
                  <a:pt x="5884854" y="4879340"/>
                  <a:pt x="5886036" y="4880928"/>
                </a:cubicBezTo>
                <a:cubicBezTo>
                  <a:pt x="5887218" y="4882515"/>
                  <a:pt x="5888105" y="4884103"/>
                  <a:pt x="5889287" y="4885690"/>
                </a:cubicBezTo>
                <a:cubicBezTo>
                  <a:pt x="5890174" y="4887595"/>
                  <a:pt x="5891356" y="4889183"/>
                  <a:pt x="5892243" y="4891088"/>
                </a:cubicBezTo>
                <a:cubicBezTo>
                  <a:pt x="5893129" y="4892993"/>
                  <a:pt x="5894312" y="4895215"/>
                  <a:pt x="5895199" y="4897120"/>
                </a:cubicBezTo>
                <a:cubicBezTo>
                  <a:pt x="5895790" y="4899025"/>
                  <a:pt x="5896676" y="4900613"/>
                  <a:pt x="5897268" y="4902518"/>
                </a:cubicBezTo>
                <a:cubicBezTo>
                  <a:pt x="5897859" y="4904423"/>
                  <a:pt x="5898746" y="4906328"/>
                  <a:pt x="5899336" y="4908233"/>
                </a:cubicBezTo>
                <a:cubicBezTo>
                  <a:pt x="5900223" y="4910138"/>
                  <a:pt x="5900815" y="4912043"/>
                  <a:pt x="5901701" y="4913948"/>
                </a:cubicBezTo>
                <a:cubicBezTo>
                  <a:pt x="5901997" y="4915853"/>
                  <a:pt x="5902588" y="4917758"/>
                  <a:pt x="5902883" y="4919663"/>
                </a:cubicBezTo>
                <a:cubicBezTo>
                  <a:pt x="5903179" y="4921568"/>
                  <a:pt x="5903770" y="4923790"/>
                  <a:pt x="5904066" y="4925695"/>
                </a:cubicBezTo>
                <a:cubicBezTo>
                  <a:pt x="5904362" y="4927600"/>
                  <a:pt x="5904952" y="4929505"/>
                  <a:pt x="5905248" y="4931410"/>
                </a:cubicBezTo>
                <a:cubicBezTo>
                  <a:pt x="5905543" y="4933315"/>
                  <a:pt x="5905543" y="4935538"/>
                  <a:pt x="5905840" y="4937443"/>
                </a:cubicBezTo>
                <a:cubicBezTo>
                  <a:pt x="5905840" y="4939348"/>
                  <a:pt x="5906135" y="4941570"/>
                  <a:pt x="5906135" y="4943475"/>
                </a:cubicBezTo>
                <a:cubicBezTo>
                  <a:pt x="5906430" y="4945380"/>
                  <a:pt x="5906430" y="4947603"/>
                  <a:pt x="5906726" y="4949508"/>
                </a:cubicBezTo>
                <a:cubicBezTo>
                  <a:pt x="5906430" y="4951413"/>
                  <a:pt x="5906430" y="4953318"/>
                  <a:pt x="5906135" y="4955223"/>
                </a:cubicBezTo>
                <a:cubicBezTo>
                  <a:pt x="5906135" y="4957128"/>
                  <a:pt x="5905840" y="4959350"/>
                  <a:pt x="5905840" y="4961255"/>
                </a:cubicBezTo>
                <a:cubicBezTo>
                  <a:pt x="5905543" y="4963160"/>
                  <a:pt x="5905543" y="4965383"/>
                  <a:pt x="5905248" y="4967288"/>
                </a:cubicBezTo>
                <a:cubicBezTo>
                  <a:pt x="5904952" y="4969193"/>
                  <a:pt x="5904362" y="4971098"/>
                  <a:pt x="5904066" y="4973003"/>
                </a:cubicBezTo>
                <a:cubicBezTo>
                  <a:pt x="5903770" y="4974908"/>
                  <a:pt x="5903179" y="4977130"/>
                  <a:pt x="5902883" y="4979035"/>
                </a:cubicBezTo>
                <a:cubicBezTo>
                  <a:pt x="5902588" y="4980940"/>
                  <a:pt x="5901997" y="4983163"/>
                  <a:pt x="5901701" y="4985068"/>
                </a:cubicBezTo>
                <a:cubicBezTo>
                  <a:pt x="5900815" y="4986973"/>
                  <a:pt x="5900223" y="4988878"/>
                  <a:pt x="5899336" y="4990783"/>
                </a:cubicBezTo>
                <a:cubicBezTo>
                  <a:pt x="5898746" y="4992688"/>
                  <a:pt x="5897859" y="4994275"/>
                  <a:pt x="5897268" y="4996180"/>
                </a:cubicBezTo>
                <a:cubicBezTo>
                  <a:pt x="5896676" y="4998085"/>
                  <a:pt x="5895790" y="4999990"/>
                  <a:pt x="5895199" y="5001895"/>
                </a:cubicBezTo>
                <a:cubicBezTo>
                  <a:pt x="5894312" y="5003800"/>
                  <a:pt x="5893129" y="5005388"/>
                  <a:pt x="5892243" y="5007293"/>
                </a:cubicBezTo>
                <a:cubicBezTo>
                  <a:pt x="5891356" y="5009198"/>
                  <a:pt x="5890174" y="5010785"/>
                  <a:pt x="5889287" y="5012690"/>
                </a:cubicBezTo>
                <a:cubicBezTo>
                  <a:pt x="5888105" y="5014595"/>
                  <a:pt x="5887218" y="5016183"/>
                  <a:pt x="5886036" y="5018088"/>
                </a:cubicBezTo>
                <a:cubicBezTo>
                  <a:pt x="5884854" y="5019675"/>
                  <a:pt x="5883671" y="5021580"/>
                  <a:pt x="5882489" y="5023168"/>
                </a:cubicBezTo>
                <a:cubicBezTo>
                  <a:pt x="5881307" y="5024755"/>
                  <a:pt x="5879829" y="5026660"/>
                  <a:pt x="5878646" y="5028248"/>
                </a:cubicBezTo>
                <a:lnTo>
                  <a:pt x="5874509" y="5032693"/>
                </a:lnTo>
                <a:lnTo>
                  <a:pt x="5870075" y="5037455"/>
                </a:lnTo>
                <a:cubicBezTo>
                  <a:pt x="5868597" y="5039043"/>
                  <a:pt x="5866823" y="5040313"/>
                  <a:pt x="5865346" y="5041900"/>
                </a:cubicBezTo>
                <a:cubicBezTo>
                  <a:pt x="5863868" y="5043170"/>
                  <a:pt x="5862095" y="5044758"/>
                  <a:pt x="5860617" y="5046028"/>
                </a:cubicBezTo>
                <a:cubicBezTo>
                  <a:pt x="5858843" y="5047298"/>
                  <a:pt x="5857365" y="5048885"/>
                  <a:pt x="5855592" y="5050155"/>
                </a:cubicBezTo>
                <a:cubicBezTo>
                  <a:pt x="5853818" y="5051425"/>
                  <a:pt x="5852340" y="5052378"/>
                  <a:pt x="5850567" y="5053648"/>
                </a:cubicBezTo>
                <a:cubicBezTo>
                  <a:pt x="5848793" y="5054600"/>
                  <a:pt x="5847020" y="5055870"/>
                  <a:pt x="5845247" y="5056823"/>
                </a:cubicBezTo>
                <a:lnTo>
                  <a:pt x="5839926" y="5059680"/>
                </a:lnTo>
                <a:cubicBezTo>
                  <a:pt x="5838153" y="5060633"/>
                  <a:pt x="5836084" y="5061585"/>
                  <a:pt x="5834311" y="5062538"/>
                </a:cubicBezTo>
                <a:cubicBezTo>
                  <a:pt x="5832537" y="5063173"/>
                  <a:pt x="5830468" y="5064125"/>
                  <a:pt x="5828695" y="5064760"/>
                </a:cubicBezTo>
                <a:cubicBezTo>
                  <a:pt x="5826922" y="5065395"/>
                  <a:pt x="5825148" y="5066348"/>
                  <a:pt x="5823375" y="5066983"/>
                </a:cubicBezTo>
                <a:cubicBezTo>
                  <a:pt x="5821305" y="5067618"/>
                  <a:pt x="5819532" y="5068570"/>
                  <a:pt x="5817463" y="5069205"/>
                </a:cubicBezTo>
                <a:cubicBezTo>
                  <a:pt x="5815394" y="5069523"/>
                  <a:pt x="5813620" y="5070158"/>
                  <a:pt x="5811552" y="5070475"/>
                </a:cubicBezTo>
                <a:lnTo>
                  <a:pt x="5805640" y="5071428"/>
                </a:lnTo>
                <a:cubicBezTo>
                  <a:pt x="5803866" y="5071745"/>
                  <a:pt x="5801797" y="5072380"/>
                  <a:pt x="5800024" y="5072698"/>
                </a:cubicBezTo>
                <a:cubicBezTo>
                  <a:pt x="5797955" y="5073015"/>
                  <a:pt x="5795886" y="5073015"/>
                  <a:pt x="5793817" y="5073333"/>
                </a:cubicBezTo>
                <a:cubicBezTo>
                  <a:pt x="5791748" y="5073333"/>
                  <a:pt x="5789679" y="5073650"/>
                  <a:pt x="5787610" y="5073650"/>
                </a:cubicBezTo>
                <a:cubicBezTo>
                  <a:pt x="5785836" y="5073650"/>
                  <a:pt x="5783767" y="5073968"/>
                  <a:pt x="5781994" y="5073968"/>
                </a:cubicBezTo>
                <a:cubicBezTo>
                  <a:pt x="5779926" y="5073968"/>
                  <a:pt x="5777857" y="5073650"/>
                  <a:pt x="5775787" y="5073650"/>
                </a:cubicBezTo>
                <a:cubicBezTo>
                  <a:pt x="5774014" y="5073650"/>
                  <a:pt x="5771945" y="5073333"/>
                  <a:pt x="5770171" y="5073333"/>
                </a:cubicBezTo>
                <a:cubicBezTo>
                  <a:pt x="5768102" y="5073015"/>
                  <a:pt x="5766033" y="5073015"/>
                  <a:pt x="5763965" y="5072698"/>
                </a:cubicBezTo>
                <a:cubicBezTo>
                  <a:pt x="5762191" y="5072380"/>
                  <a:pt x="5760122" y="5071745"/>
                  <a:pt x="5758349" y="5071428"/>
                </a:cubicBezTo>
                <a:lnTo>
                  <a:pt x="5752141" y="5070475"/>
                </a:lnTo>
                <a:cubicBezTo>
                  <a:pt x="5750368" y="5070158"/>
                  <a:pt x="5748299" y="5069523"/>
                  <a:pt x="5746526" y="5069205"/>
                </a:cubicBezTo>
                <a:cubicBezTo>
                  <a:pt x="5744457" y="5068570"/>
                  <a:pt x="5742683" y="5067618"/>
                  <a:pt x="5740614" y="5066983"/>
                </a:cubicBezTo>
                <a:cubicBezTo>
                  <a:pt x="5738840" y="5066348"/>
                  <a:pt x="5736771" y="5065395"/>
                  <a:pt x="5734998" y="5064760"/>
                </a:cubicBezTo>
                <a:cubicBezTo>
                  <a:pt x="5733225" y="5064125"/>
                  <a:pt x="5731156" y="5063173"/>
                  <a:pt x="5729382" y="5062538"/>
                </a:cubicBezTo>
                <a:cubicBezTo>
                  <a:pt x="5727609" y="5061585"/>
                  <a:pt x="5725540" y="5060633"/>
                  <a:pt x="5723767" y="5059680"/>
                </a:cubicBezTo>
                <a:lnTo>
                  <a:pt x="5718446" y="5056823"/>
                </a:lnTo>
                <a:cubicBezTo>
                  <a:pt x="5716673" y="5055870"/>
                  <a:pt x="5715195" y="5054600"/>
                  <a:pt x="5713421" y="5053648"/>
                </a:cubicBezTo>
                <a:cubicBezTo>
                  <a:pt x="5711648" y="5052378"/>
                  <a:pt x="5710170" y="5051425"/>
                  <a:pt x="5708396" y="5050155"/>
                </a:cubicBezTo>
                <a:cubicBezTo>
                  <a:pt x="5706623" y="5048885"/>
                  <a:pt x="5705145" y="5047298"/>
                  <a:pt x="5703372" y="5046028"/>
                </a:cubicBezTo>
                <a:cubicBezTo>
                  <a:pt x="5701598" y="5044758"/>
                  <a:pt x="5700120" y="5043170"/>
                  <a:pt x="5698347" y="5041900"/>
                </a:cubicBezTo>
                <a:cubicBezTo>
                  <a:pt x="5696869" y="5040313"/>
                  <a:pt x="5695096" y="5039043"/>
                  <a:pt x="5693618" y="5037455"/>
                </a:cubicBezTo>
                <a:lnTo>
                  <a:pt x="5598148" y="4941888"/>
                </a:lnTo>
                <a:lnTo>
                  <a:pt x="5490560" y="4834573"/>
                </a:lnTo>
                <a:cubicBezTo>
                  <a:pt x="5489081" y="4832985"/>
                  <a:pt x="5487308" y="4831715"/>
                  <a:pt x="5485830" y="4830128"/>
                </a:cubicBezTo>
                <a:cubicBezTo>
                  <a:pt x="5484352" y="4828858"/>
                  <a:pt x="5482874" y="4827270"/>
                  <a:pt x="5481397" y="4826000"/>
                </a:cubicBezTo>
                <a:cubicBezTo>
                  <a:pt x="5479623" y="4824730"/>
                  <a:pt x="5478146" y="4823143"/>
                  <a:pt x="5476372" y="4821873"/>
                </a:cubicBezTo>
                <a:cubicBezTo>
                  <a:pt x="5474599" y="4820603"/>
                  <a:pt x="5473121" y="4819650"/>
                  <a:pt x="5471348" y="4818380"/>
                </a:cubicBezTo>
                <a:cubicBezTo>
                  <a:pt x="5469574" y="4817428"/>
                  <a:pt x="5467505" y="4816158"/>
                  <a:pt x="5465732" y="4815205"/>
                </a:cubicBezTo>
                <a:lnTo>
                  <a:pt x="5460411" y="4812348"/>
                </a:lnTo>
                <a:cubicBezTo>
                  <a:pt x="5458638" y="4811395"/>
                  <a:pt x="5456864" y="4810125"/>
                  <a:pt x="5455091" y="4809173"/>
                </a:cubicBezTo>
                <a:cubicBezTo>
                  <a:pt x="5453317" y="4808538"/>
                  <a:pt x="5451248" y="4807903"/>
                  <a:pt x="5449475" y="4807268"/>
                </a:cubicBezTo>
                <a:cubicBezTo>
                  <a:pt x="5447406" y="4806633"/>
                  <a:pt x="5445632" y="4805680"/>
                  <a:pt x="5443563" y="4805045"/>
                </a:cubicBezTo>
                <a:cubicBezTo>
                  <a:pt x="5441790" y="4804410"/>
                  <a:pt x="5439721" y="4803458"/>
                  <a:pt x="5437948" y="4802823"/>
                </a:cubicBezTo>
                <a:cubicBezTo>
                  <a:pt x="5435879" y="4802505"/>
                  <a:pt x="5434105" y="4801870"/>
                  <a:pt x="5432036" y="4801553"/>
                </a:cubicBezTo>
                <a:cubicBezTo>
                  <a:pt x="5430262" y="4801235"/>
                  <a:pt x="5428193" y="4800600"/>
                  <a:pt x="5426420" y="4800283"/>
                </a:cubicBezTo>
                <a:lnTo>
                  <a:pt x="5420509" y="4799330"/>
                </a:lnTo>
                <a:cubicBezTo>
                  <a:pt x="5418440" y="4799013"/>
                  <a:pt x="5416667" y="4799013"/>
                  <a:pt x="5414597" y="4798695"/>
                </a:cubicBezTo>
                <a:cubicBezTo>
                  <a:pt x="5412528" y="4798378"/>
                  <a:pt x="5410459" y="4798378"/>
                  <a:pt x="5408391" y="4798060"/>
                </a:cubicBezTo>
                <a:cubicBezTo>
                  <a:pt x="5406617" y="4798060"/>
                  <a:pt x="5404548" y="4797743"/>
                  <a:pt x="5402775" y="4797743"/>
                </a:cubicBezTo>
                <a:cubicBezTo>
                  <a:pt x="5400706" y="4797743"/>
                  <a:pt x="5398637" y="4798060"/>
                  <a:pt x="5396568" y="4798060"/>
                </a:cubicBezTo>
                <a:cubicBezTo>
                  <a:pt x="5394499" y="4798378"/>
                  <a:pt x="5392430" y="4798378"/>
                  <a:pt x="5390361" y="4798695"/>
                </a:cubicBezTo>
                <a:cubicBezTo>
                  <a:pt x="5388587" y="4799013"/>
                  <a:pt x="5386518" y="4799013"/>
                  <a:pt x="5384745" y="4799330"/>
                </a:cubicBezTo>
                <a:lnTo>
                  <a:pt x="5378538" y="4800283"/>
                </a:lnTo>
                <a:cubicBezTo>
                  <a:pt x="5376764" y="4800600"/>
                  <a:pt x="5374695" y="4801235"/>
                  <a:pt x="5372922" y="4801553"/>
                </a:cubicBezTo>
                <a:cubicBezTo>
                  <a:pt x="5370853" y="4801870"/>
                  <a:pt x="5369079" y="4802505"/>
                  <a:pt x="5367010" y="4802823"/>
                </a:cubicBezTo>
                <a:cubicBezTo>
                  <a:pt x="5365237" y="4803458"/>
                  <a:pt x="5363168" y="4804410"/>
                  <a:pt x="5361394" y="4805045"/>
                </a:cubicBezTo>
                <a:cubicBezTo>
                  <a:pt x="5359325" y="4805680"/>
                  <a:pt x="5357552" y="4806633"/>
                  <a:pt x="5355483" y="4807268"/>
                </a:cubicBezTo>
                <a:lnTo>
                  <a:pt x="5350163" y="4809173"/>
                </a:lnTo>
                <a:cubicBezTo>
                  <a:pt x="5348389" y="4810125"/>
                  <a:pt x="5346320" y="4811395"/>
                  <a:pt x="5344547" y="4812348"/>
                </a:cubicBezTo>
                <a:cubicBezTo>
                  <a:pt x="5342773" y="4813300"/>
                  <a:pt x="5340704" y="4814253"/>
                  <a:pt x="5338931" y="4815205"/>
                </a:cubicBezTo>
                <a:cubicBezTo>
                  <a:pt x="5337158" y="4816158"/>
                  <a:pt x="5335680" y="4817428"/>
                  <a:pt x="5333906" y="4818380"/>
                </a:cubicBezTo>
                <a:cubicBezTo>
                  <a:pt x="5332133" y="4819650"/>
                  <a:pt x="5330655" y="4820603"/>
                  <a:pt x="5328881" y="4821873"/>
                </a:cubicBezTo>
                <a:cubicBezTo>
                  <a:pt x="5327108" y="4823143"/>
                  <a:pt x="5325630" y="4824730"/>
                  <a:pt x="5323857" y="4826000"/>
                </a:cubicBezTo>
                <a:cubicBezTo>
                  <a:pt x="5322083" y="4827270"/>
                  <a:pt x="5320605" y="4828858"/>
                  <a:pt x="5318832" y="4830128"/>
                </a:cubicBezTo>
                <a:cubicBezTo>
                  <a:pt x="5317354" y="4831715"/>
                  <a:pt x="5315876" y="4832985"/>
                  <a:pt x="5314398" y="4834573"/>
                </a:cubicBezTo>
                <a:cubicBezTo>
                  <a:pt x="5312034" y="4837113"/>
                  <a:pt x="5309669" y="4839335"/>
                  <a:pt x="5307305" y="4841875"/>
                </a:cubicBezTo>
                <a:cubicBezTo>
                  <a:pt x="5305236" y="4844415"/>
                  <a:pt x="5303462" y="4847273"/>
                  <a:pt x="5301393" y="4849813"/>
                </a:cubicBezTo>
                <a:cubicBezTo>
                  <a:pt x="5299324" y="4852670"/>
                  <a:pt x="5297551" y="4855210"/>
                  <a:pt x="5295482" y="4858068"/>
                </a:cubicBezTo>
                <a:cubicBezTo>
                  <a:pt x="5294004" y="4861243"/>
                  <a:pt x="5292526" y="4864100"/>
                  <a:pt x="5291048" y="4867275"/>
                </a:cubicBezTo>
                <a:cubicBezTo>
                  <a:pt x="5289570" y="4870133"/>
                  <a:pt x="5288388" y="4872990"/>
                  <a:pt x="5286910" y="4875848"/>
                </a:cubicBezTo>
                <a:cubicBezTo>
                  <a:pt x="5285728" y="4879023"/>
                  <a:pt x="5284841" y="4881880"/>
                  <a:pt x="5283659" y="4885055"/>
                </a:cubicBezTo>
                <a:cubicBezTo>
                  <a:pt x="5282772" y="4888230"/>
                  <a:pt x="5282181" y="4891405"/>
                  <a:pt x="5281294" y="4894580"/>
                </a:cubicBezTo>
                <a:cubicBezTo>
                  <a:pt x="5280703" y="4897755"/>
                  <a:pt x="5280112" y="4900613"/>
                  <a:pt x="5279521" y="4903788"/>
                </a:cubicBezTo>
                <a:cubicBezTo>
                  <a:pt x="5279225" y="4906963"/>
                  <a:pt x="5278634" y="4910455"/>
                  <a:pt x="5278339" y="4913630"/>
                </a:cubicBezTo>
                <a:lnTo>
                  <a:pt x="5278339" y="4923155"/>
                </a:lnTo>
                <a:cubicBezTo>
                  <a:pt x="5278339" y="4926330"/>
                  <a:pt x="5278634" y="4929823"/>
                  <a:pt x="5278634" y="4932998"/>
                </a:cubicBezTo>
                <a:cubicBezTo>
                  <a:pt x="5278930" y="4936173"/>
                  <a:pt x="5279521" y="4939030"/>
                  <a:pt x="5279816" y="4942205"/>
                </a:cubicBezTo>
                <a:cubicBezTo>
                  <a:pt x="5280408" y="4945380"/>
                  <a:pt x="5281294" y="4948873"/>
                  <a:pt x="5281885" y="4952048"/>
                </a:cubicBezTo>
                <a:cubicBezTo>
                  <a:pt x="5282772" y="4954905"/>
                  <a:pt x="5283659" y="4958080"/>
                  <a:pt x="5284546" y="4960938"/>
                </a:cubicBezTo>
                <a:cubicBezTo>
                  <a:pt x="5285728" y="4964113"/>
                  <a:pt x="5286910" y="4966970"/>
                  <a:pt x="5288092" y="4970145"/>
                </a:cubicBezTo>
                <a:cubicBezTo>
                  <a:pt x="5289275" y="4973320"/>
                  <a:pt x="5290753" y="4976178"/>
                  <a:pt x="5291935" y="4979353"/>
                </a:cubicBezTo>
                <a:lnTo>
                  <a:pt x="5583665" y="5270500"/>
                </a:lnTo>
                <a:lnTo>
                  <a:pt x="5588098" y="5275263"/>
                </a:lnTo>
                <a:cubicBezTo>
                  <a:pt x="5589576" y="5276850"/>
                  <a:pt x="5590758" y="5278755"/>
                  <a:pt x="5592237" y="5280343"/>
                </a:cubicBezTo>
                <a:cubicBezTo>
                  <a:pt x="5593419" y="5281930"/>
                  <a:pt x="5594601" y="5283200"/>
                  <a:pt x="5595784" y="5284788"/>
                </a:cubicBezTo>
                <a:cubicBezTo>
                  <a:pt x="5596965" y="5286693"/>
                  <a:pt x="5598443" y="5288280"/>
                  <a:pt x="5599626" y="5290185"/>
                </a:cubicBezTo>
                <a:cubicBezTo>
                  <a:pt x="5600512" y="5291773"/>
                  <a:pt x="5601695" y="5293678"/>
                  <a:pt x="5602582" y="5295265"/>
                </a:cubicBezTo>
                <a:cubicBezTo>
                  <a:pt x="5603764" y="5297170"/>
                  <a:pt x="5604651" y="5298758"/>
                  <a:pt x="5605833" y="5300663"/>
                </a:cubicBezTo>
                <a:cubicBezTo>
                  <a:pt x="5606719" y="5302568"/>
                  <a:pt x="5607607" y="5304155"/>
                  <a:pt x="5608493" y="5306060"/>
                </a:cubicBezTo>
                <a:cubicBezTo>
                  <a:pt x="5609380" y="5307965"/>
                  <a:pt x="5609971" y="5309870"/>
                  <a:pt x="5610857" y="5311775"/>
                </a:cubicBezTo>
                <a:cubicBezTo>
                  <a:pt x="5611745" y="5313680"/>
                  <a:pt x="5612335" y="5315585"/>
                  <a:pt x="5613222" y="5317490"/>
                </a:cubicBezTo>
                <a:cubicBezTo>
                  <a:pt x="5613813" y="5319395"/>
                  <a:pt x="5614404" y="5321618"/>
                  <a:pt x="5614996" y="5323523"/>
                </a:cubicBezTo>
                <a:cubicBezTo>
                  <a:pt x="5615587" y="5325428"/>
                  <a:pt x="5615882" y="5327333"/>
                  <a:pt x="5616474" y="5329238"/>
                </a:cubicBezTo>
                <a:cubicBezTo>
                  <a:pt x="5616769" y="5331143"/>
                  <a:pt x="5617360" y="5333048"/>
                  <a:pt x="5617656" y="5334953"/>
                </a:cubicBezTo>
                <a:cubicBezTo>
                  <a:pt x="5617951" y="5336858"/>
                  <a:pt x="5618543" y="5339080"/>
                  <a:pt x="5618838" y="5340985"/>
                </a:cubicBezTo>
                <a:lnTo>
                  <a:pt x="5619725" y="5346700"/>
                </a:lnTo>
                <a:cubicBezTo>
                  <a:pt x="5619725" y="5348605"/>
                  <a:pt x="5620021" y="5350828"/>
                  <a:pt x="5620021" y="5352733"/>
                </a:cubicBezTo>
                <a:lnTo>
                  <a:pt x="5620021" y="5359083"/>
                </a:lnTo>
                <a:lnTo>
                  <a:pt x="5620021" y="5364798"/>
                </a:lnTo>
                <a:cubicBezTo>
                  <a:pt x="5620021" y="5366703"/>
                  <a:pt x="5619725" y="5368925"/>
                  <a:pt x="5619725" y="5370830"/>
                </a:cubicBezTo>
                <a:lnTo>
                  <a:pt x="5618838" y="5376545"/>
                </a:lnTo>
                <a:cubicBezTo>
                  <a:pt x="5618543" y="5378450"/>
                  <a:pt x="5617951" y="5380673"/>
                  <a:pt x="5617656" y="5382578"/>
                </a:cubicBezTo>
                <a:cubicBezTo>
                  <a:pt x="5617360" y="5384483"/>
                  <a:pt x="5616769" y="5386388"/>
                  <a:pt x="5616474" y="5388293"/>
                </a:cubicBezTo>
                <a:cubicBezTo>
                  <a:pt x="5615882" y="5390198"/>
                  <a:pt x="5615587" y="5392103"/>
                  <a:pt x="5614996" y="5394008"/>
                </a:cubicBezTo>
                <a:cubicBezTo>
                  <a:pt x="5614404" y="5395913"/>
                  <a:pt x="5613813" y="5398135"/>
                  <a:pt x="5613222" y="5400040"/>
                </a:cubicBezTo>
                <a:cubicBezTo>
                  <a:pt x="5612335" y="5401945"/>
                  <a:pt x="5611745" y="5403850"/>
                  <a:pt x="5610857" y="5405755"/>
                </a:cubicBezTo>
                <a:cubicBezTo>
                  <a:pt x="5609971" y="5407660"/>
                  <a:pt x="5609380" y="5409565"/>
                  <a:pt x="5608493" y="5411470"/>
                </a:cubicBezTo>
                <a:cubicBezTo>
                  <a:pt x="5607607" y="5413375"/>
                  <a:pt x="5606719" y="5414963"/>
                  <a:pt x="5605833" y="5416868"/>
                </a:cubicBezTo>
                <a:cubicBezTo>
                  <a:pt x="5604651" y="5418773"/>
                  <a:pt x="5603764" y="5420360"/>
                  <a:pt x="5602582" y="5422265"/>
                </a:cubicBezTo>
                <a:cubicBezTo>
                  <a:pt x="5601695" y="5424170"/>
                  <a:pt x="5600512" y="5425758"/>
                  <a:pt x="5599626" y="5427663"/>
                </a:cubicBezTo>
                <a:cubicBezTo>
                  <a:pt x="5598443" y="5429250"/>
                  <a:pt x="5596965" y="5431155"/>
                  <a:pt x="5595784" y="5432743"/>
                </a:cubicBezTo>
                <a:lnTo>
                  <a:pt x="5592237" y="5437505"/>
                </a:lnTo>
                <a:cubicBezTo>
                  <a:pt x="5590758" y="5439093"/>
                  <a:pt x="5589576" y="5440680"/>
                  <a:pt x="5588098" y="5442268"/>
                </a:cubicBezTo>
                <a:lnTo>
                  <a:pt x="5583665" y="5447030"/>
                </a:lnTo>
                <a:cubicBezTo>
                  <a:pt x="5582187" y="5448300"/>
                  <a:pt x="5580413" y="5449888"/>
                  <a:pt x="5578936" y="5451158"/>
                </a:cubicBezTo>
                <a:lnTo>
                  <a:pt x="5573911" y="5455603"/>
                </a:lnTo>
                <a:cubicBezTo>
                  <a:pt x="5572433" y="5456873"/>
                  <a:pt x="5570660" y="5457825"/>
                  <a:pt x="5569182" y="5459095"/>
                </a:cubicBezTo>
                <a:lnTo>
                  <a:pt x="5563862" y="5462905"/>
                </a:lnTo>
                <a:cubicBezTo>
                  <a:pt x="5562088" y="5463858"/>
                  <a:pt x="5560611" y="5465128"/>
                  <a:pt x="5558837" y="5466080"/>
                </a:cubicBezTo>
                <a:cubicBezTo>
                  <a:pt x="5557064" y="5467033"/>
                  <a:pt x="5555290" y="5468303"/>
                  <a:pt x="5553517" y="5469255"/>
                </a:cubicBezTo>
                <a:cubicBezTo>
                  <a:pt x="5551743" y="5470208"/>
                  <a:pt x="5549970" y="5470843"/>
                  <a:pt x="5548196" y="5471795"/>
                </a:cubicBezTo>
                <a:cubicBezTo>
                  <a:pt x="5546127" y="5472748"/>
                  <a:pt x="5544354" y="5473383"/>
                  <a:pt x="5542285" y="5474335"/>
                </a:cubicBezTo>
                <a:cubicBezTo>
                  <a:pt x="5540511" y="5474970"/>
                  <a:pt x="5538738" y="5475923"/>
                  <a:pt x="5536964" y="5476558"/>
                </a:cubicBezTo>
                <a:cubicBezTo>
                  <a:pt x="5535191" y="5477193"/>
                  <a:pt x="5533122" y="5477510"/>
                  <a:pt x="5531348" y="5478145"/>
                </a:cubicBezTo>
                <a:cubicBezTo>
                  <a:pt x="5529280" y="5478780"/>
                  <a:pt x="5527506" y="5479098"/>
                  <a:pt x="5525437" y="5479733"/>
                </a:cubicBezTo>
                <a:cubicBezTo>
                  <a:pt x="5523368" y="5480050"/>
                  <a:pt x="5521299" y="5480685"/>
                  <a:pt x="5519230" y="5481003"/>
                </a:cubicBezTo>
                <a:cubicBezTo>
                  <a:pt x="5517456" y="5481320"/>
                  <a:pt x="5515387" y="5481955"/>
                  <a:pt x="5513614" y="5482273"/>
                </a:cubicBezTo>
                <a:cubicBezTo>
                  <a:pt x="5511841" y="5482590"/>
                  <a:pt x="5509772" y="5482590"/>
                  <a:pt x="5507999" y="5482908"/>
                </a:cubicBezTo>
                <a:cubicBezTo>
                  <a:pt x="5505930" y="5482908"/>
                  <a:pt x="5503860" y="5483225"/>
                  <a:pt x="5501791" y="5483225"/>
                </a:cubicBezTo>
                <a:cubicBezTo>
                  <a:pt x="5499722" y="5483225"/>
                  <a:pt x="5497654" y="5483543"/>
                  <a:pt x="5495585" y="5483543"/>
                </a:cubicBezTo>
                <a:lnTo>
                  <a:pt x="6873545" y="6858000"/>
                </a:lnTo>
                <a:lnTo>
                  <a:pt x="9595474" y="6858000"/>
                </a:lnTo>
                <a:lnTo>
                  <a:pt x="9595474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  <a:noAutofit/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140A11-F0F1-4B9B-8AE2-B06F806C415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5855116" y="0"/>
            <a:ext cx="11213685" cy="9601200"/>
          </a:xfrm>
          <a:custGeom>
            <a:avLst/>
            <a:gdLst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004395 w 8009775"/>
              <a:gd name="connsiteY73" fmla="*/ 6858000 h 6858001"/>
              <a:gd name="connsiteX74" fmla="*/ 7004396 w 8009775"/>
              <a:gd name="connsiteY74" fmla="*/ 6858001 h 6858001"/>
              <a:gd name="connsiteX75" fmla="*/ 7099646 w 8009775"/>
              <a:gd name="connsiteY75" fmla="*/ 6858001 h 6858001"/>
              <a:gd name="connsiteX76" fmla="*/ 7147271 w 8009775"/>
              <a:gd name="connsiteY76" fmla="*/ 6858001 h 6858001"/>
              <a:gd name="connsiteX77" fmla="*/ 7364776 w 8009775"/>
              <a:gd name="connsiteY77" fmla="*/ 6858001 h 6858001"/>
              <a:gd name="connsiteX78" fmla="*/ 7460026 w 8009775"/>
              <a:gd name="connsiteY78" fmla="*/ 6858001 h 6858001"/>
              <a:gd name="connsiteX79" fmla="*/ 7507651 w 8009775"/>
              <a:gd name="connsiteY79" fmla="*/ 6858001 h 6858001"/>
              <a:gd name="connsiteX80" fmla="*/ 7507650 w 8009775"/>
              <a:gd name="connsiteY80" fmla="*/ 6858000 h 6858001"/>
              <a:gd name="connsiteX81" fmla="*/ 8009775 w 8009775"/>
              <a:gd name="connsiteY81" fmla="*/ 6858000 h 6858001"/>
              <a:gd name="connsiteX82" fmla="*/ 3996316 w 8009775"/>
              <a:gd name="connsiteY82" fmla="*/ 2818448 h 6858001"/>
              <a:gd name="connsiteX83" fmla="*/ 3980947 w 8009775"/>
              <a:gd name="connsiteY83" fmla="*/ 2804795 h 6858001"/>
              <a:gd name="connsiteX84" fmla="*/ 3965282 w 8009775"/>
              <a:gd name="connsiteY84" fmla="*/ 2791144 h 6858001"/>
              <a:gd name="connsiteX85" fmla="*/ 3950799 w 8009775"/>
              <a:gd name="connsiteY85" fmla="*/ 2776856 h 6858001"/>
              <a:gd name="connsiteX86" fmla="*/ 3936021 w 8009775"/>
              <a:gd name="connsiteY86" fmla="*/ 2762568 h 6858001"/>
              <a:gd name="connsiteX87" fmla="*/ 3001744 w 8009775"/>
              <a:gd name="connsiteY87" fmla="*/ 1828166 h 6858001"/>
              <a:gd name="connsiteX88" fmla="*/ 2997311 w 8009775"/>
              <a:gd name="connsiteY88" fmla="*/ 1823404 h 6858001"/>
              <a:gd name="connsiteX89" fmla="*/ 2992878 w 8009775"/>
              <a:gd name="connsiteY89" fmla="*/ 1818640 h 6858001"/>
              <a:gd name="connsiteX90" fmla="*/ 2989331 w 8009775"/>
              <a:gd name="connsiteY90" fmla="*/ 1814195 h 6858001"/>
              <a:gd name="connsiteX91" fmla="*/ 2985784 w 8009775"/>
              <a:gd name="connsiteY91" fmla="*/ 1808799 h 6858001"/>
              <a:gd name="connsiteX92" fmla="*/ 2982533 w 8009775"/>
              <a:gd name="connsiteY92" fmla="*/ 1803718 h 6858001"/>
              <a:gd name="connsiteX93" fmla="*/ 2979873 w 8009775"/>
              <a:gd name="connsiteY93" fmla="*/ 1798321 h 6858001"/>
              <a:gd name="connsiteX94" fmla="*/ 2976917 w 8009775"/>
              <a:gd name="connsiteY94" fmla="*/ 1792924 h 6858001"/>
              <a:gd name="connsiteX95" fmla="*/ 2974552 w 8009775"/>
              <a:gd name="connsiteY95" fmla="*/ 1787526 h 6858001"/>
              <a:gd name="connsiteX96" fmla="*/ 2972484 w 8009775"/>
              <a:gd name="connsiteY96" fmla="*/ 1781811 h 6858001"/>
              <a:gd name="connsiteX97" fmla="*/ 2970710 w 8009775"/>
              <a:gd name="connsiteY97" fmla="*/ 1776095 h 6858001"/>
              <a:gd name="connsiteX98" fmla="*/ 2968937 w 8009775"/>
              <a:gd name="connsiteY98" fmla="*/ 1770380 h 6858001"/>
              <a:gd name="connsiteX99" fmla="*/ 2967755 w 8009775"/>
              <a:gd name="connsiteY99" fmla="*/ 1764665 h 6858001"/>
              <a:gd name="connsiteX100" fmla="*/ 2966868 w 8009775"/>
              <a:gd name="connsiteY100" fmla="*/ 1758634 h 6858001"/>
              <a:gd name="connsiteX101" fmla="*/ 2965981 w 8009775"/>
              <a:gd name="connsiteY101" fmla="*/ 1752919 h 6858001"/>
              <a:gd name="connsiteX102" fmla="*/ 2965686 w 8009775"/>
              <a:gd name="connsiteY102" fmla="*/ 1746885 h 6858001"/>
              <a:gd name="connsiteX103" fmla="*/ 2965686 w 8009775"/>
              <a:gd name="connsiteY103" fmla="*/ 1741170 h 6858001"/>
              <a:gd name="connsiteX104" fmla="*/ 2965686 w 8009775"/>
              <a:gd name="connsiteY104" fmla="*/ 1735139 h 6858001"/>
              <a:gd name="connsiteX105" fmla="*/ 2965981 w 8009775"/>
              <a:gd name="connsiteY105" fmla="*/ 1729424 h 6858001"/>
              <a:gd name="connsiteX106" fmla="*/ 2966868 w 8009775"/>
              <a:gd name="connsiteY106" fmla="*/ 1723074 h 6858001"/>
              <a:gd name="connsiteX107" fmla="*/ 2967755 w 8009775"/>
              <a:gd name="connsiteY107" fmla="*/ 1717358 h 6858001"/>
              <a:gd name="connsiteX108" fmla="*/ 2968937 w 8009775"/>
              <a:gd name="connsiteY108" fmla="*/ 1711643 h 6858001"/>
              <a:gd name="connsiteX109" fmla="*/ 2970710 w 8009775"/>
              <a:gd name="connsiteY109" fmla="*/ 1705929 h 6858001"/>
              <a:gd name="connsiteX110" fmla="*/ 2972484 w 8009775"/>
              <a:gd name="connsiteY110" fmla="*/ 1700214 h 6858001"/>
              <a:gd name="connsiteX111" fmla="*/ 2974552 w 8009775"/>
              <a:gd name="connsiteY111" fmla="*/ 1694816 h 6858001"/>
              <a:gd name="connsiteX112" fmla="*/ 2976917 w 8009775"/>
              <a:gd name="connsiteY112" fmla="*/ 1689101 h 6858001"/>
              <a:gd name="connsiteX113" fmla="*/ 2979873 w 8009775"/>
              <a:gd name="connsiteY113" fmla="*/ 1683703 h 6858001"/>
              <a:gd name="connsiteX114" fmla="*/ 2982533 w 8009775"/>
              <a:gd name="connsiteY114" fmla="*/ 1678305 h 6858001"/>
              <a:gd name="connsiteX115" fmla="*/ 2985784 w 8009775"/>
              <a:gd name="connsiteY115" fmla="*/ 1673226 h 6858001"/>
              <a:gd name="connsiteX116" fmla="*/ 2989331 w 8009775"/>
              <a:gd name="connsiteY116" fmla="*/ 1668145 h 6858001"/>
              <a:gd name="connsiteX117" fmla="*/ 2992878 w 8009775"/>
              <a:gd name="connsiteY117" fmla="*/ 1663066 h 6858001"/>
              <a:gd name="connsiteX118" fmla="*/ 2997311 w 8009775"/>
              <a:gd name="connsiteY118" fmla="*/ 1658621 h 6858001"/>
              <a:gd name="connsiteX119" fmla="*/ 3001744 w 8009775"/>
              <a:gd name="connsiteY119" fmla="*/ 1653859 h 6858001"/>
              <a:gd name="connsiteX120" fmla="*/ 3006178 w 8009775"/>
              <a:gd name="connsiteY120" fmla="*/ 1649414 h 6858001"/>
              <a:gd name="connsiteX121" fmla="*/ 3010907 w 8009775"/>
              <a:gd name="connsiteY121" fmla="*/ 1645603 h 6858001"/>
              <a:gd name="connsiteX122" fmla="*/ 3015932 w 8009775"/>
              <a:gd name="connsiteY122" fmla="*/ 1641794 h 6858001"/>
              <a:gd name="connsiteX123" fmla="*/ 3020956 w 8009775"/>
              <a:gd name="connsiteY123" fmla="*/ 1637984 h 6858001"/>
              <a:gd name="connsiteX124" fmla="*/ 3025981 w 8009775"/>
              <a:gd name="connsiteY124" fmla="*/ 1634809 h 6858001"/>
              <a:gd name="connsiteX125" fmla="*/ 3031596 w 8009775"/>
              <a:gd name="connsiteY125" fmla="*/ 1631950 h 6858001"/>
              <a:gd name="connsiteX126" fmla="*/ 3036916 w 8009775"/>
              <a:gd name="connsiteY126" fmla="*/ 1629094 h 6858001"/>
              <a:gd name="connsiteX127" fmla="*/ 3042532 w 8009775"/>
              <a:gd name="connsiteY127" fmla="*/ 1626871 h 6858001"/>
              <a:gd name="connsiteX128" fmla="*/ 3047852 w 8009775"/>
              <a:gd name="connsiteY128" fmla="*/ 1624649 h 6858001"/>
              <a:gd name="connsiteX129" fmla="*/ 3053764 w 8009775"/>
              <a:gd name="connsiteY129" fmla="*/ 1623061 h 6858001"/>
              <a:gd name="connsiteX130" fmla="*/ 3059379 w 8009775"/>
              <a:gd name="connsiteY130" fmla="*/ 1621155 h 6858001"/>
              <a:gd name="connsiteX131" fmla="*/ 3065291 w 8009775"/>
              <a:gd name="connsiteY131" fmla="*/ 1620204 h 6858001"/>
              <a:gd name="connsiteX132" fmla="*/ 3070906 w 8009775"/>
              <a:gd name="connsiteY132" fmla="*/ 1618934 h 6858001"/>
              <a:gd name="connsiteX133" fmla="*/ 3077113 w 8009775"/>
              <a:gd name="connsiteY133" fmla="*/ 1618299 h 6858001"/>
              <a:gd name="connsiteX134" fmla="*/ 3082729 w 8009775"/>
              <a:gd name="connsiteY134" fmla="*/ 1617981 h 6858001"/>
              <a:gd name="connsiteX135" fmla="*/ 3088936 w 8009775"/>
              <a:gd name="connsiteY135" fmla="*/ 1617981 h 6858001"/>
              <a:gd name="connsiteX136" fmla="*/ 3094552 w 8009775"/>
              <a:gd name="connsiteY136" fmla="*/ 1617981 h 6858001"/>
              <a:gd name="connsiteX137" fmla="*/ 3100758 w 8009775"/>
              <a:gd name="connsiteY137" fmla="*/ 1618299 h 6858001"/>
              <a:gd name="connsiteX138" fmla="*/ 3106670 w 8009775"/>
              <a:gd name="connsiteY138" fmla="*/ 1618934 h 6858001"/>
              <a:gd name="connsiteX139" fmla="*/ 3112285 w 8009775"/>
              <a:gd name="connsiteY139" fmla="*/ 1620204 h 6858001"/>
              <a:gd name="connsiteX140" fmla="*/ 3117901 w 8009775"/>
              <a:gd name="connsiteY140" fmla="*/ 1621155 h 6858001"/>
              <a:gd name="connsiteX141" fmla="*/ 3123812 w 8009775"/>
              <a:gd name="connsiteY141" fmla="*/ 1623061 h 6858001"/>
              <a:gd name="connsiteX142" fmla="*/ 3129428 w 8009775"/>
              <a:gd name="connsiteY142" fmla="*/ 1624649 h 6858001"/>
              <a:gd name="connsiteX143" fmla="*/ 3135339 w 8009775"/>
              <a:gd name="connsiteY143" fmla="*/ 1626871 h 6858001"/>
              <a:gd name="connsiteX144" fmla="*/ 3140660 w 8009775"/>
              <a:gd name="connsiteY144" fmla="*/ 1629094 h 6858001"/>
              <a:gd name="connsiteX145" fmla="*/ 3145980 w 8009775"/>
              <a:gd name="connsiteY145" fmla="*/ 1631950 h 6858001"/>
              <a:gd name="connsiteX146" fmla="*/ 3151300 w 8009775"/>
              <a:gd name="connsiteY146" fmla="*/ 1634809 h 6858001"/>
              <a:gd name="connsiteX147" fmla="*/ 3156324 w 8009775"/>
              <a:gd name="connsiteY147" fmla="*/ 1637984 h 6858001"/>
              <a:gd name="connsiteX148" fmla="*/ 3161349 w 8009775"/>
              <a:gd name="connsiteY148" fmla="*/ 1641794 h 6858001"/>
              <a:gd name="connsiteX149" fmla="*/ 3166374 w 8009775"/>
              <a:gd name="connsiteY149" fmla="*/ 1645603 h 6858001"/>
              <a:gd name="connsiteX150" fmla="*/ 3171102 w 8009775"/>
              <a:gd name="connsiteY150" fmla="*/ 1649414 h 6858001"/>
              <a:gd name="connsiteX151" fmla="*/ 3175832 w 8009775"/>
              <a:gd name="connsiteY151" fmla="*/ 1653859 h 6858001"/>
              <a:gd name="connsiteX152" fmla="*/ 3844692 w 8009775"/>
              <a:gd name="connsiteY152" fmla="*/ 2322830 h 6858001"/>
              <a:gd name="connsiteX153" fmla="*/ 3849421 w 8009775"/>
              <a:gd name="connsiteY153" fmla="*/ 2326958 h 6858001"/>
              <a:gd name="connsiteX154" fmla="*/ 3854150 w 8009775"/>
              <a:gd name="connsiteY154" fmla="*/ 2331085 h 6858001"/>
              <a:gd name="connsiteX155" fmla="*/ 3859175 w 8009775"/>
              <a:gd name="connsiteY155" fmla="*/ 2334895 h 6858001"/>
              <a:gd name="connsiteX156" fmla="*/ 3864199 w 8009775"/>
              <a:gd name="connsiteY156" fmla="*/ 2338705 h 6858001"/>
              <a:gd name="connsiteX157" fmla="*/ 3869224 w 8009775"/>
              <a:gd name="connsiteY157" fmla="*/ 2341880 h 6858001"/>
              <a:gd name="connsiteX158" fmla="*/ 3874544 w 8009775"/>
              <a:gd name="connsiteY158" fmla="*/ 2344738 h 6858001"/>
              <a:gd name="connsiteX159" fmla="*/ 3879864 w 8009775"/>
              <a:gd name="connsiteY159" fmla="*/ 2347595 h 6858001"/>
              <a:gd name="connsiteX160" fmla="*/ 3885775 w 8009775"/>
              <a:gd name="connsiteY160" fmla="*/ 2349818 h 6858001"/>
              <a:gd name="connsiteX161" fmla="*/ 3891096 w 8009775"/>
              <a:gd name="connsiteY161" fmla="*/ 2351723 h 6858001"/>
              <a:gd name="connsiteX162" fmla="*/ 3896711 w 8009775"/>
              <a:gd name="connsiteY162" fmla="*/ 2353628 h 6858001"/>
              <a:gd name="connsiteX163" fmla="*/ 3902623 w 8009775"/>
              <a:gd name="connsiteY163" fmla="*/ 2355534 h 6858001"/>
              <a:gd name="connsiteX164" fmla="*/ 3908238 w 8009775"/>
              <a:gd name="connsiteY164" fmla="*/ 2356485 h 6858001"/>
              <a:gd name="connsiteX165" fmla="*/ 3914150 w 8009775"/>
              <a:gd name="connsiteY165" fmla="*/ 2357755 h 6858001"/>
              <a:gd name="connsiteX166" fmla="*/ 3920061 w 8009775"/>
              <a:gd name="connsiteY166" fmla="*/ 2358391 h 6858001"/>
              <a:gd name="connsiteX167" fmla="*/ 3925972 w 8009775"/>
              <a:gd name="connsiteY167" fmla="*/ 2358708 h 6858001"/>
              <a:gd name="connsiteX168" fmla="*/ 3931883 w 8009775"/>
              <a:gd name="connsiteY168" fmla="*/ 2358708 h 6858001"/>
              <a:gd name="connsiteX169" fmla="*/ 3937795 w 8009775"/>
              <a:gd name="connsiteY169" fmla="*/ 2358708 h 6858001"/>
              <a:gd name="connsiteX170" fmla="*/ 3943706 w 8009775"/>
              <a:gd name="connsiteY170" fmla="*/ 2358391 h 6858001"/>
              <a:gd name="connsiteX171" fmla="*/ 3949617 w 8009775"/>
              <a:gd name="connsiteY171" fmla="*/ 2357755 h 6858001"/>
              <a:gd name="connsiteX172" fmla="*/ 3955233 w 8009775"/>
              <a:gd name="connsiteY172" fmla="*/ 2356485 h 6858001"/>
              <a:gd name="connsiteX173" fmla="*/ 3961144 w 8009775"/>
              <a:gd name="connsiteY173" fmla="*/ 2355534 h 6858001"/>
              <a:gd name="connsiteX174" fmla="*/ 3966760 w 8009775"/>
              <a:gd name="connsiteY174" fmla="*/ 2353628 h 6858001"/>
              <a:gd name="connsiteX175" fmla="*/ 3972671 w 8009775"/>
              <a:gd name="connsiteY175" fmla="*/ 2351723 h 6858001"/>
              <a:gd name="connsiteX176" fmla="*/ 3978287 w 8009775"/>
              <a:gd name="connsiteY176" fmla="*/ 2349818 h 6858001"/>
              <a:gd name="connsiteX177" fmla="*/ 3983607 w 8009775"/>
              <a:gd name="connsiteY177" fmla="*/ 2347595 h 6858001"/>
              <a:gd name="connsiteX178" fmla="*/ 3989223 w 8009775"/>
              <a:gd name="connsiteY178" fmla="*/ 2344738 h 6858001"/>
              <a:gd name="connsiteX179" fmla="*/ 3994543 w 8009775"/>
              <a:gd name="connsiteY179" fmla="*/ 2341880 h 6858001"/>
              <a:gd name="connsiteX180" fmla="*/ 3999567 w 8009775"/>
              <a:gd name="connsiteY180" fmla="*/ 2338705 h 6858001"/>
              <a:gd name="connsiteX181" fmla="*/ 4004888 w 8009775"/>
              <a:gd name="connsiteY181" fmla="*/ 2334895 h 6858001"/>
              <a:gd name="connsiteX182" fmla="*/ 4009617 w 8009775"/>
              <a:gd name="connsiteY182" fmla="*/ 2331085 h 6858001"/>
              <a:gd name="connsiteX183" fmla="*/ 4014346 w 8009775"/>
              <a:gd name="connsiteY183" fmla="*/ 2326958 h 6858001"/>
              <a:gd name="connsiteX184" fmla="*/ 4018779 w 8009775"/>
              <a:gd name="connsiteY184" fmla="*/ 2322830 h 6858001"/>
              <a:gd name="connsiteX185" fmla="*/ 4023213 w 8009775"/>
              <a:gd name="connsiteY185" fmla="*/ 2318068 h 6858001"/>
              <a:gd name="connsiteX186" fmla="*/ 4027646 w 8009775"/>
              <a:gd name="connsiteY186" fmla="*/ 2313306 h 6858001"/>
              <a:gd name="connsiteX187" fmla="*/ 4031193 w 8009775"/>
              <a:gd name="connsiteY187" fmla="*/ 2308544 h 6858001"/>
              <a:gd name="connsiteX188" fmla="*/ 4034740 w 8009775"/>
              <a:gd name="connsiteY188" fmla="*/ 2303463 h 6858001"/>
              <a:gd name="connsiteX189" fmla="*/ 4037991 w 8009775"/>
              <a:gd name="connsiteY189" fmla="*/ 2298384 h 6858001"/>
              <a:gd name="connsiteX190" fmla="*/ 4040946 w 8009775"/>
              <a:gd name="connsiteY190" fmla="*/ 2292985 h 6858001"/>
              <a:gd name="connsiteX191" fmla="*/ 4043606 w 8009775"/>
              <a:gd name="connsiteY191" fmla="*/ 2287588 h 6858001"/>
              <a:gd name="connsiteX192" fmla="*/ 4046267 w 8009775"/>
              <a:gd name="connsiteY192" fmla="*/ 2281873 h 6858001"/>
              <a:gd name="connsiteX193" fmla="*/ 4048040 w 8009775"/>
              <a:gd name="connsiteY193" fmla="*/ 2276476 h 6858001"/>
              <a:gd name="connsiteX194" fmla="*/ 4050109 w 8009775"/>
              <a:gd name="connsiteY194" fmla="*/ 2270761 h 6858001"/>
              <a:gd name="connsiteX195" fmla="*/ 4051587 w 8009775"/>
              <a:gd name="connsiteY195" fmla="*/ 2265046 h 6858001"/>
              <a:gd name="connsiteX196" fmla="*/ 4052769 w 8009775"/>
              <a:gd name="connsiteY196" fmla="*/ 2259331 h 6858001"/>
              <a:gd name="connsiteX197" fmla="*/ 4053656 w 8009775"/>
              <a:gd name="connsiteY197" fmla="*/ 2253298 h 6858001"/>
              <a:gd name="connsiteX198" fmla="*/ 4054542 w 8009775"/>
              <a:gd name="connsiteY198" fmla="*/ 2247266 h 6858001"/>
              <a:gd name="connsiteX199" fmla="*/ 4054838 w 8009775"/>
              <a:gd name="connsiteY199" fmla="*/ 2241551 h 6858001"/>
              <a:gd name="connsiteX200" fmla="*/ 4055133 w 8009775"/>
              <a:gd name="connsiteY200" fmla="*/ 2235519 h 6858001"/>
              <a:gd name="connsiteX201" fmla="*/ 4054838 w 8009775"/>
              <a:gd name="connsiteY201" fmla="*/ 2229804 h 6858001"/>
              <a:gd name="connsiteX202" fmla="*/ 4054542 w 8009775"/>
              <a:gd name="connsiteY202" fmla="*/ 2223770 h 6858001"/>
              <a:gd name="connsiteX203" fmla="*/ 4053656 w 8009775"/>
              <a:gd name="connsiteY203" fmla="*/ 2217739 h 6858001"/>
              <a:gd name="connsiteX204" fmla="*/ 4052769 w 8009775"/>
              <a:gd name="connsiteY204" fmla="*/ 2212024 h 6858001"/>
              <a:gd name="connsiteX205" fmla="*/ 4051587 w 8009775"/>
              <a:gd name="connsiteY205" fmla="*/ 2206309 h 6858001"/>
              <a:gd name="connsiteX206" fmla="*/ 4050109 w 8009775"/>
              <a:gd name="connsiteY206" fmla="*/ 2200593 h 6858001"/>
              <a:gd name="connsiteX207" fmla="*/ 4048040 w 8009775"/>
              <a:gd name="connsiteY207" fmla="*/ 2194878 h 6858001"/>
              <a:gd name="connsiteX208" fmla="*/ 4046267 w 8009775"/>
              <a:gd name="connsiteY208" fmla="*/ 2189163 h 6858001"/>
              <a:gd name="connsiteX209" fmla="*/ 4043606 w 8009775"/>
              <a:gd name="connsiteY209" fmla="*/ 2183765 h 6858001"/>
              <a:gd name="connsiteX210" fmla="*/ 4040946 w 8009775"/>
              <a:gd name="connsiteY210" fmla="*/ 2178368 h 6858001"/>
              <a:gd name="connsiteX211" fmla="*/ 4037991 w 8009775"/>
              <a:gd name="connsiteY211" fmla="*/ 2172970 h 6858001"/>
              <a:gd name="connsiteX212" fmla="*/ 4034740 w 8009775"/>
              <a:gd name="connsiteY212" fmla="*/ 2167890 h 6858001"/>
              <a:gd name="connsiteX213" fmla="*/ 4031193 w 8009775"/>
              <a:gd name="connsiteY213" fmla="*/ 2162494 h 6858001"/>
              <a:gd name="connsiteX214" fmla="*/ 4027646 w 8009775"/>
              <a:gd name="connsiteY214" fmla="*/ 2157730 h 6858001"/>
              <a:gd name="connsiteX215" fmla="*/ 4023213 w 8009775"/>
              <a:gd name="connsiteY215" fmla="*/ 2153285 h 6858001"/>
              <a:gd name="connsiteX216" fmla="*/ 4018779 w 8009775"/>
              <a:gd name="connsiteY216" fmla="*/ 2148523 h 6858001"/>
              <a:gd name="connsiteX217" fmla="*/ 3632182 w 8009775"/>
              <a:gd name="connsiteY217" fmla="*/ 1761490 h 6858001"/>
              <a:gd name="connsiteX218" fmla="*/ 3435928 w 8009775"/>
              <a:gd name="connsiteY218" fmla="*/ 1565276 h 6858001"/>
              <a:gd name="connsiteX219" fmla="*/ 3431198 w 8009775"/>
              <a:gd name="connsiteY219" fmla="*/ 1560514 h 6858001"/>
              <a:gd name="connsiteX220" fmla="*/ 3427356 w 8009775"/>
              <a:gd name="connsiteY220" fmla="*/ 1555751 h 6858001"/>
              <a:gd name="connsiteX221" fmla="*/ 3423218 w 8009775"/>
              <a:gd name="connsiteY221" fmla="*/ 1550671 h 6858001"/>
              <a:gd name="connsiteX222" fmla="*/ 3420262 w 8009775"/>
              <a:gd name="connsiteY222" fmla="*/ 1545909 h 6858001"/>
              <a:gd name="connsiteX223" fmla="*/ 3417012 w 8009775"/>
              <a:gd name="connsiteY223" fmla="*/ 1540829 h 6858001"/>
              <a:gd name="connsiteX224" fmla="*/ 3413760 w 8009775"/>
              <a:gd name="connsiteY224" fmla="*/ 1535430 h 6858001"/>
              <a:gd name="connsiteX225" fmla="*/ 3411100 w 8009775"/>
              <a:gd name="connsiteY225" fmla="*/ 1530034 h 6858001"/>
              <a:gd name="connsiteX226" fmla="*/ 3408736 w 8009775"/>
              <a:gd name="connsiteY226" fmla="*/ 1524635 h 6858001"/>
              <a:gd name="connsiteX227" fmla="*/ 3406371 w 8009775"/>
              <a:gd name="connsiteY227" fmla="*/ 1518920 h 6858001"/>
              <a:gd name="connsiteX228" fmla="*/ 3404598 w 8009775"/>
              <a:gd name="connsiteY228" fmla="*/ 1513205 h 6858001"/>
              <a:gd name="connsiteX229" fmla="*/ 3403120 w 8009775"/>
              <a:gd name="connsiteY229" fmla="*/ 1507174 h 6858001"/>
              <a:gd name="connsiteX230" fmla="*/ 3401938 w 8009775"/>
              <a:gd name="connsiteY230" fmla="*/ 1501459 h 6858001"/>
              <a:gd name="connsiteX231" fmla="*/ 3401051 w 8009775"/>
              <a:gd name="connsiteY231" fmla="*/ 1495744 h 6858001"/>
              <a:gd name="connsiteX232" fmla="*/ 3400460 w 8009775"/>
              <a:gd name="connsiteY232" fmla="*/ 1489710 h 6858001"/>
              <a:gd name="connsiteX233" fmla="*/ 3399869 w 8009775"/>
              <a:gd name="connsiteY233" fmla="*/ 1483995 h 6858001"/>
              <a:gd name="connsiteX234" fmla="*/ 3399573 w 8009775"/>
              <a:gd name="connsiteY234" fmla="*/ 1478281 h 6858001"/>
              <a:gd name="connsiteX235" fmla="*/ 3399869 w 8009775"/>
              <a:gd name="connsiteY235" fmla="*/ 1472249 h 6858001"/>
              <a:gd name="connsiteX236" fmla="*/ 3400460 w 8009775"/>
              <a:gd name="connsiteY236" fmla="*/ 1466215 h 6858001"/>
              <a:gd name="connsiteX237" fmla="*/ 3401051 w 8009775"/>
              <a:gd name="connsiteY237" fmla="*/ 1460183 h 6858001"/>
              <a:gd name="connsiteX238" fmla="*/ 3401938 w 8009775"/>
              <a:gd name="connsiteY238" fmla="*/ 1454468 h 6858001"/>
              <a:gd name="connsiteX239" fmla="*/ 3403120 w 8009775"/>
              <a:gd name="connsiteY239" fmla="*/ 1448754 h 6858001"/>
              <a:gd name="connsiteX240" fmla="*/ 3404598 w 8009775"/>
              <a:gd name="connsiteY240" fmla="*/ 1443039 h 6858001"/>
              <a:gd name="connsiteX241" fmla="*/ 3406371 w 8009775"/>
              <a:gd name="connsiteY241" fmla="*/ 1437324 h 6858001"/>
              <a:gd name="connsiteX242" fmla="*/ 3408736 w 8009775"/>
              <a:gd name="connsiteY242" fmla="*/ 1431609 h 6858001"/>
              <a:gd name="connsiteX243" fmla="*/ 3411100 w 8009775"/>
              <a:gd name="connsiteY243" fmla="*/ 1426211 h 6858001"/>
              <a:gd name="connsiteX244" fmla="*/ 3413760 w 8009775"/>
              <a:gd name="connsiteY244" fmla="*/ 1420814 h 6858001"/>
              <a:gd name="connsiteX245" fmla="*/ 3417012 w 8009775"/>
              <a:gd name="connsiteY245" fmla="*/ 1415416 h 6858001"/>
              <a:gd name="connsiteX246" fmla="*/ 3420262 w 8009775"/>
              <a:gd name="connsiteY246" fmla="*/ 1410336 h 6858001"/>
              <a:gd name="connsiteX247" fmla="*/ 3423218 w 8009775"/>
              <a:gd name="connsiteY247" fmla="*/ 1405256 h 6858001"/>
              <a:gd name="connsiteX248" fmla="*/ 3427356 w 8009775"/>
              <a:gd name="connsiteY248" fmla="*/ 1400175 h 6858001"/>
              <a:gd name="connsiteX249" fmla="*/ 3431198 w 8009775"/>
              <a:gd name="connsiteY249" fmla="*/ 1395731 h 6858001"/>
              <a:gd name="connsiteX250" fmla="*/ 3435928 w 8009775"/>
              <a:gd name="connsiteY250" fmla="*/ 1390969 h 6858001"/>
              <a:gd name="connsiteX251" fmla="*/ 3440361 w 8009775"/>
              <a:gd name="connsiteY251" fmla="*/ 1386524 h 6858001"/>
              <a:gd name="connsiteX252" fmla="*/ 3445386 w 8009775"/>
              <a:gd name="connsiteY252" fmla="*/ 1382396 h 6858001"/>
              <a:gd name="connsiteX253" fmla="*/ 3449819 w 8009775"/>
              <a:gd name="connsiteY253" fmla="*/ 1378585 h 6858001"/>
              <a:gd name="connsiteX254" fmla="*/ 3454844 w 8009775"/>
              <a:gd name="connsiteY254" fmla="*/ 1375094 h 6858001"/>
              <a:gd name="connsiteX255" fmla="*/ 3460459 w 8009775"/>
              <a:gd name="connsiteY255" fmla="*/ 1371919 h 6858001"/>
              <a:gd name="connsiteX256" fmla="*/ 3465780 w 8009775"/>
              <a:gd name="connsiteY256" fmla="*/ 1369061 h 6858001"/>
              <a:gd name="connsiteX257" fmla="*/ 3471100 w 8009775"/>
              <a:gd name="connsiteY257" fmla="*/ 1366204 h 6858001"/>
              <a:gd name="connsiteX258" fmla="*/ 3476420 w 8009775"/>
              <a:gd name="connsiteY258" fmla="*/ 1363980 h 6858001"/>
              <a:gd name="connsiteX259" fmla="*/ 3482331 w 8009775"/>
              <a:gd name="connsiteY259" fmla="*/ 1361759 h 6858001"/>
              <a:gd name="connsiteX260" fmla="*/ 3487947 w 8009775"/>
              <a:gd name="connsiteY260" fmla="*/ 1360170 h 6858001"/>
              <a:gd name="connsiteX261" fmla="*/ 3493858 w 8009775"/>
              <a:gd name="connsiteY261" fmla="*/ 1358265 h 6858001"/>
              <a:gd name="connsiteX262" fmla="*/ 3499474 w 8009775"/>
              <a:gd name="connsiteY262" fmla="*/ 1357314 h 6858001"/>
              <a:gd name="connsiteX263" fmla="*/ 3505385 w 8009775"/>
              <a:gd name="connsiteY263" fmla="*/ 1356043 h 6858001"/>
              <a:gd name="connsiteX264" fmla="*/ 3511001 w 8009775"/>
              <a:gd name="connsiteY264" fmla="*/ 1355409 h 6858001"/>
              <a:gd name="connsiteX265" fmla="*/ 3517208 w 8009775"/>
              <a:gd name="connsiteY265" fmla="*/ 1355090 h 6858001"/>
              <a:gd name="connsiteX266" fmla="*/ 3522823 w 8009775"/>
              <a:gd name="connsiteY266" fmla="*/ 1354773 h 6858001"/>
              <a:gd name="connsiteX267" fmla="*/ 3529030 w 8009775"/>
              <a:gd name="connsiteY267" fmla="*/ 1355090 h 6858001"/>
              <a:gd name="connsiteX268" fmla="*/ 3534646 w 8009775"/>
              <a:gd name="connsiteY268" fmla="*/ 1355409 h 6858001"/>
              <a:gd name="connsiteX269" fmla="*/ 3540557 w 8009775"/>
              <a:gd name="connsiteY269" fmla="*/ 1356043 h 6858001"/>
              <a:gd name="connsiteX270" fmla="*/ 3546468 w 8009775"/>
              <a:gd name="connsiteY270" fmla="*/ 1357314 h 6858001"/>
              <a:gd name="connsiteX271" fmla="*/ 3552380 w 8009775"/>
              <a:gd name="connsiteY271" fmla="*/ 1358265 h 6858001"/>
              <a:gd name="connsiteX272" fmla="*/ 3557995 w 8009775"/>
              <a:gd name="connsiteY272" fmla="*/ 1360170 h 6858001"/>
              <a:gd name="connsiteX273" fmla="*/ 3563906 w 8009775"/>
              <a:gd name="connsiteY273" fmla="*/ 1361759 h 6858001"/>
              <a:gd name="connsiteX274" fmla="*/ 3569227 w 8009775"/>
              <a:gd name="connsiteY274" fmla="*/ 1363980 h 6858001"/>
              <a:gd name="connsiteX275" fmla="*/ 3574842 w 8009775"/>
              <a:gd name="connsiteY275" fmla="*/ 1366204 h 6858001"/>
              <a:gd name="connsiteX276" fmla="*/ 3580458 w 8009775"/>
              <a:gd name="connsiteY276" fmla="*/ 1369061 h 6858001"/>
              <a:gd name="connsiteX277" fmla="*/ 3585778 w 8009775"/>
              <a:gd name="connsiteY277" fmla="*/ 1371919 h 6858001"/>
              <a:gd name="connsiteX278" fmla="*/ 3590803 w 8009775"/>
              <a:gd name="connsiteY278" fmla="*/ 1375094 h 6858001"/>
              <a:gd name="connsiteX279" fmla="*/ 3595828 w 8009775"/>
              <a:gd name="connsiteY279" fmla="*/ 1378585 h 6858001"/>
              <a:gd name="connsiteX280" fmla="*/ 3600852 w 8009775"/>
              <a:gd name="connsiteY280" fmla="*/ 1382396 h 6858001"/>
              <a:gd name="connsiteX281" fmla="*/ 3605581 w 8009775"/>
              <a:gd name="connsiteY281" fmla="*/ 1386524 h 6858001"/>
              <a:gd name="connsiteX282" fmla="*/ 3610014 w 8009775"/>
              <a:gd name="connsiteY282" fmla="*/ 1390969 h 6858001"/>
              <a:gd name="connsiteX283" fmla="*/ 3817500 w 8009775"/>
              <a:gd name="connsiteY283" fmla="*/ 1598296 h 6858001"/>
              <a:gd name="connsiteX284" fmla="*/ 3821934 w 8009775"/>
              <a:gd name="connsiteY284" fmla="*/ 1602423 h 6858001"/>
              <a:gd name="connsiteX285" fmla="*/ 3826663 w 8009775"/>
              <a:gd name="connsiteY285" fmla="*/ 1606869 h 6858001"/>
              <a:gd name="connsiteX286" fmla="*/ 3831687 w 8009775"/>
              <a:gd name="connsiteY286" fmla="*/ 1610361 h 6858001"/>
              <a:gd name="connsiteX287" fmla="*/ 3836712 w 8009775"/>
              <a:gd name="connsiteY287" fmla="*/ 1613854 h 6858001"/>
              <a:gd name="connsiteX288" fmla="*/ 3841736 w 8009775"/>
              <a:gd name="connsiteY288" fmla="*/ 1617345 h 6858001"/>
              <a:gd name="connsiteX289" fmla="*/ 3847352 w 8009775"/>
              <a:gd name="connsiteY289" fmla="*/ 1620204 h 6858001"/>
              <a:gd name="connsiteX290" fmla="*/ 3852672 w 8009775"/>
              <a:gd name="connsiteY290" fmla="*/ 1623061 h 6858001"/>
              <a:gd name="connsiteX291" fmla="*/ 3857992 w 8009775"/>
              <a:gd name="connsiteY291" fmla="*/ 1625283 h 6858001"/>
              <a:gd name="connsiteX292" fmla="*/ 3863608 w 8009775"/>
              <a:gd name="connsiteY292" fmla="*/ 1627189 h 6858001"/>
              <a:gd name="connsiteX293" fmla="*/ 3869519 w 8009775"/>
              <a:gd name="connsiteY293" fmla="*/ 1629094 h 6858001"/>
              <a:gd name="connsiteX294" fmla="*/ 3875135 w 8009775"/>
              <a:gd name="connsiteY294" fmla="*/ 1630998 h 6858001"/>
              <a:gd name="connsiteX295" fmla="*/ 3881046 w 8009775"/>
              <a:gd name="connsiteY295" fmla="*/ 1631950 h 6858001"/>
              <a:gd name="connsiteX296" fmla="*/ 3886662 w 8009775"/>
              <a:gd name="connsiteY296" fmla="*/ 1632904 h 6858001"/>
              <a:gd name="connsiteX297" fmla="*/ 3892869 w 8009775"/>
              <a:gd name="connsiteY297" fmla="*/ 1633856 h 6858001"/>
              <a:gd name="connsiteX298" fmla="*/ 3898485 w 8009775"/>
              <a:gd name="connsiteY298" fmla="*/ 1634174 h 6858001"/>
              <a:gd name="connsiteX299" fmla="*/ 3904396 w 8009775"/>
              <a:gd name="connsiteY299" fmla="*/ 1634174 h 6858001"/>
              <a:gd name="connsiteX300" fmla="*/ 3910307 w 8009775"/>
              <a:gd name="connsiteY300" fmla="*/ 1634174 h 6858001"/>
              <a:gd name="connsiteX301" fmla="*/ 3916219 w 8009775"/>
              <a:gd name="connsiteY301" fmla="*/ 1633856 h 6858001"/>
              <a:gd name="connsiteX302" fmla="*/ 3922425 w 8009775"/>
              <a:gd name="connsiteY302" fmla="*/ 1632904 h 6858001"/>
              <a:gd name="connsiteX303" fmla="*/ 3928041 w 8009775"/>
              <a:gd name="connsiteY303" fmla="*/ 1631950 h 6858001"/>
              <a:gd name="connsiteX304" fmla="*/ 3933657 w 8009775"/>
              <a:gd name="connsiteY304" fmla="*/ 1630998 h 6858001"/>
              <a:gd name="connsiteX305" fmla="*/ 3939568 w 8009775"/>
              <a:gd name="connsiteY305" fmla="*/ 1629094 h 6858001"/>
              <a:gd name="connsiteX306" fmla="*/ 3945184 w 8009775"/>
              <a:gd name="connsiteY306" fmla="*/ 1627189 h 6858001"/>
              <a:gd name="connsiteX307" fmla="*/ 3950799 w 8009775"/>
              <a:gd name="connsiteY307" fmla="*/ 1625283 h 6858001"/>
              <a:gd name="connsiteX308" fmla="*/ 3956415 w 8009775"/>
              <a:gd name="connsiteY308" fmla="*/ 1623061 h 6858001"/>
              <a:gd name="connsiteX309" fmla="*/ 3961735 w 8009775"/>
              <a:gd name="connsiteY309" fmla="*/ 1620204 h 6858001"/>
              <a:gd name="connsiteX310" fmla="*/ 3967055 w 8009775"/>
              <a:gd name="connsiteY310" fmla="*/ 1617345 h 6858001"/>
              <a:gd name="connsiteX311" fmla="*/ 3972376 w 8009775"/>
              <a:gd name="connsiteY311" fmla="*/ 1613854 h 6858001"/>
              <a:gd name="connsiteX312" fmla="*/ 3977400 w 8009775"/>
              <a:gd name="connsiteY312" fmla="*/ 1610361 h 6858001"/>
              <a:gd name="connsiteX313" fmla="*/ 3982425 w 8009775"/>
              <a:gd name="connsiteY313" fmla="*/ 1606869 h 6858001"/>
              <a:gd name="connsiteX314" fmla="*/ 3986858 w 8009775"/>
              <a:gd name="connsiteY314" fmla="*/ 1602423 h 6858001"/>
              <a:gd name="connsiteX315" fmla="*/ 3991587 w 8009775"/>
              <a:gd name="connsiteY315" fmla="*/ 1598296 h 6858001"/>
              <a:gd name="connsiteX316" fmla="*/ 3996021 w 8009775"/>
              <a:gd name="connsiteY316" fmla="*/ 1593533 h 6858001"/>
              <a:gd name="connsiteX317" fmla="*/ 4000159 w 8009775"/>
              <a:gd name="connsiteY317" fmla="*/ 1588771 h 6858001"/>
              <a:gd name="connsiteX318" fmla="*/ 4003705 w 8009775"/>
              <a:gd name="connsiteY318" fmla="*/ 1583691 h 6858001"/>
              <a:gd name="connsiteX319" fmla="*/ 4007548 w 8009775"/>
              <a:gd name="connsiteY319" fmla="*/ 1578928 h 6858001"/>
              <a:gd name="connsiteX320" fmla="*/ 4010799 w 8009775"/>
              <a:gd name="connsiteY320" fmla="*/ 1573849 h 6858001"/>
              <a:gd name="connsiteX321" fmla="*/ 4013459 w 8009775"/>
              <a:gd name="connsiteY321" fmla="*/ 1568451 h 6858001"/>
              <a:gd name="connsiteX322" fmla="*/ 4016415 w 8009775"/>
              <a:gd name="connsiteY322" fmla="*/ 1563054 h 6858001"/>
              <a:gd name="connsiteX323" fmla="*/ 4018484 w 8009775"/>
              <a:gd name="connsiteY323" fmla="*/ 1557339 h 6858001"/>
              <a:gd name="connsiteX324" fmla="*/ 4020848 w 8009775"/>
              <a:gd name="connsiteY324" fmla="*/ 1551941 h 6858001"/>
              <a:gd name="connsiteX325" fmla="*/ 4022621 w 8009775"/>
              <a:gd name="connsiteY325" fmla="*/ 1546226 h 6858001"/>
              <a:gd name="connsiteX326" fmla="*/ 4024395 w 8009775"/>
              <a:gd name="connsiteY326" fmla="*/ 1540511 h 6858001"/>
              <a:gd name="connsiteX327" fmla="*/ 4025282 w 8009775"/>
              <a:gd name="connsiteY327" fmla="*/ 1534478 h 6858001"/>
              <a:gd name="connsiteX328" fmla="*/ 4026464 w 8009775"/>
              <a:gd name="connsiteY328" fmla="*/ 1528763 h 6858001"/>
              <a:gd name="connsiteX329" fmla="*/ 4027055 w 8009775"/>
              <a:gd name="connsiteY329" fmla="*/ 1522731 h 6858001"/>
              <a:gd name="connsiteX330" fmla="*/ 4027646 w 8009775"/>
              <a:gd name="connsiteY330" fmla="*/ 1517016 h 6858001"/>
              <a:gd name="connsiteX331" fmla="*/ 4027646 w 8009775"/>
              <a:gd name="connsiteY331" fmla="*/ 1510984 h 6858001"/>
              <a:gd name="connsiteX332" fmla="*/ 4027646 w 8009775"/>
              <a:gd name="connsiteY332" fmla="*/ 1505268 h 6858001"/>
              <a:gd name="connsiteX333" fmla="*/ 4027055 w 8009775"/>
              <a:gd name="connsiteY333" fmla="*/ 1499553 h 6858001"/>
              <a:gd name="connsiteX334" fmla="*/ 4026464 w 8009775"/>
              <a:gd name="connsiteY334" fmla="*/ 1493204 h 6858001"/>
              <a:gd name="connsiteX335" fmla="*/ 4025282 w 8009775"/>
              <a:gd name="connsiteY335" fmla="*/ 1487489 h 6858001"/>
              <a:gd name="connsiteX336" fmla="*/ 4024395 w 8009775"/>
              <a:gd name="connsiteY336" fmla="*/ 1481773 h 6858001"/>
              <a:gd name="connsiteX337" fmla="*/ 4022621 w 8009775"/>
              <a:gd name="connsiteY337" fmla="*/ 1476058 h 6858001"/>
              <a:gd name="connsiteX338" fmla="*/ 4020848 w 8009775"/>
              <a:gd name="connsiteY338" fmla="*/ 1470343 h 6858001"/>
              <a:gd name="connsiteX339" fmla="*/ 4018484 w 8009775"/>
              <a:gd name="connsiteY339" fmla="*/ 1464629 h 6858001"/>
              <a:gd name="connsiteX340" fmla="*/ 4016415 w 8009775"/>
              <a:gd name="connsiteY340" fmla="*/ 1459231 h 6858001"/>
              <a:gd name="connsiteX341" fmla="*/ 4013459 w 8009775"/>
              <a:gd name="connsiteY341" fmla="*/ 1453834 h 6858001"/>
              <a:gd name="connsiteX342" fmla="*/ 4010799 w 8009775"/>
              <a:gd name="connsiteY342" fmla="*/ 1448436 h 6858001"/>
              <a:gd name="connsiteX343" fmla="*/ 4007548 w 8009775"/>
              <a:gd name="connsiteY343" fmla="*/ 1443356 h 6858001"/>
              <a:gd name="connsiteX344" fmla="*/ 4003705 w 8009775"/>
              <a:gd name="connsiteY344" fmla="*/ 1438275 h 6858001"/>
              <a:gd name="connsiteX345" fmla="*/ 4000159 w 8009775"/>
              <a:gd name="connsiteY345" fmla="*/ 1433195 h 6858001"/>
              <a:gd name="connsiteX346" fmla="*/ 3996021 w 8009775"/>
              <a:gd name="connsiteY346" fmla="*/ 1428751 h 6858001"/>
              <a:gd name="connsiteX347" fmla="*/ 3991587 w 8009775"/>
              <a:gd name="connsiteY347" fmla="*/ 1423988 h 6858001"/>
              <a:gd name="connsiteX348" fmla="*/ 3323022 w 8009775"/>
              <a:gd name="connsiteY348" fmla="*/ 755333 h 6858001"/>
              <a:gd name="connsiteX349" fmla="*/ 3316815 w 8009775"/>
              <a:gd name="connsiteY349" fmla="*/ 748348 h 6858001"/>
              <a:gd name="connsiteX350" fmla="*/ 3310904 w 8009775"/>
              <a:gd name="connsiteY350" fmla="*/ 741045 h 6858001"/>
              <a:gd name="connsiteX351" fmla="*/ 3305584 w 8009775"/>
              <a:gd name="connsiteY351" fmla="*/ 733108 h 6858001"/>
              <a:gd name="connsiteX352" fmla="*/ 3300855 w 8009775"/>
              <a:gd name="connsiteY352" fmla="*/ 725170 h 6858001"/>
              <a:gd name="connsiteX353" fmla="*/ 3297308 w 8009775"/>
              <a:gd name="connsiteY353" fmla="*/ 716915 h 6858001"/>
              <a:gd name="connsiteX354" fmla="*/ 3293761 w 8009775"/>
              <a:gd name="connsiteY354" fmla="*/ 708660 h 6858001"/>
              <a:gd name="connsiteX355" fmla="*/ 3291101 w 8009775"/>
              <a:gd name="connsiteY355" fmla="*/ 699770 h 6858001"/>
              <a:gd name="connsiteX356" fmla="*/ 3289328 w 8009775"/>
              <a:gd name="connsiteY356" fmla="*/ 691198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004395 w 8009775"/>
              <a:gd name="connsiteY73" fmla="*/ 6858000 h 6858001"/>
              <a:gd name="connsiteX74" fmla="*/ 7099646 w 8009775"/>
              <a:gd name="connsiteY74" fmla="*/ 6858001 h 6858001"/>
              <a:gd name="connsiteX75" fmla="*/ 7147271 w 8009775"/>
              <a:gd name="connsiteY75" fmla="*/ 6858001 h 6858001"/>
              <a:gd name="connsiteX76" fmla="*/ 7364776 w 8009775"/>
              <a:gd name="connsiteY76" fmla="*/ 6858001 h 6858001"/>
              <a:gd name="connsiteX77" fmla="*/ 7460026 w 8009775"/>
              <a:gd name="connsiteY77" fmla="*/ 6858001 h 6858001"/>
              <a:gd name="connsiteX78" fmla="*/ 7507651 w 8009775"/>
              <a:gd name="connsiteY78" fmla="*/ 6858001 h 6858001"/>
              <a:gd name="connsiteX79" fmla="*/ 7507650 w 8009775"/>
              <a:gd name="connsiteY79" fmla="*/ 6858000 h 6858001"/>
              <a:gd name="connsiteX80" fmla="*/ 8009775 w 8009775"/>
              <a:gd name="connsiteY80" fmla="*/ 6858000 h 6858001"/>
              <a:gd name="connsiteX81" fmla="*/ 3996316 w 8009775"/>
              <a:gd name="connsiteY81" fmla="*/ 2818448 h 6858001"/>
              <a:gd name="connsiteX82" fmla="*/ 3980947 w 8009775"/>
              <a:gd name="connsiteY82" fmla="*/ 2804795 h 6858001"/>
              <a:gd name="connsiteX83" fmla="*/ 3965282 w 8009775"/>
              <a:gd name="connsiteY83" fmla="*/ 2791144 h 6858001"/>
              <a:gd name="connsiteX84" fmla="*/ 3950799 w 8009775"/>
              <a:gd name="connsiteY84" fmla="*/ 2776856 h 6858001"/>
              <a:gd name="connsiteX85" fmla="*/ 3936021 w 8009775"/>
              <a:gd name="connsiteY85" fmla="*/ 2762568 h 6858001"/>
              <a:gd name="connsiteX86" fmla="*/ 3001744 w 8009775"/>
              <a:gd name="connsiteY86" fmla="*/ 1828166 h 6858001"/>
              <a:gd name="connsiteX87" fmla="*/ 2997311 w 8009775"/>
              <a:gd name="connsiteY87" fmla="*/ 1823404 h 6858001"/>
              <a:gd name="connsiteX88" fmla="*/ 2992878 w 8009775"/>
              <a:gd name="connsiteY88" fmla="*/ 1818640 h 6858001"/>
              <a:gd name="connsiteX89" fmla="*/ 2989331 w 8009775"/>
              <a:gd name="connsiteY89" fmla="*/ 1814195 h 6858001"/>
              <a:gd name="connsiteX90" fmla="*/ 2985784 w 8009775"/>
              <a:gd name="connsiteY90" fmla="*/ 1808799 h 6858001"/>
              <a:gd name="connsiteX91" fmla="*/ 2982533 w 8009775"/>
              <a:gd name="connsiteY91" fmla="*/ 1803718 h 6858001"/>
              <a:gd name="connsiteX92" fmla="*/ 2979873 w 8009775"/>
              <a:gd name="connsiteY92" fmla="*/ 1798321 h 6858001"/>
              <a:gd name="connsiteX93" fmla="*/ 2976917 w 8009775"/>
              <a:gd name="connsiteY93" fmla="*/ 1792924 h 6858001"/>
              <a:gd name="connsiteX94" fmla="*/ 2974552 w 8009775"/>
              <a:gd name="connsiteY94" fmla="*/ 1787526 h 6858001"/>
              <a:gd name="connsiteX95" fmla="*/ 2972484 w 8009775"/>
              <a:gd name="connsiteY95" fmla="*/ 1781811 h 6858001"/>
              <a:gd name="connsiteX96" fmla="*/ 2970710 w 8009775"/>
              <a:gd name="connsiteY96" fmla="*/ 1776095 h 6858001"/>
              <a:gd name="connsiteX97" fmla="*/ 2968937 w 8009775"/>
              <a:gd name="connsiteY97" fmla="*/ 1770380 h 6858001"/>
              <a:gd name="connsiteX98" fmla="*/ 2967755 w 8009775"/>
              <a:gd name="connsiteY98" fmla="*/ 1764665 h 6858001"/>
              <a:gd name="connsiteX99" fmla="*/ 2966868 w 8009775"/>
              <a:gd name="connsiteY99" fmla="*/ 1758634 h 6858001"/>
              <a:gd name="connsiteX100" fmla="*/ 2965981 w 8009775"/>
              <a:gd name="connsiteY100" fmla="*/ 1752919 h 6858001"/>
              <a:gd name="connsiteX101" fmla="*/ 2965686 w 8009775"/>
              <a:gd name="connsiteY101" fmla="*/ 1746885 h 6858001"/>
              <a:gd name="connsiteX102" fmla="*/ 2965686 w 8009775"/>
              <a:gd name="connsiteY102" fmla="*/ 1741170 h 6858001"/>
              <a:gd name="connsiteX103" fmla="*/ 2965686 w 8009775"/>
              <a:gd name="connsiteY103" fmla="*/ 1735139 h 6858001"/>
              <a:gd name="connsiteX104" fmla="*/ 2965981 w 8009775"/>
              <a:gd name="connsiteY104" fmla="*/ 1729424 h 6858001"/>
              <a:gd name="connsiteX105" fmla="*/ 2966868 w 8009775"/>
              <a:gd name="connsiteY105" fmla="*/ 1723074 h 6858001"/>
              <a:gd name="connsiteX106" fmla="*/ 2967755 w 8009775"/>
              <a:gd name="connsiteY106" fmla="*/ 1717358 h 6858001"/>
              <a:gd name="connsiteX107" fmla="*/ 2968937 w 8009775"/>
              <a:gd name="connsiteY107" fmla="*/ 1711643 h 6858001"/>
              <a:gd name="connsiteX108" fmla="*/ 2970710 w 8009775"/>
              <a:gd name="connsiteY108" fmla="*/ 1705929 h 6858001"/>
              <a:gd name="connsiteX109" fmla="*/ 2972484 w 8009775"/>
              <a:gd name="connsiteY109" fmla="*/ 1700214 h 6858001"/>
              <a:gd name="connsiteX110" fmla="*/ 2974552 w 8009775"/>
              <a:gd name="connsiteY110" fmla="*/ 1694816 h 6858001"/>
              <a:gd name="connsiteX111" fmla="*/ 2976917 w 8009775"/>
              <a:gd name="connsiteY111" fmla="*/ 1689101 h 6858001"/>
              <a:gd name="connsiteX112" fmla="*/ 2979873 w 8009775"/>
              <a:gd name="connsiteY112" fmla="*/ 1683703 h 6858001"/>
              <a:gd name="connsiteX113" fmla="*/ 2982533 w 8009775"/>
              <a:gd name="connsiteY113" fmla="*/ 1678305 h 6858001"/>
              <a:gd name="connsiteX114" fmla="*/ 2985784 w 8009775"/>
              <a:gd name="connsiteY114" fmla="*/ 1673226 h 6858001"/>
              <a:gd name="connsiteX115" fmla="*/ 2989331 w 8009775"/>
              <a:gd name="connsiteY115" fmla="*/ 1668145 h 6858001"/>
              <a:gd name="connsiteX116" fmla="*/ 2992878 w 8009775"/>
              <a:gd name="connsiteY116" fmla="*/ 1663066 h 6858001"/>
              <a:gd name="connsiteX117" fmla="*/ 2997311 w 8009775"/>
              <a:gd name="connsiteY117" fmla="*/ 1658621 h 6858001"/>
              <a:gd name="connsiteX118" fmla="*/ 3001744 w 8009775"/>
              <a:gd name="connsiteY118" fmla="*/ 1653859 h 6858001"/>
              <a:gd name="connsiteX119" fmla="*/ 3006178 w 8009775"/>
              <a:gd name="connsiteY119" fmla="*/ 1649414 h 6858001"/>
              <a:gd name="connsiteX120" fmla="*/ 3010907 w 8009775"/>
              <a:gd name="connsiteY120" fmla="*/ 1645603 h 6858001"/>
              <a:gd name="connsiteX121" fmla="*/ 3015932 w 8009775"/>
              <a:gd name="connsiteY121" fmla="*/ 1641794 h 6858001"/>
              <a:gd name="connsiteX122" fmla="*/ 3020956 w 8009775"/>
              <a:gd name="connsiteY122" fmla="*/ 1637984 h 6858001"/>
              <a:gd name="connsiteX123" fmla="*/ 3025981 w 8009775"/>
              <a:gd name="connsiteY123" fmla="*/ 1634809 h 6858001"/>
              <a:gd name="connsiteX124" fmla="*/ 3031596 w 8009775"/>
              <a:gd name="connsiteY124" fmla="*/ 1631950 h 6858001"/>
              <a:gd name="connsiteX125" fmla="*/ 3036916 w 8009775"/>
              <a:gd name="connsiteY125" fmla="*/ 1629094 h 6858001"/>
              <a:gd name="connsiteX126" fmla="*/ 3042532 w 8009775"/>
              <a:gd name="connsiteY126" fmla="*/ 1626871 h 6858001"/>
              <a:gd name="connsiteX127" fmla="*/ 3047852 w 8009775"/>
              <a:gd name="connsiteY127" fmla="*/ 1624649 h 6858001"/>
              <a:gd name="connsiteX128" fmla="*/ 3053764 w 8009775"/>
              <a:gd name="connsiteY128" fmla="*/ 1623061 h 6858001"/>
              <a:gd name="connsiteX129" fmla="*/ 3059379 w 8009775"/>
              <a:gd name="connsiteY129" fmla="*/ 1621155 h 6858001"/>
              <a:gd name="connsiteX130" fmla="*/ 3065291 w 8009775"/>
              <a:gd name="connsiteY130" fmla="*/ 1620204 h 6858001"/>
              <a:gd name="connsiteX131" fmla="*/ 3070906 w 8009775"/>
              <a:gd name="connsiteY131" fmla="*/ 1618934 h 6858001"/>
              <a:gd name="connsiteX132" fmla="*/ 3077113 w 8009775"/>
              <a:gd name="connsiteY132" fmla="*/ 1618299 h 6858001"/>
              <a:gd name="connsiteX133" fmla="*/ 3082729 w 8009775"/>
              <a:gd name="connsiteY133" fmla="*/ 1617981 h 6858001"/>
              <a:gd name="connsiteX134" fmla="*/ 3088936 w 8009775"/>
              <a:gd name="connsiteY134" fmla="*/ 1617981 h 6858001"/>
              <a:gd name="connsiteX135" fmla="*/ 3094552 w 8009775"/>
              <a:gd name="connsiteY135" fmla="*/ 1617981 h 6858001"/>
              <a:gd name="connsiteX136" fmla="*/ 3100758 w 8009775"/>
              <a:gd name="connsiteY136" fmla="*/ 1618299 h 6858001"/>
              <a:gd name="connsiteX137" fmla="*/ 3106670 w 8009775"/>
              <a:gd name="connsiteY137" fmla="*/ 1618934 h 6858001"/>
              <a:gd name="connsiteX138" fmla="*/ 3112285 w 8009775"/>
              <a:gd name="connsiteY138" fmla="*/ 1620204 h 6858001"/>
              <a:gd name="connsiteX139" fmla="*/ 3117901 w 8009775"/>
              <a:gd name="connsiteY139" fmla="*/ 1621155 h 6858001"/>
              <a:gd name="connsiteX140" fmla="*/ 3123812 w 8009775"/>
              <a:gd name="connsiteY140" fmla="*/ 1623061 h 6858001"/>
              <a:gd name="connsiteX141" fmla="*/ 3129428 w 8009775"/>
              <a:gd name="connsiteY141" fmla="*/ 1624649 h 6858001"/>
              <a:gd name="connsiteX142" fmla="*/ 3135339 w 8009775"/>
              <a:gd name="connsiteY142" fmla="*/ 1626871 h 6858001"/>
              <a:gd name="connsiteX143" fmla="*/ 3140660 w 8009775"/>
              <a:gd name="connsiteY143" fmla="*/ 1629094 h 6858001"/>
              <a:gd name="connsiteX144" fmla="*/ 3145980 w 8009775"/>
              <a:gd name="connsiteY144" fmla="*/ 1631950 h 6858001"/>
              <a:gd name="connsiteX145" fmla="*/ 3151300 w 8009775"/>
              <a:gd name="connsiteY145" fmla="*/ 1634809 h 6858001"/>
              <a:gd name="connsiteX146" fmla="*/ 3156324 w 8009775"/>
              <a:gd name="connsiteY146" fmla="*/ 1637984 h 6858001"/>
              <a:gd name="connsiteX147" fmla="*/ 3161349 w 8009775"/>
              <a:gd name="connsiteY147" fmla="*/ 1641794 h 6858001"/>
              <a:gd name="connsiteX148" fmla="*/ 3166374 w 8009775"/>
              <a:gd name="connsiteY148" fmla="*/ 1645603 h 6858001"/>
              <a:gd name="connsiteX149" fmla="*/ 3171102 w 8009775"/>
              <a:gd name="connsiteY149" fmla="*/ 1649414 h 6858001"/>
              <a:gd name="connsiteX150" fmla="*/ 3175832 w 8009775"/>
              <a:gd name="connsiteY150" fmla="*/ 1653859 h 6858001"/>
              <a:gd name="connsiteX151" fmla="*/ 3844692 w 8009775"/>
              <a:gd name="connsiteY151" fmla="*/ 2322830 h 6858001"/>
              <a:gd name="connsiteX152" fmla="*/ 3849421 w 8009775"/>
              <a:gd name="connsiteY152" fmla="*/ 2326958 h 6858001"/>
              <a:gd name="connsiteX153" fmla="*/ 3854150 w 8009775"/>
              <a:gd name="connsiteY153" fmla="*/ 2331085 h 6858001"/>
              <a:gd name="connsiteX154" fmla="*/ 3859175 w 8009775"/>
              <a:gd name="connsiteY154" fmla="*/ 2334895 h 6858001"/>
              <a:gd name="connsiteX155" fmla="*/ 3864199 w 8009775"/>
              <a:gd name="connsiteY155" fmla="*/ 2338705 h 6858001"/>
              <a:gd name="connsiteX156" fmla="*/ 3869224 w 8009775"/>
              <a:gd name="connsiteY156" fmla="*/ 2341880 h 6858001"/>
              <a:gd name="connsiteX157" fmla="*/ 3874544 w 8009775"/>
              <a:gd name="connsiteY157" fmla="*/ 2344738 h 6858001"/>
              <a:gd name="connsiteX158" fmla="*/ 3879864 w 8009775"/>
              <a:gd name="connsiteY158" fmla="*/ 2347595 h 6858001"/>
              <a:gd name="connsiteX159" fmla="*/ 3885775 w 8009775"/>
              <a:gd name="connsiteY159" fmla="*/ 2349818 h 6858001"/>
              <a:gd name="connsiteX160" fmla="*/ 3891096 w 8009775"/>
              <a:gd name="connsiteY160" fmla="*/ 2351723 h 6858001"/>
              <a:gd name="connsiteX161" fmla="*/ 3896711 w 8009775"/>
              <a:gd name="connsiteY161" fmla="*/ 2353628 h 6858001"/>
              <a:gd name="connsiteX162" fmla="*/ 3902623 w 8009775"/>
              <a:gd name="connsiteY162" fmla="*/ 2355534 h 6858001"/>
              <a:gd name="connsiteX163" fmla="*/ 3908238 w 8009775"/>
              <a:gd name="connsiteY163" fmla="*/ 2356485 h 6858001"/>
              <a:gd name="connsiteX164" fmla="*/ 3914150 w 8009775"/>
              <a:gd name="connsiteY164" fmla="*/ 2357755 h 6858001"/>
              <a:gd name="connsiteX165" fmla="*/ 3920061 w 8009775"/>
              <a:gd name="connsiteY165" fmla="*/ 2358391 h 6858001"/>
              <a:gd name="connsiteX166" fmla="*/ 3925972 w 8009775"/>
              <a:gd name="connsiteY166" fmla="*/ 2358708 h 6858001"/>
              <a:gd name="connsiteX167" fmla="*/ 3931883 w 8009775"/>
              <a:gd name="connsiteY167" fmla="*/ 2358708 h 6858001"/>
              <a:gd name="connsiteX168" fmla="*/ 3937795 w 8009775"/>
              <a:gd name="connsiteY168" fmla="*/ 2358708 h 6858001"/>
              <a:gd name="connsiteX169" fmla="*/ 3943706 w 8009775"/>
              <a:gd name="connsiteY169" fmla="*/ 2358391 h 6858001"/>
              <a:gd name="connsiteX170" fmla="*/ 3949617 w 8009775"/>
              <a:gd name="connsiteY170" fmla="*/ 2357755 h 6858001"/>
              <a:gd name="connsiteX171" fmla="*/ 3955233 w 8009775"/>
              <a:gd name="connsiteY171" fmla="*/ 2356485 h 6858001"/>
              <a:gd name="connsiteX172" fmla="*/ 3961144 w 8009775"/>
              <a:gd name="connsiteY172" fmla="*/ 2355534 h 6858001"/>
              <a:gd name="connsiteX173" fmla="*/ 3966760 w 8009775"/>
              <a:gd name="connsiteY173" fmla="*/ 2353628 h 6858001"/>
              <a:gd name="connsiteX174" fmla="*/ 3972671 w 8009775"/>
              <a:gd name="connsiteY174" fmla="*/ 2351723 h 6858001"/>
              <a:gd name="connsiteX175" fmla="*/ 3978287 w 8009775"/>
              <a:gd name="connsiteY175" fmla="*/ 2349818 h 6858001"/>
              <a:gd name="connsiteX176" fmla="*/ 3983607 w 8009775"/>
              <a:gd name="connsiteY176" fmla="*/ 2347595 h 6858001"/>
              <a:gd name="connsiteX177" fmla="*/ 3989223 w 8009775"/>
              <a:gd name="connsiteY177" fmla="*/ 2344738 h 6858001"/>
              <a:gd name="connsiteX178" fmla="*/ 3994543 w 8009775"/>
              <a:gd name="connsiteY178" fmla="*/ 2341880 h 6858001"/>
              <a:gd name="connsiteX179" fmla="*/ 3999567 w 8009775"/>
              <a:gd name="connsiteY179" fmla="*/ 2338705 h 6858001"/>
              <a:gd name="connsiteX180" fmla="*/ 4004888 w 8009775"/>
              <a:gd name="connsiteY180" fmla="*/ 2334895 h 6858001"/>
              <a:gd name="connsiteX181" fmla="*/ 4009617 w 8009775"/>
              <a:gd name="connsiteY181" fmla="*/ 2331085 h 6858001"/>
              <a:gd name="connsiteX182" fmla="*/ 4014346 w 8009775"/>
              <a:gd name="connsiteY182" fmla="*/ 2326958 h 6858001"/>
              <a:gd name="connsiteX183" fmla="*/ 4018779 w 8009775"/>
              <a:gd name="connsiteY183" fmla="*/ 2322830 h 6858001"/>
              <a:gd name="connsiteX184" fmla="*/ 4023213 w 8009775"/>
              <a:gd name="connsiteY184" fmla="*/ 2318068 h 6858001"/>
              <a:gd name="connsiteX185" fmla="*/ 4027646 w 8009775"/>
              <a:gd name="connsiteY185" fmla="*/ 2313306 h 6858001"/>
              <a:gd name="connsiteX186" fmla="*/ 4031193 w 8009775"/>
              <a:gd name="connsiteY186" fmla="*/ 2308544 h 6858001"/>
              <a:gd name="connsiteX187" fmla="*/ 4034740 w 8009775"/>
              <a:gd name="connsiteY187" fmla="*/ 2303463 h 6858001"/>
              <a:gd name="connsiteX188" fmla="*/ 4037991 w 8009775"/>
              <a:gd name="connsiteY188" fmla="*/ 2298384 h 6858001"/>
              <a:gd name="connsiteX189" fmla="*/ 4040946 w 8009775"/>
              <a:gd name="connsiteY189" fmla="*/ 2292985 h 6858001"/>
              <a:gd name="connsiteX190" fmla="*/ 4043606 w 8009775"/>
              <a:gd name="connsiteY190" fmla="*/ 2287588 h 6858001"/>
              <a:gd name="connsiteX191" fmla="*/ 4046267 w 8009775"/>
              <a:gd name="connsiteY191" fmla="*/ 2281873 h 6858001"/>
              <a:gd name="connsiteX192" fmla="*/ 4048040 w 8009775"/>
              <a:gd name="connsiteY192" fmla="*/ 2276476 h 6858001"/>
              <a:gd name="connsiteX193" fmla="*/ 4050109 w 8009775"/>
              <a:gd name="connsiteY193" fmla="*/ 2270761 h 6858001"/>
              <a:gd name="connsiteX194" fmla="*/ 4051587 w 8009775"/>
              <a:gd name="connsiteY194" fmla="*/ 2265046 h 6858001"/>
              <a:gd name="connsiteX195" fmla="*/ 4052769 w 8009775"/>
              <a:gd name="connsiteY195" fmla="*/ 2259331 h 6858001"/>
              <a:gd name="connsiteX196" fmla="*/ 4053656 w 8009775"/>
              <a:gd name="connsiteY196" fmla="*/ 2253298 h 6858001"/>
              <a:gd name="connsiteX197" fmla="*/ 4054542 w 8009775"/>
              <a:gd name="connsiteY197" fmla="*/ 2247266 h 6858001"/>
              <a:gd name="connsiteX198" fmla="*/ 4054838 w 8009775"/>
              <a:gd name="connsiteY198" fmla="*/ 2241551 h 6858001"/>
              <a:gd name="connsiteX199" fmla="*/ 4055133 w 8009775"/>
              <a:gd name="connsiteY199" fmla="*/ 2235519 h 6858001"/>
              <a:gd name="connsiteX200" fmla="*/ 4054838 w 8009775"/>
              <a:gd name="connsiteY200" fmla="*/ 2229804 h 6858001"/>
              <a:gd name="connsiteX201" fmla="*/ 4054542 w 8009775"/>
              <a:gd name="connsiteY201" fmla="*/ 2223770 h 6858001"/>
              <a:gd name="connsiteX202" fmla="*/ 4053656 w 8009775"/>
              <a:gd name="connsiteY202" fmla="*/ 2217739 h 6858001"/>
              <a:gd name="connsiteX203" fmla="*/ 4052769 w 8009775"/>
              <a:gd name="connsiteY203" fmla="*/ 2212024 h 6858001"/>
              <a:gd name="connsiteX204" fmla="*/ 4051587 w 8009775"/>
              <a:gd name="connsiteY204" fmla="*/ 2206309 h 6858001"/>
              <a:gd name="connsiteX205" fmla="*/ 4050109 w 8009775"/>
              <a:gd name="connsiteY205" fmla="*/ 2200593 h 6858001"/>
              <a:gd name="connsiteX206" fmla="*/ 4048040 w 8009775"/>
              <a:gd name="connsiteY206" fmla="*/ 2194878 h 6858001"/>
              <a:gd name="connsiteX207" fmla="*/ 4046267 w 8009775"/>
              <a:gd name="connsiteY207" fmla="*/ 2189163 h 6858001"/>
              <a:gd name="connsiteX208" fmla="*/ 4043606 w 8009775"/>
              <a:gd name="connsiteY208" fmla="*/ 2183765 h 6858001"/>
              <a:gd name="connsiteX209" fmla="*/ 4040946 w 8009775"/>
              <a:gd name="connsiteY209" fmla="*/ 2178368 h 6858001"/>
              <a:gd name="connsiteX210" fmla="*/ 4037991 w 8009775"/>
              <a:gd name="connsiteY210" fmla="*/ 2172970 h 6858001"/>
              <a:gd name="connsiteX211" fmla="*/ 4034740 w 8009775"/>
              <a:gd name="connsiteY211" fmla="*/ 2167890 h 6858001"/>
              <a:gd name="connsiteX212" fmla="*/ 4031193 w 8009775"/>
              <a:gd name="connsiteY212" fmla="*/ 2162494 h 6858001"/>
              <a:gd name="connsiteX213" fmla="*/ 4027646 w 8009775"/>
              <a:gd name="connsiteY213" fmla="*/ 2157730 h 6858001"/>
              <a:gd name="connsiteX214" fmla="*/ 4023213 w 8009775"/>
              <a:gd name="connsiteY214" fmla="*/ 2153285 h 6858001"/>
              <a:gd name="connsiteX215" fmla="*/ 4018779 w 8009775"/>
              <a:gd name="connsiteY215" fmla="*/ 2148523 h 6858001"/>
              <a:gd name="connsiteX216" fmla="*/ 3632182 w 8009775"/>
              <a:gd name="connsiteY216" fmla="*/ 1761490 h 6858001"/>
              <a:gd name="connsiteX217" fmla="*/ 3435928 w 8009775"/>
              <a:gd name="connsiteY217" fmla="*/ 1565276 h 6858001"/>
              <a:gd name="connsiteX218" fmla="*/ 3431198 w 8009775"/>
              <a:gd name="connsiteY218" fmla="*/ 1560514 h 6858001"/>
              <a:gd name="connsiteX219" fmla="*/ 3427356 w 8009775"/>
              <a:gd name="connsiteY219" fmla="*/ 1555751 h 6858001"/>
              <a:gd name="connsiteX220" fmla="*/ 3423218 w 8009775"/>
              <a:gd name="connsiteY220" fmla="*/ 1550671 h 6858001"/>
              <a:gd name="connsiteX221" fmla="*/ 3420262 w 8009775"/>
              <a:gd name="connsiteY221" fmla="*/ 1545909 h 6858001"/>
              <a:gd name="connsiteX222" fmla="*/ 3417012 w 8009775"/>
              <a:gd name="connsiteY222" fmla="*/ 1540829 h 6858001"/>
              <a:gd name="connsiteX223" fmla="*/ 3413760 w 8009775"/>
              <a:gd name="connsiteY223" fmla="*/ 1535430 h 6858001"/>
              <a:gd name="connsiteX224" fmla="*/ 3411100 w 8009775"/>
              <a:gd name="connsiteY224" fmla="*/ 1530034 h 6858001"/>
              <a:gd name="connsiteX225" fmla="*/ 3408736 w 8009775"/>
              <a:gd name="connsiteY225" fmla="*/ 1524635 h 6858001"/>
              <a:gd name="connsiteX226" fmla="*/ 3406371 w 8009775"/>
              <a:gd name="connsiteY226" fmla="*/ 1518920 h 6858001"/>
              <a:gd name="connsiteX227" fmla="*/ 3404598 w 8009775"/>
              <a:gd name="connsiteY227" fmla="*/ 1513205 h 6858001"/>
              <a:gd name="connsiteX228" fmla="*/ 3403120 w 8009775"/>
              <a:gd name="connsiteY228" fmla="*/ 1507174 h 6858001"/>
              <a:gd name="connsiteX229" fmla="*/ 3401938 w 8009775"/>
              <a:gd name="connsiteY229" fmla="*/ 1501459 h 6858001"/>
              <a:gd name="connsiteX230" fmla="*/ 3401051 w 8009775"/>
              <a:gd name="connsiteY230" fmla="*/ 1495744 h 6858001"/>
              <a:gd name="connsiteX231" fmla="*/ 3400460 w 8009775"/>
              <a:gd name="connsiteY231" fmla="*/ 1489710 h 6858001"/>
              <a:gd name="connsiteX232" fmla="*/ 3399869 w 8009775"/>
              <a:gd name="connsiteY232" fmla="*/ 1483995 h 6858001"/>
              <a:gd name="connsiteX233" fmla="*/ 3399573 w 8009775"/>
              <a:gd name="connsiteY233" fmla="*/ 1478281 h 6858001"/>
              <a:gd name="connsiteX234" fmla="*/ 3399869 w 8009775"/>
              <a:gd name="connsiteY234" fmla="*/ 1472249 h 6858001"/>
              <a:gd name="connsiteX235" fmla="*/ 3400460 w 8009775"/>
              <a:gd name="connsiteY235" fmla="*/ 1466215 h 6858001"/>
              <a:gd name="connsiteX236" fmla="*/ 3401051 w 8009775"/>
              <a:gd name="connsiteY236" fmla="*/ 1460183 h 6858001"/>
              <a:gd name="connsiteX237" fmla="*/ 3401938 w 8009775"/>
              <a:gd name="connsiteY237" fmla="*/ 1454468 h 6858001"/>
              <a:gd name="connsiteX238" fmla="*/ 3403120 w 8009775"/>
              <a:gd name="connsiteY238" fmla="*/ 1448754 h 6858001"/>
              <a:gd name="connsiteX239" fmla="*/ 3404598 w 8009775"/>
              <a:gd name="connsiteY239" fmla="*/ 1443039 h 6858001"/>
              <a:gd name="connsiteX240" fmla="*/ 3406371 w 8009775"/>
              <a:gd name="connsiteY240" fmla="*/ 1437324 h 6858001"/>
              <a:gd name="connsiteX241" fmla="*/ 3408736 w 8009775"/>
              <a:gd name="connsiteY241" fmla="*/ 1431609 h 6858001"/>
              <a:gd name="connsiteX242" fmla="*/ 3411100 w 8009775"/>
              <a:gd name="connsiteY242" fmla="*/ 1426211 h 6858001"/>
              <a:gd name="connsiteX243" fmla="*/ 3413760 w 8009775"/>
              <a:gd name="connsiteY243" fmla="*/ 1420814 h 6858001"/>
              <a:gd name="connsiteX244" fmla="*/ 3417012 w 8009775"/>
              <a:gd name="connsiteY244" fmla="*/ 1415416 h 6858001"/>
              <a:gd name="connsiteX245" fmla="*/ 3420262 w 8009775"/>
              <a:gd name="connsiteY245" fmla="*/ 1410336 h 6858001"/>
              <a:gd name="connsiteX246" fmla="*/ 3423218 w 8009775"/>
              <a:gd name="connsiteY246" fmla="*/ 1405256 h 6858001"/>
              <a:gd name="connsiteX247" fmla="*/ 3427356 w 8009775"/>
              <a:gd name="connsiteY247" fmla="*/ 1400175 h 6858001"/>
              <a:gd name="connsiteX248" fmla="*/ 3431198 w 8009775"/>
              <a:gd name="connsiteY248" fmla="*/ 1395731 h 6858001"/>
              <a:gd name="connsiteX249" fmla="*/ 3435928 w 8009775"/>
              <a:gd name="connsiteY249" fmla="*/ 1390969 h 6858001"/>
              <a:gd name="connsiteX250" fmla="*/ 3440361 w 8009775"/>
              <a:gd name="connsiteY250" fmla="*/ 1386524 h 6858001"/>
              <a:gd name="connsiteX251" fmla="*/ 3445386 w 8009775"/>
              <a:gd name="connsiteY251" fmla="*/ 1382396 h 6858001"/>
              <a:gd name="connsiteX252" fmla="*/ 3449819 w 8009775"/>
              <a:gd name="connsiteY252" fmla="*/ 1378585 h 6858001"/>
              <a:gd name="connsiteX253" fmla="*/ 3454844 w 8009775"/>
              <a:gd name="connsiteY253" fmla="*/ 1375094 h 6858001"/>
              <a:gd name="connsiteX254" fmla="*/ 3460459 w 8009775"/>
              <a:gd name="connsiteY254" fmla="*/ 1371919 h 6858001"/>
              <a:gd name="connsiteX255" fmla="*/ 3465780 w 8009775"/>
              <a:gd name="connsiteY255" fmla="*/ 1369061 h 6858001"/>
              <a:gd name="connsiteX256" fmla="*/ 3471100 w 8009775"/>
              <a:gd name="connsiteY256" fmla="*/ 1366204 h 6858001"/>
              <a:gd name="connsiteX257" fmla="*/ 3476420 w 8009775"/>
              <a:gd name="connsiteY257" fmla="*/ 1363980 h 6858001"/>
              <a:gd name="connsiteX258" fmla="*/ 3482331 w 8009775"/>
              <a:gd name="connsiteY258" fmla="*/ 1361759 h 6858001"/>
              <a:gd name="connsiteX259" fmla="*/ 3487947 w 8009775"/>
              <a:gd name="connsiteY259" fmla="*/ 1360170 h 6858001"/>
              <a:gd name="connsiteX260" fmla="*/ 3493858 w 8009775"/>
              <a:gd name="connsiteY260" fmla="*/ 1358265 h 6858001"/>
              <a:gd name="connsiteX261" fmla="*/ 3499474 w 8009775"/>
              <a:gd name="connsiteY261" fmla="*/ 1357314 h 6858001"/>
              <a:gd name="connsiteX262" fmla="*/ 3505385 w 8009775"/>
              <a:gd name="connsiteY262" fmla="*/ 1356043 h 6858001"/>
              <a:gd name="connsiteX263" fmla="*/ 3511001 w 8009775"/>
              <a:gd name="connsiteY263" fmla="*/ 1355409 h 6858001"/>
              <a:gd name="connsiteX264" fmla="*/ 3517208 w 8009775"/>
              <a:gd name="connsiteY264" fmla="*/ 1355090 h 6858001"/>
              <a:gd name="connsiteX265" fmla="*/ 3522823 w 8009775"/>
              <a:gd name="connsiteY265" fmla="*/ 1354773 h 6858001"/>
              <a:gd name="connsiteX266" fmla="*/ 3529030 w 8009775"/>
              <a:gd name="connsiteY266" fmla="*/ 1355090 h 6858001"/>
              <a:gd name="connsiteX267" fmla="*/ 3534646 w 8009775"/>
              <a:gd name="connsiteY267" fmla="*/ 1355409 h 6858001"/>
              <a:gd name="connsiteX268" fmla="*/ 3540557 w 8009775"/>
              <a:gd name="connsiteY268" fmla="*/ 1356043 h 6858001"/>
              <a:gd name="connsiteX269" fmla="*/ 3546468 w 8009775"/>
              <a:gd name="connsiteY269" fmla="*/ 1357314 h 6858001"/>
              <a:gd name="connsiteX270" fmla="*/ 3552380 w 8009775"/>
              <a:gd name="connsiteY270" fmla="*/ 1358265 h 6858001"/>
              <a:gd name="connsiteX271" fmla="*/ 3557995 w 8009775"/>
              <a:gd name="connsiteY271" fmla="*/ 1360170 h 6858001"/>
              <a:gd name="connsiteX272" fmla="*/ 3563906 w 8009775"/>
              <a:gd name="connsiteY272" fmla="*/ 1361759 h 6858001"/>
              <a:gd name="connsiteX273" fmla="*/ 3569227 w 8009775"/>
              <a:gd name="connsiteY273" fmla="*/ 1363980 h 6858001"/>
              <a:gd name="connsiteX274" fmla="*/ 3574842 w 8009775"/>
              <a:gd name="connsiteY274" fmla="*/ 1366204 h 6858001"/>
              <a:gd name="connsiteX275" fmla="*/ 3580458 w 8009775"/>
              <a:gd name="connsiteY275" fmla="*/ 1369061 h 6858001"/>
              <a:gd name="connsiteX276" fmla="*/ 3585778 w 8009775"/>
              <a:gd name="connsiteY276" fmla="*/ 1371919 h 6858001"/>
              <a:gd name="connsiteX277" fmla="*/ 3590803 w 8009775"/>
              <a:gd name="connsiteY277" fmla="*/ 1375094 h 6858001"/>
              <a:gd name="connsiteX278" fmla="*/ 3595828 w 8009775"/>
              <a:gd name="connsiteY278" fmla="*/ 1378585 h 6858001"/>
              <a:gd name="connsiteX279" fmla="*/ 3600852 w 8009775"/>
              <a:gd name="connsiteY279" fmla="*/ 1382396 h 6858001"/>
              <a:gd name="connsiteX280" fmla="*/ 3605581 w 8009775"/>
              <a:gd name="connsiteY280" fmla="*/ 1386524 h 6858001"/>
              <a:gd name="connsiteX281" fmla="*/ 3610014 w 8009775"/>
              <a:gd name="connsiteY281" fmla="*/ 1390969 h 6858001"/>
              <a:gd name="connsiteX282" fmla="*/ 3817500 w 8009775"/>
              <a:gd name="connsiteY282" fmla="*/ 1598296 h 6858001"/>
              <a:gd name="connsiteX283" fmla="*/ 3821934 w 8009775"/>
              <a:gd name="connsiteY283" fmla="*/ 1602423 h 6858001"/>
              <a:gd name="connsiteX284" fmla="*/ 3826663 w 8009775"/>
              <a:gd name="connsiteY284" fmla="*/ 1606869 h 6858001"/>
              <a:gd name="connsiteX285" fmla="*/ 3831687 w 8009775"/>
              <a:gd name="connsiteY285" fmla="*/ 1610361 h 6858001"/>
              <a:gd name="connsiteX286" fmla="*/ 3836712 w 8009775"/>
              <a:gd name="connsiteY286" fmla="*/ 1613854 h 6858001"/>
              <a:gd name="connsiteX287" fmla="*/ 3841736 w 8009775"/>
              <a:gd name="connsiteY287" fmla="*/ 1617345 h 6858001"/>
              <a:gd name="connsiteX288" fmla="*/ 3847352 w 8009775"/>
              <a:gd name="connsiteY288" fmla="*/ 1620204 h 6858001"/>
              <a:gd name="connsiteX289" fmla="*/ 3852672 w 8009775"/>
              <a:gd name="connsiteY289" fmla="*/ 1623061 h 6858001"/>
              <a:gd name="connsiteX290" fmla="*/ 3857992 w 8009775"/>
              <a:gd name="connsiteY290" fmla="*/ 1625283 h 6858001"/>
              <a:gd name="connsiteX291" fmla="*/ 3863608 w 8009775"/>
              <a:gd name="connsiteY291" fmla="*/ 1627189 h 6858001"/>
              <a:gd name="connsiteX292" fmla="*/ 3869519 w 8009775"/>
              <a:gd name="connsiteY292" fmla="*/ 1629094 h 6858001"/>
              <a:gd name="connsiteX293" fmla="*/ 3875135 w 8009775"/>
              <a:gd name="connsiteY293" fmla="*/ 1630998 h 6858001"/>
              <a:gd name="connsiteX294" fmla="*/ 3881046 w 8009775"/>
              <a:gd name="connsiteY294" fmla="*/ 1631950 h 6858001"/>
              <a:gd name="connsiteX295" fmla="*/ 3886662 w 8009775"/>
              <a:gd name="connsiteY295" fmla="*/ 1632904 h 6858001"/>
              <a:gd name="connsiteX296" fmla="*/ 3892869 w 8009775"/>
              <a:gd name="connsiteY296" fmla="*/ 1633856 h 6858001"/>
              <a:gd name="connsiteX297" fmla="*/ 3898485 w 8009775"/>
              <a:gd name="connsiteY297" fmla="*/ 1634174 h 6858001"/>
              <a:gd name="connsiteX298" fmla="*/ 3904396 w 8009775"/>
              <a:gd name="connsiteY298" fmla="*/ 1634174 h 6858001"/>
              <a:gd name="connsiteX299" fmla="*/ 3910307 w 8009775"/>
              <a:gd name="connsiteY299" fmla="*/ 1634174 h 6858001"/>
              <a:gd name="connsiteX300" fmla="*/ 3916219 w 8009775"/>
              <a:gd name="connsiteY300" fmla="*/ 1633856 h 6858001"/>
              <a:gd name="connsiteX301" fmla="*/ 3922425 w 8009775"/>
              <a:gd name="connsiteY301" fmla="*/ 1632904 h 6858001"/>
              <a:gd name="connsiteX302" fmla="*/ 3928041 w 8009775"/>
              <a:gd name="connsiteY302" fmla="*/ 1631950 h 6858001"/>
              <a:gd name="connsiteX303" fmla="*/ 3933657 w 8009775"/>
              <a:gd name="connsiteY303" fmla="*/ 1630998 h 6858001"/>
              <a:gd name="connsiteX304" fmla="*/ 3939568 w 8009775"/>
              <a:gd name="connsiteY304" fmla="*/ 1629094 h 6858001"/>
              <a:gd name="connsiteX305" fmla="*/ 3945184 w 8009775"/>
              <a:gd name="connsiteY305" fmla="*/ 1627189 h 6858001"/>
              <a:gd name="connsiteX306" fmla="*/ 3950799 w 8009775"/>
              <a:gd name="connsiteY306" fmla="*/ 1625283 h 6858001"/>
              <a:gd name="connsiteX307" fmla="*/ 3956415 w 8009775"/>
              <a:gd name="connsiteY307" fmla="*/ 1623061 h 6858001"/>
              <a:gd name="connsiteX308" fmla="*/ 3961735 w 8009775"/>
              <a:gd name="connsiteY308" fmla="*/ 1620204 h 6858001"/>
              <a:gd name="connsiteX309" fmla="*/ 3967055 w 8009775"/>
              <a:gd name="connsiteY309" fmla="*/ 1617345 h 6858001"/>
              <a:gd name="connsiteX310" fmla="*/ 3972376 w 8009775"/>
              <a:gd name="connsiteY310" fmla="*/ 1613854 h 6858001"/>
              <a:gd name="connsiteX311" fmla="*/ 3977400 w 8009775"/>
              <a:gd name="connsiteY311" fmla="*/ 1610361 h 6858001"/>
              <a:gd name="connsiteX312" fmla="*/ 3982425 w 8009775"/>
              <a:gd name="connsiteY312" fmla="*/ 1606869 h 6858001"/>
              <a:gd name="connsiteX313" fmla="*/ 3986858 w 8009775"/>
              <a:gd name="connsiteY313" fmla="*/ 1602423 h 6858001"/>
              <a:gd name="connsiteX314" fmla="*/ 3991587 w 8009775"/>
              <a:gd name="connsiteY314" fmla="*/ 1598296 h 6858001"/>
              <a:gd name="connsiteX315" fmla="*/ 3996021 w 8009775"/>
              <a:gd name="connsiteY315" fmla="*/ 1593533 h 6858001"/>
              <a:gd name="connsiteX316" fmla="*/ 4000159 w 8009775"/>
              <a:gd name="connsiteY316" fmla="*/ 1588771 h 6858001"/>
              <a:gd name="connsiteX317" fmla="*/ 4003705 w 8009775"/>
              <a:gd name="connsiteY317" fmla="*/ 1583691 h 6858001"/>
              <a:gd name="connsiteX318" fmla="*/ 4007548 w 8009775"/>
              <a:gd name="connsiteY318" fmla="*/ 1578928 h 6858001"/>
              <a:gd name="connsiteX319" fmla="*/ 4010799 w 8009775"/>
              <a:gd name="connsiteY319" fmla="*/ 1573849 h 6858001"/>
              <a:gd name="connsiteX320" fmla="*/ 4013459 w 8009775"/>
              <a:gd name="connsiteY320" fmla="*/ 1568451 h 6858001"/>
              <a:gd name="connsiteX321" fmla="*/ 4016415 w 8009775"/>
              <a:gd name="connsiteY321" fmla="*/ 1563054 h 6858001"/>
              <a:gd name="connsiteX322" fmla="*/ 4018484 w 8009775"/>
              <a:gd name="connsiteY322" fmla="*/ 1557339 h 6858001"/>
              <a:gd name="connsiteX323" fmla="*/ 4020848 w 8009775"/>
              <a:gd name="connsiteY323" fmla="*/ 1551941 h 6858001"/>
              <a:gd name="connsiteX324" fmla="*/ 4022621 w 8009775"/>
              <a:gd name="connsiteY324" fmla="*/ 1546226 h 6858001"/>
              <a:gd name="connsiteX325" fmla="*/ 4024395 w 8009775"/>
              <a:gd name="connsiteY325" fmla="*/ 1540511 h 6858001"/>
              <a:gd name="connsiteX326" fmla="*/ 4025282 w 8009775"/>
              <a:gd name="connsiteY326" fmla="*/ 1534478 h 6858001"/>
              <a:gd name="connsiteX327" fmla="*/ 4026464 w 8009775"/>
              <a:gd name="connsiteY327" fmla="*/ 1528763 h 6858001"/>
              <a:gd name="connsiteX328" fmla="*/ 4027055 w 8009775"/>
              <a:gd name="connsiteY328" fmla="*/ 1522731 h 6858001"/>
              <a:gd name="connsiteX329" fmla="*/ 4027646 w 8009775"/>
              <a:gd name="connsiteY329" fmla="*/ 1517016 h 6858001"/>
              <a:gd name="connsiteX330" fmla="*/ 4027646 w 8009775"/>
              <a:gd name="connsiteY330" fmla="*/ 1510984 h 6858001"/>
              <a:gd name="connsiteX331" fmla="*/ 4027646 w 8009775"/>
              <a:gd name="connsiteY331" fmla="*/ 1505268 h 6858001"/>
              <a:gd name="connsiteX332" fmla="*/ 4027055 w 8009775"/>
              <a:gd name="connsiteY332" fmla="*/ 1499553 h 6858001"/>
              <a:gd name="connsiteX333" fmla="*/ 4026464 w 8009775"/>
              <a:gd name="connsiteY333" fmla="*/ 1493204 h 6858001"/>
              <a:gd name="connsiteX334" fmla="*/ 4025282 w 8009775"/>
              <a:gd name="connsiteY334" fmla="*/ 1487489 h 6858001"/>
              <a:gd name="connsiteX335" fmla="*/ 4024395 w 8009775"/>
              <a:gd name="connsiteY335" fmla="*/ 1481773 h 6858001"/>
              <a:gd name="connsiteX336" fmla="*/ 4022621 w 8009775"/>
              <a:gd name="connsiteY336" fmla="*/ 1476058 h 6858001"/>
              <a:gd name="connsiteX337" fmla="*/ 4020848 w 8009775"/>
              <a:gd name="connsiteY337" fmla="*/ 1470343 h 6858001"/>
              <a:gd name="connsiteX338" fmla="*/ 4018484 w 8009775"/>
              <a:gd name="connsiteY338" fmla="*/ 1464629 h 6858001"/>
              <a:gd name="connsiteX339" fmla="*/ 4016415 w 8009775"/>
              <a:gd name="connsiteY339" fmla="*/ 1459231 h 6858001"/>
              <a:gd name="connsiteX340" fmla="*/ 4013459 w 8009775"/>
              <a:gd name="connsiteY340" fmla="*/ 1453834 h 6858001"/>
              <a:gd name="connsiteX341" fmla="*/ 4010799 w 8009775"/>
              <a:gd name="connsiteY341" fmla="*/ 1448436 h 6858001"/>
              <a:gd name="connsiteX342" fmla="*/ 4007548 w 8009775"/>
              <a:gd name="connsiteY342" fmla="*/ 1443356 h 6858001"/>
              <a:gd name="connsiteX343" fmla="*/ 4003705 w 8009775"/>
              <a:gd name="connsiteY343" fmla="*/ 1438275 h 6858001"/>
              <a:gd name="connsiteX344" fmla="*/ 4000159 w 8009775"/>
              <a:gd name="connsiteY344" fmla="*/ 1433195 h 6858001"/>
              <a:gd name="connsiteX345" fmla="*/ 3996021 w 8009775"/>
              <a:gd name="connsiteY345" fmla="*/ 1428751 h 6858001"/>
              <a:gd name="connsiteX346" fmla="*/ 3991587 w 8009775"/>
              <a:gd name="connsiteY346" fmla="*/ 1423988 h 6858001"/>
              <a:gd name="connsiteX347" fmla="*/ 3323022 w 8009775"/>
              <a:gd name="connsiteY347" fmla="*/ 755333 h 6858001"/>
              <a:gd name="connsiteX348" fmla="*/ 3316815 w 8009775"/>
              <a:gd name="connsiteY348" fmla="*/ 748348 h 6858001"/>
              <a:gd name="connsiteX349" fmla="*/ 3310904 w 8009775"/>
              <a:gd name="connsiteY349" fmla="*/ 741045 h 6858001"/>
              <a:gd name="connsiteX350" fmla="*/ 3305584 w 8009775"/>
              <a:gd name="connsiteY350" fmla="*/ 733108 h 6858001"/>
              <a:gd name="connsiteX351" fmla="*/ 3300855 w 8009775"/>
              <a:gd name="connsiteY351" fmla="*/ 725170 h 6858001"/>
              <a:gd name="connsiteX352" fmla="*/ 3297308 w 8009775"/>
              <a:gd name="connsiteY352" fmla="*/ 716915 h 6858001"/>
              <a:gd name="connsiteX353" fmla="*/ 3293761 w 8009775"/>
              <a:gd name="connsiteY353" fmla="*/ 708660 h 6858001"/>
              <a:gd name="connsiteX354" fmla="*/ 3291101 w 8009775"/>
              <a:gd name="connsiteY354" fmla="*/ 699770 h 6858001"/>
              <a:gd name="connsiteX355" fmla="*/ 3289328 w 8009775"/>
              <a:gd name="connsiteY355" fmla="*/ 691198 h 6858001"/>
              <a:gd name="connsiteX356" fmla="*/ 2596527 w 8009775"/>
              <a:gd name="connsiteY356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004395 w 8009775"/>
              <a:gd name="connsiteY73" fmla="*/ 6858000 h 6858001"/>
              <a:gd name="connsiteX74" fmla="*/ 7099646 w 8009775"/>
              <a:gd name="connsiteY74" fmla="*/ 6858001 h 6858001"/>
              <a:gd name="connsiteX75" fmla="*/ 7364776 w 8009775"/>
              <a:gd name="connsiteY75" fmla="*/ 6858001 h 6858001"/>
              <a:gd name="connsiteX76" fmla="*/ 7460026 w 8009775"/>
              <a:gd name="connsiteY76" fmla="*/ 6858001 h 6858001"/>
              <a:gd name="connsiteX77" fmla="*/ 7507651 w 8009775"/>
              <a:gd name="connsiteY77" fmla="*/ 6858001 h 6858001"/>
              <a:gd name="connsiteX78" fmla="*/ 7507650 w 8009775"/>
              <a:gd name="connsiteY78" fmla="*/ 6858000 h 6858001"/>
              <a:gd name="connsiteX79" fmla="*/ 8009775 w 8009775"/>
              <a:gd name="connsiteY79" fmla="*/ 6858000 h 6858001"/>
              <a:gd name="connsiteX80" fmla="*/ 3996316 w 8009775"/>
              <a:gd name="connsiteY80" fmla="*/ 2818448 h 6858001"/>
              <a:gd name="connsiteX81" fmla="*/ 3980947 w 8009775"/>
              <a:gd name="connsiteY81" fmla="*/ 2804795 h 6858001"/>
              <a:gd name="connsiteX82" fmla="*/ 3965282 w 8009775"/>
              <a:gd name="connsiteY82" fmla="*/ 2791144 h 6858001"/>
              <a:gd name="connsiteX83" fmla="*/ 3950799 w 8009775"/>
              <a:gd name="connsiteY83" fmla="*/ 2776856 h 6858001"/>
              <a:gd name="connsiteX84" fmla="*/ 3936021 w 8009775"/>
              <a:gd name="connsiteY84" fmla="*/ 2762568 h 6858001"/>
              <a:gd name="connsiteX85" fmla="*/ 3001744 w 8009775"/>
              <a:gd name="connsiteY85" fmla="*/ 1828166 h 6858001"/>
              <a:gd name="connsiteX86" fmla="*/ 2997311 w 8009775"/>
              <a:gd name="connsiteY86" fmla="*/ 1823404 h 6858001"/>
              <a:gd name="connsiteX87" fmla="*/ 2992878 w 8009775"/>
              <a:gd name="connsiteY87" fmla="*/ 1818640 h 6858001"/>
              <a:gd name="connsiteX88" fmla="*/ 2989331 w 8009775"/>
              <a:gd name="connsiteY88" fmla="*/ 1814195 h 6858001"/>
              <a:gd name="connsiteX89" fmla="*/ 2985784 w 8009775"/>
              <a:gd name="connsiteY89" fmla="*/ 1808799 h 6858001"/>
              <a:gd name="connsiteX90" fmla="*/ 2982533 w 8009775"/>
              <a:gd name="connsiteY90" fmla="*/ 1803718 h 6858001"/>
              <a:gd name="connsiteX91" fmla="*/ 2979873 w 8009775"/>
              <a:gd name="connsiteY91" fmla="*/ 1798321 h 6858001"/>
              <a:gd name="connsiteX92" fmla="*/ 2976917 w 8009775"/>
              <a:gd name="connsiteY92" fmla="*/ 1792924 h 6858001"/>
              <a:gd name="connsiteX93" fmla="*/ 2974552 w 8009775"/>
              <a:gd name="connsiteY93" fmla="*/ 1787526 h 6858001"/>
              <a:gd name="connsiteX94" fmla="*/ 2972484 w 8009775"/>
              <a:gd name="connsiteY94" fmla="*/ 1781811 h 6858001"/>
              <a:gd name="connsiteX95" fmla="*/ 2970710 w 8009775"/>
              <a:gd name="connsiteY95" fmla="*/ 1776095 h 6858001"/>
              <a:gd name="connsiteX96" fmla="*/ 2968937 w 8009775"/>
              <a:gd name="connsiteY96" fmla="*/ 1770380 h 6858001"/>
              <a:gd name="connsiteX97" fmla="*/ 2967755 w 8009775"/>
              <a:gd name="connsiteY97" fmla="*/ 1764665 h 6858001"/>
              <a:gd name="connsiteX98" fmla="*/ 2966868 w 8009775"/>
              <a:gd name="connsiteY98" fmla="*/ 1758634 h 6858001"/>
              <a:gd name="connsiteX99" fmla="*/ 2965981 w 8009775"/>
              <a:gd name="connsiteY99" fmla="*/ 1752919 h 6858001"/>
              <a:gd name="connsiteX100" fmla="*/ 2965686 w 8009775"/>
              <a:gd name="connsiteY100" fmla="*/ 1746885 h 6858001"/>
              <a:gd name="connsiteX101" fmla="*/ 2965686 w 8009775"/>
              <a:gd name="connsiteY101" fmla="*/ 1741170 h 6858001"/>
              <a:gd name="connsiteX102" fmla="*/ 2965686 w 8009775"/>
              <a:gd name="connsiteY102" fmla="*/ 1735139 h 6858001"/>
              <a:gd name="connsiteX103" fmla="*/ 2965981 w 8009775"/>
              <a:gd name="connsiteY103" fmla="*/ 1729424 h 6858001"/>
              <a:gd name="connsiteX104" fmla="*/ 2966868 w 8009775"/>
              <a:gd name="connsiteY104" fmla="*/ 1723074 h 6858001"/>
              <a:gd name="connsiteX105" fmla="*/ 2967755 w 8009775"/>
              <a:gd name="connsiteY105" fmla="*/ 1717358 h 6858001"/>
              <a:gd name="connsiteX106" fmla="*/ 2968937 w 8009775"/>
              <a:gd name="connsiteY106" fmla="*/ 1711643 h 6858001"/>
              <a:gd name="connsiteX107" fmla="*/ 2970710 w 8009775"/>
              <a:gd name="connsiteY107" fmla="*/ 1705929 h 6858001"/>
              <a:gd name="connsiteX108" fmla="*/ 2972484 w 8009775"/>
              <a:gd name="connsiteY108" fmla="*/ 1700214 h 6858001"/>
              <a:gd name="connsiteX109" fmla="*/ 2974552 w 8009775"/>
              <a:gd name="connsiteY109" fmla="*/ 1694816 h 6858001"/>
              <a:gd name="connsiteX110" fmla="*/ 2976917 w 8009775"/>
              <a:gd name="connsiteY110" fmla="*/ 1689101 h 6858001"/>
              <a:gd name="connsiteX111" fmla="*/ 2979873 w 8009775"/>
              <a:gd name="connsiteY111" fmla="*/ 1683703 h 6858001"/>
              <a:gd name="connsiteX112" fmla="*/ 2982533 w 8009775"/>
              <a:gd name="connsiteY112" fmla="*/ 1678305 h 6858001"/>
              <a:gd name="connsiteX113" fmla="*/ 2985784 w 8009775"/>
              <a:gd name="connsiteY113" fmla="*/ 1673226 h 6858001"/>
              <a:gd name="connsiteX114" fmla="*/ 2989331 w 8009775"/>
              <a:gd name="connsiteY114" fmla="*/ 1668145 h 6858001"/>
              <a:gd name="connsiteX115" fmla="*/ 2992878 w 8009775"/>
              <a:gd name="connsiteY115" fmla="*/ 1663066 h 6858001"/>
              <a:gd name="connsiteX116" fmla="*/ 2997311 w 8009775"/>
              <a:gd name="connsiteY116" fmla="*/ 1658621 h 6858001"/>
              <a:gd name="connsiteX117" fmla="*/ 3001744 w 8009775"/>
              <a:gd name="connsiteY117" fmla="*/ 1653859 h 6858001"/>
              <a:gd name="connsiteX118" fmla="*/ 3006178 w 8009775"/>
              <a:gd name="connsiteY118" fmla="*/ 1649414 h 6858001"/>
              <a:gd name="connsiteX119" fmla="*/ 3010907 w 8009775"/>
              <a:gd name="connsiteY119" fmla="*/ 1645603 h 6858001"/>
              <a:gd name="connsiteX120" fmla="*/ 3015932 w 8009775"/>
              <a:gd name="connsiteY120" fmla="*/ 1641794 h 6858001"/>
              <a:gd name="connsiteX121" fmla="*/ 3020956 w 8009775"/>
              <a:gd name="connsiteY121" fmla="*/ 1637984 h 6858001"/>
              <a:gd name="connsiteX122" fmla="*/ 3025981 w 8009775"/>
              <a:gd name="connsiteY122" fmla="*/ 1634809 h 6858001"/>
              <a:gd name="connsiteX123" fmla="*/ 3031596 w 8009775"/>
              <a:gd name="connsiteY123" fmla="*/ 1631950 h 6858001"/>
              <a:gd name="connsiteX124" fmla="*/ 3036916 w 8009775"/>
              <a:gd name="connsiteY124" fmla="*/ 1629094 h 6858001"/>
              <a:gd name="connsiteX125" fmla="*/ 3042532 w 8009775"/>
              <a:gd name="connsiteY125" fmla="*/ 1626871 h 6858001"/>
              <a:gd name="connsiteX126" fmla="*/ 3047852 w 8009775"/>
              <a:gd name="connsiteY126" fmla="*/ 1624649 h 6858001"/>
              <a:gd name="connsiteX127" fmla="*/ 3053764 w 8009775"/>
              <a:gd name="connsiteY127" fmla="*/ 1623061 h 6858001"/>
              <a:gd name="connsiteX128" fmla="*/ 3059379 w 8009775"/>
              <a:gd name="connsiteY128" fmla="*/ 1621155 h 6858001"/>
              <a:gd name="connsiteX129" fmla="*/ 3065291 w 8009775"/>
              <a:gd name="connsiteY129" fmla="*/ 1620204 h 6858001"/>
              <a:gd name="connsiteX130" fmla="*/ 3070906 w 8009775"/>
              <a:gd name="connsiteY130" fmla="*/ 1618934 h 6858001"/>
              <a:gd name="connsiteX131" fmla="*/ 3077113 w 8009775"/>
              <a:gd name="connsiteY131" fmla="*/ 1618299 h 6858001"/>
              <a:gd name="connsiteX132" fmla="*/ 3082729 w 8009775"/>
              <a:gd name="connsiteY132" fmla="*/ 1617981 h 6858001"/>
              <a:gd name="connsiteX133" fmla="*/ 3088936 w 8009775"/>
              <a:gd name="connsiteY133" fmla="*/ 1617981 h 6858001"/>
              <a:gd name="connsiteX134" fmla="*/ 3094552 w 8009775"/>
              <a:gd name="connsiteY134" fmla="*/ 1617981 h 6858001"/>
              <a:gd name="connsiteX135" fmla="*/ 3100758 w 8009775"/>
              <a:gd name="connsiteY135" fmla="*/ 1618299 h 6858001"/>
              <a:gd name="connsiteX136" fmla="*/ 3106670 w 8009775"/>
              <a:gd name="connsiteY136" fmla="*/ 1618934 h 6858001"/>
              <a:gd name="connsiteX137" fmla="*/ 3112285 w 8009775"/>
              <a:gd name="connsiteY137" fmla="*/ 1620204 h 6858001"/>
              <a:gd name="connsiteX138" fmla="*/ 3117901 w 8009775"/>
              <a:gd name="connsiteY138" fmla="*/ 1621155 h 6858001"/>
              <a:gd name="connsiteX139" fmla="*/ 3123812 w 8009775"/>
              <a:gd name="connsiteY139" fmla="*/ 1623061 h 6858001"/>
              <a:gd name="connsiteX140" fmla="*/ 3129428 w 8009775"/>
              <a:gd name="connsiteY140" fmla="*/ 1624649 h 6858001"/>
              <a:gd name="connsiteX141" fmla="*/ 3135339 w 8009775"/>
              <a:gd name="connsiteY141" fmla="*/ 1626871 h 6858001"/>
              <a:gd name="connsiteX142" fmla="*/ 3140660 w 8009775"/>
              <a:gd name="connsiteY142" fmla="*/ 1629094 h 6858001"/>
              <a:gd name="connsiteX143" fmla="*/ 3145980 w 8009775"/>
              <a:gd name="connsiteY143" fmla="*/ 1631950 h 6858001"/>
              <a:gd name="connsiteX144" fmla="*/ 3151300 w 8009775"/>
              <a:gd name="connsiteY144" fmla="*/ 1634809 h 6858001"/>
              <a:gd name="connsiteX145" fmla="*/ 3156324 w 8009775"/>
              <a:gd name="connsiteY145" fmla="*/ 1637984 h 6858001"/>
              <a:gd name="connsiteX146" fmla="*/ 3161349 w 8009775"/>
              <a:gd name="connsiteY146" fmla="*/ 1641794 h 6858001"/>
              <a:gd name="connsiteX147" fmla="*/ 3166374 w 8009775"/>
              <a:gd name="connsiteY147" fmla="*/ 1645603 h 6858001"/>
              <a:gd name="connsiteX148" fmla="*/ 3171102 w 8009775"/>
              <a:gd name="connsiteY148" fmla="*/ 1649414 h 6858001"/>
              <a:gd name="connsiteX149" fmla="*/ 3175832 w 8009775"/>
              <a:gd name="connsiteY149" fmla="*/ 1653859 h 6858001"/>
              <a:gd name="connsiteX150" fmla="*/ 3844692 w 8009775"/>
              <a:gd name="connsiteY150" fmla="*/ 2322830 h 6858001"/>
              <a:gd name="connsiteX151" fmla="*/ 3849421 w 8009775"/>
              <a:gd name="connsiteY151" fmla="*/ 2326958 h 6858001"/>
              <a:gd name="connsiteX152" fmla="*/ 3854150 w 8009775"/>
              <a:gd name="connsiteY152" fmla="*/ 2331085 h 6858001"/>
              <a:gd name="connsiteX153" fmla="*/ 3859175 w 8009775"/>
              <a:gd name="connsiteY153" fmla="*/ 2334895 h 6858001"/>
              <a:gd name="connsiteX154" fmla="*/ 3864199 w 8009775"/>
              <a:gd name="connsiteY154" fmla="*/ 2338705 h 6858001"/>
              <a:gd name="connsiteX155" fmla="*/ 3869224 w 8009775"/>
              <a:gd name="connsiteY155" fmla="*/ 2341880 h 6858001"/>
              <a:gd name="connsiteX156" fmla="*/ 3874544 w 8009775"/>
              <a:gd name="connsiteY156" fmla="*/ 2344738 h 6858001"/>
              <a:gd name="connsiteX157" fmla="*/ 3879864 w 8009775"/>
              <a:gd name="connsiteY157" fmla="*/ 2347595 h 6858001"/>
              <a:gd name="connsiteX158" fmla="*/ 3885775 w 8009775"/>
              <a:gd name="connsiteY158" fmla="*/ 2349818 h 6858001"/>
              <a:gd name="connsiteX159" fmla="*/ 3891096 w 8009775"/>
              <a:gd name="connsiteY159" fmla="*/ 2351723 h 6858001"/>
              <a:gd name="connsiteX160" fmla="*/ 3896711 w 8009775"/>
              <a:gd name="connsiteY160" fmla="*/ 2353628 h 6858001"/>
              <a:gd name="connsiteX161" fmla="*/ 3902623 w 8009775"/>
              <a:gd name="connsiteY161" fmla="*/ 2355534 h 6858001"/>
              <a:gd name="connsiteX162" fmla="*/ 3908238 w 8009775"/>
              <a:gd name="connsiteY162" fmla="*/ 2356485 h 6858001"/>
              <a:gd name="connsiteX163" fmla="*/ 3914150 w 8009775"/>
              <a:gd name="connsiteY163" fmla="*/ 2357755 h 6858001"/>
              <a:gd name="connsiteX164" fmla="*/ 3920061 w 8009775"/>
              <a:gd name="connsiteY164" fmla="*/ 2358391 h 6858001"/>
              <a:gd name="connsiteX165" fmla="*/ 3925972 w 8009775"/>
              <a:gd name="connsiteY165" fmla="*/ 2358708 h 6858001"/>
              <a:gd name="connsiteX166" fmla="*/ 3931883 w 8009775"/>
              <a:gd name="connsiteY166" fmla="*/ 2358708 h 6858001"/>
              <a:gd name="connsiteX167" fmla="*/ 3937795 w 8009775"/>
              <a:gd name="connsiteY167" fmla="*/ 2358708 h 6858001"/>
              <a:gd name="connsiteX168" fmla="*/ 3943706 w 8009775"/>
              <a:gd name="connsiteY168" fmla="*/ 2358391 h 6858001"/>
              <a:gd name="connsiteX169" fmla="*/ 3949617 w 8009775"/>
              <a:gd name="connsiteY169" fmla="*/ 2357755 h 6858001"/>
              <a:gd name="connsiteX170" fmla="*/ 3955233 w 8009775"/>
              <a:gd name="connsiteY170" fmla="*/ 2356485 h 6858001"/>
              <a:gd name="connsiteX171" fmla="*/ 3961144 w 8009775"/>
              <a:gd name="connsiteY171" fmla="*/ 2355534 h 6858001"/>
              <a:gd name="connsiteX172" fmla="*/ 3966760 w 8009775"/>
              <a:gd name="connsiteY172" fmla="*/ 2353628 h 6858001"/>
              <a:gd name="connsiteX173" fmla="*/ 3972671 w 8009775"/>
              <a:gd name="connsiteY173" fmla="*/ 2351723 h 6858001"/>
              <a:gd name="connsiteX174" fmla="*/ 3978287 w 8009775"/>
              <a:gd name="connsiteY174" fmla="*/ 2349818 h 6858001"/>
              <a:gd name="connsiteX175" fmla="*/ 3983607 w 8009775"/>
              <a:gd name="connsiteY175" fmla="*/ 2347595 h 6858001"/>
              <a:gd name="connsiteX176" fmla="*/ 3989223 w 8009775"/>
              <a:gd name="connsiteY176" fmla="*/ 2344738 h 6858001"/>
              <a:gd name="connsiteX177" fmla="*/ 3994543 w 8009775"/>
              <a:gd name="connsiteY177" fmla="*/ 2341880 h 6858001"/>
              <a:gd name="connsiteX178" fmla="*/ 3999567 w 8009775"/>
              <a:gd name="connsiteY178" fmla="*/ 2338705 h 6858001"/>
              <a:gd name="connsiteX179" fmla="*/ 4004888 w 8009775"/>
              <a:gd name="connsiteY179" fmla="*/ 2334895 h 6858001"/>
              <a:gd name="connsiteX180" fmla="*/ 4009617 w 8009775"/>
              <a:gd name="connsiteY180" fmla="*/ 2331085 h 6858001"/>
              <a:gd name="connsiteX181" fmla="*/ 4014346 w 8009775"/>
              <a:gd name="connsiteY181" fmla="*/ 2326958 h 6858001"/>
              <a:gd name="connsiteX182" fmla="*/ 4018779 w 8009775"/>
              <a:gd name="connsiteY182" fmla="*/ 2322830 h 6858001"/>
              <a:gd name="connsiteX183" fmla="*/ 4023213 w 8009775"/>
              <a:gd name="connsiteY183" fmla="*/ 2318068 h 6858001"/>
              <a:gd name="connsiteX184" fmla="*/ 4027646 w 8009775"/>
              <a:gd name="connsiteY184" fmla="*/ 2313306 h 6858001"/>
              <a:gd name="connsiteX185" fmla="*/ 4031193 w 8009775"/>
              <a:gd name="connsiteY185" fmla="*/ 2308544 h 6858001"/>
              <a:gd name="connsiteX186" fmla="*/ 4034740 w 8009775"/>
              <a:gd name="connsiteY186" fmla="*/ 2303463 h 6858001"/>
              <a:gd name="connsiteX187" fmla="*/ 4037991 w 8009775"/>
              <a:gd name="connsiteY187" fmla="*/ 2298384 h 6858001"/>
              <a:gd name="connsiteX188" fmla="*/ 4040946 w 8009775"/>
              <a:gd name="connsiteY188" fmla="*/ 2292985 h 6858001"/>
              <a:gd name="connsiteX189" fmla="*/ 4043606 w 8009775"/>
              <a:gd name="connsiteY189" fmla="*/ 2287588 h 6858001"/>
              <a:gd name="connsiteX190" fmla="*/ 4046267 w 8009775"/>
              <a:gd name="connsiteY190" fmla="*/ 2281873 h 6858001"/>
              <a:gd name="connsiteX191" fmla="*/ 4048040 w 8009775"/>
              <a:gd name="connsiteY191" fmla="*/ 2276476 h 6858001"/>
              <a:gd name="connsiteX192" fmla="*/ 4050109 w 8009775"/>
              <a:gd name="connsiteY192" fmla="*/ 2270761 h 6858001"/>
              <a:gd name="connsiteX193" fmla="*/ 4051587 w 8009775"/>
              <a:gd name="connsiteY193" fmla="*/ 2265046 h 6858001"/>
              <a:gd name="connsiteX194" fmla="*/ 4052769 w 8009775"/>
              <a:gd name="connsiteY194" fmla="*/ 2259331 h 6858001"/>
              <a:gd name="connsiteX195" fmla="*/ 4053656 w 8009775"/>
              <a:gd name="connsiteY195" fmla="*/ 2253298 h 6858001"/>
              <a:gd name="connsiteX196" fmla="*/ 4054542 w 8009775"/>
              <a:gd name="connsiteY196" fmla="*/ 2247266 h 6858001"/>
              <a:gd name="connsiteX197" fmla="*/ 4054838 w 8009775"/>
              <a:gd name="connsiteY197" fmla="*/ 2241551 h 6858001"/>
              <a:gd name="connsiteX198" fmla="*/ 4055133 w 8009775"/>
              <a:gd name="connsiteY198" fmla="*/ 2235519 h 6858001"/>
              <a:gd name="connsiteX199" fmla="*/ 4054838 w 8009775"/>
              <a:gd name="connsiteY199" fmla="*/ 2229804 h 6858001"/>
              <a:gd name="connsiteX200" fmla="*/ 4054542 w 8009775"/>
              <a:gd name="connsiteY200" fmla="*/ 2223770 h 6858001"/>
              <a:gd name="connsiteX201" fmla="*/ 4053656 w 8009775"/>
              <a:gd name="connsiteY201" fmla="*/ 2217739 h 6858001"/>
              <a:gd name="connsiteX202" fmla="*/ 4052769 w 8009775"/>
              <a:gd name="connsiteY202" fmla="*/ 2212024 h 6858001"/>
              <a:gd name="connsiteX203" fmla="*/ 4051587 w 8009775"/>
              <a:gd name="connsiteY203" fmla="*/ 2206309 h 6858001"/>
              <a:gd name="connsiteX204" fmla="*/ 4050109 w 8009775"/>
              <a:gd name="connsiteY204" fmla="*/ 2200593 h 6858001"/>
              <a:gd name="connsiteX205" fmla="*/ 4048040 w 8009775"/>
              <a:gd name="connsiteY205" fmla="*/ 2194878 h 6858001"/>
              <a:gd name="connsiteX206" fmla="*/ 4046267 w 8009775"/>
              <a:gd name="connsiteY206" fmla="*/ 2189163 h 6858001"/>
              <a:gd name="connsiteX207" fmla="*/ 4043606 w 8009775"/>
              <a:gd name="connsiteY207" fmla="*/ 2183765 h 6858001"/>
              <a:gd name="connsiteX208" fmla="*/ 4040946 w 8009775"/>
              <a:gd name="connsiteY208" fmla="*/ 2178368 h 6858001"/>
              <a:gd name="connsiteX209" fmla="*/ 4037991 w 8009775"/>
              <a:gd name="connsiteY209" fmla="*/ 2172970 h 6858001"/>
              <a:gd name="connsiteX210" fmla="*/ 4034740 w 8009775"/>
              <a:gd name="connsiteY210" fmla="*/ 2167890 h 6858001"/>
              <a:gd name="connsiteX211" fmla="*/ 4031193 w 8009775"/>
              <a:gd name="connsiteY211" fmla="*/ 2162494 h 6858001"/>
              <a:gd name="connsiteX212" fmla="*/ 4027646 w 8009775"/>
              <a:gd name="connsiteY212" fmla="*/ 2157730 h 6858001"/>
              <a:gd name="connsiteX213" fmla="*/ 4023213 w 8009775"/>
              <a:gd name="connsiteY213" fmla="*/ 2153285 h 6858001"/>
              <a:gd name="connsiteX214" fmla="*/ 4018779 w 8009775"/>
              <a:gd name="connsiteY214" fmla="*/ 2148523 h 6858001"/>
              <a:gd name="connsiteX215" fmla="*/ 3632182 w 8009775"/>
              <a:gd name="connsiteY215" fmla="*/ 1761490 h 6858001"/>
              <a:gd name="connsiteX216" fmla="*/ 3435928 w 8009775"/>
              <a:gd name="connsiteY216" fmla="*/ 1565276 h 6858001"/>
              <a:gd name="connsiteX217" fmla="*/ 3431198 w 8009775"/>
              <a:gd name="connsiteY217" fmla="*/ 1560514 h 6858001"/>
              <a:gd name="connsiteX218" fmla="*/ 3427356 w 8009775"/>
              <a:gd name="connsiteY218" fmla="*/ 1555751 h 6858001"/>
              <a:gd name="connsiteX219" fmla="*/ 3423218 w 8009775"/>
              <a:gd name="connsiteY219" fmla="*/ 1550671 h 6858001"/>
              <a:gd name="connsiteX220" fmla="*/ 3420262 w 8009775"/>
              <a:gd name="connsiteY220" fmla="*/ 1545909 h 6858001"/>
              <a:gd name="connsiteX221" fmla="*/ 3417012 w 8009775"/>
              <a:gd name="connsiteY221" fmla="*/ 1540829 h 6858001"/>
              <a:gd name="connsiteX222" fmla="*/ 3413760 w 8009775"/>
              <a:gd name="connsiteY222" fmla="*/ 1535430 h 6858001"/>
              <a:gd name="connsiteX223" fmla="*/ 3411100 w 8009775"/>
              <a:gd name="connsiteY223" fmla="*/ 1530034 h 6858001"/>
              <a:gd name="connsiteX224" fmla="*/ 3408736 w 8009775"/>
              <a:gd name="connsiteY224" fmla="*/ 1524635 h 6858001"/>
              <a:gd name="connsiteX225" fmla="*/ 3406371 w 8009775"/>
              <a:gd name="connsiteY225" fmla="*/ 1518920 h 6858001"/>
              <a:gd name="connsiteX226" fmla="*/ 3404598 w 8009775"/>
              <a:gd name="connsiteY226" fmla="*/ 1513205 h 6858001"/>
              <a:gd name="connsiteX227" fmla="*/ 3403120 w 8009775"/>
              <a:gd name="connsiteY227" fmla="*/ 1507174 h 6858001"/>
              <a:gd name="connsiteX228" fmla="*/ 3401938 w 8009775"/>
              <a:gd name="connsiteY228" fmla="*/ 1501459 h 6858001"/>
              <a:gd name="connsiteX229" fmla="*/ 3401051 w 8009775"/>
              <a:gd name="connsiteY229" fmla="*/ 1495744 h 6858001"/>
              <a:gd name="connsiteX230" fmla="*/ 3400460 w 8009775"/>
              <a:gd name="connsiteY230" fmla="*/ 1489710 h 6858001"/>
              <a:gd name="connsiteX231" fmla="*/ 3399869 w 8009775"/>
              <a:gd name="connsiteY231" fmla="*/ 1483995 h 6858001"/>
              <a:gd name="connsiteX232" fmla="*/ 3399573 w 8009775"/>
              <a:gd name="connsiteY232" fmla="*/ 1478281 h 6858001"/>
              <a:gd name="connsiteX233" fmla="*/ 3399869 w 8009775"/>
              <a:gd name="connsiteY233" fmla="*/ 1472249 h 6858001"/>
              <a:gd name="connsiteX234" fmla="*/ 3400460 w 8009775"/>
              <a:gd name="connsiteY234" fmla="*/ 1466215 h 6858001"/>
              <a:gd name="connsiteX235" fmla="*/ 3401051 w 8009775"/>
              <a:gd name="connsiteY235" fmla="*/ 1460183 h 6858001"/>
              <a:gd name="connsiteX236" fmla="*/ 3401938 w 8009775"/>
              <a:gd name="connsiteY236" fmla="*/ 1454468 h 6858001"/>
              <a:gd name="connsiteX237" fmla="*/ 3403120 w 8009775"/>
              <a:gd name="connsiteY237" fmla="*/ 1448754 h 6858001"/>
              <a:gd name="connsiteX238" fmla="*/ 3404598 w 8009775"/>
              <a:gd name="connsiteY238" fmla="*/ 1443039 h 6858001"/>
              <a:gd name="connsiteX239" fmla="*/ 3406371 w 8009775"/>
              <a:gd name="connsiteY239" fmla="*/ 1437324 h 6858001"/>
              <a:gd name="connsiteX240" fmla="*/ 3408736 w 8009775"/>
              <a:gd name="connsiteY240" fmla="*/ 1431609 h 6858001"/>
              <a:gd name="connsiteX241" fmla="*/ 3411100 w 8009775"/>
              <a:gd name="connsiteY241" fmla="*/ 1426211 h 6858001"/>
              <a:gd name="connsiteX242" fmla="*/ 3413760 w 8009775"/>
              <a:gd name="connsiteY242" fmla="*/ 1420814 h 6858001"/>
              <a:gd name="connsiteX243" fmla="*/ 3417012 w 8009775"/>
              <a:gd name="connsiteY243" fmla="*/ 1415416 h 6858001"/>
              <a:gd name="connsiteX244" fmla="*/ 3420262 w 8009775"/>
              <a:gd name="connsiteY244" fmla="*/ 1410336 h 6858001"/>
              <a:gd name="connsiteX245" fmla="*/ 3423218 w 8009775"/>
              <a:gd name="connsiteY245" fmla="*/ 1405256 h 6858001"/>
              <a:gd name="connsiteX246" fmla="*/ 3427356 w 8009775"/>
              <a:gd name="connsiteY246" fmla="*/ 1400175 h 6858001"/>
              <a:gd name="connsiteX247" fmla="*/ 3431198 w 8009775"/>
              <a:gd name="connsiteY247" fmla="*/ 1395731 h 6858001"/>
              <a:gd name="connsiteX248" fmla="*/ 3435928 w 8009775"/>
              <a:gd name="connsiteY248" fmla="*/ 1390969 h 6858001"/>
              <a:gd name="connsiteX249" fmla="*/ 3440361 w 8009775"/>
              <a:gd name="connsiteY249" fmla="*/ 1386524 h 6858001"/>
              <a:gd name="connsiteX250" fmla="*/ 3445386 w 8009775"/>
              <a:gd name="connsiteY250" fmla="*/ 1382396 h 6858001"/>
              <a:gd name="connsiteX251" fmla="*/ 3449819 w 8009775"/>
              <a:gd name="connsiteY251" fmla="*/ 1378585 h 6858001"/>
              <a:gd name="connsiteX252" fmla="*/ 3454844 w 8009775"/>
              <a:gd name="connsiteY252" fmla="*/ 1375094 h 6858001"/>
              <a:gd name="connsiteX253" fmla="*/ 3460459 w 8009775"/>
              <a:gd name="connsiteY253" fmla="*/ 1371919 h 6858001"/>
              <a:gd name="connsiteX254" fmla="*/ 3465780 w 8009775"/>
              <a:gd name="connsiteY254" fmla="*/ 1369061 h 6858001"/>
              <a:gd name="connsiteX255" fmla="*/ 3471100 w 8009775"/>
              <a:gd name="connsiteY255" fmla="*/ 1366204 h 6858001"/>
              <a:gd name="connsiteX256" fmla="*/ 3476420 w 8009775"/>
              <a:gd name="connsiteY256" fmla="*/ 1363980 h 6858001"/>
              <a:gd name="connsiteX257" fmla="*/ 3482331 w 8009775"/>
              <a:gd name="connsiteY257" fmla="*/ 1361759 h 6858001"/>
              <a:gd name="connsiteX258" fmla="*/ 3487947 w 8009775"/>
              <a:gd name="connsiteY258" fmla="*/ 1360170 h 6858001"/>
              <a:gd name="connsiteX259" fmla="*/ 3493858 w 8009775"/>
              <a:gd name="connsiteY259" fmla="*/ 1358265 h 6858001"/>
              <a:gd name="connsiteX260" fmla="*/ 3499474 w 8009775"/>
              <a:gd name="connsiteY260" fmla="*/ 1357314 h 6858001"/>
              <a:gd name="connsiteX261" fmla="*/ 3505385 w 8009775"/>
              <a:gd name="connsiteY261" fmla="*/ 1356043 h 6858001"/>
              <a:gd name="connsiteX262" fmla="*/ 3511001 w 8009775"/>
              <a:gd name="connsiteY262" fmla="*/ 1355409 h 6858001"/>
              <a:gd name="connsiteX263" fmla="*/ 3517208 w 8009775"/>
              <a:gd name="connsiteY263" fmla="*/ 1355090 h 6858001"/>
              <a:gd name="connsiteX264" fmla="*/ 3522823 w 8009775"/>
              <a:gd name="connsiteY264" fmla="*/ 1354773 h 6858001"/>
              <a:gd name="connsiteX265" fmla="*/ 3529030 w 8009775"/>
              <a:gd name="connsiteY265" fmla="*/ 1355090 h 6858001"/>
              <a:gd name="connsiteX266" fmla="*/ 3534646 w 8009775"/>
              <a:gd name="connsiteY266" fmla="*/ 1355409 h 6858001"/>
              <a:gd name="connsiteX267" fmla="*/ 3540557 w 8009775"/>
              <a:gd name="connsiteY267" fmla="*/ 1356043 h 6858001"/>
              <a:gd name="connsiteX268" fmla="*/ 3546468 w 8009775"/>
              <a:gd name="connsiteY268" fmla="*/ 1357314 h 6858001"/>
              <a:gd name="connsiteX269" fmla="*/ 3552380 w 8009775"/>
              <a:gd name="connsiteY269" fmla="*/ 1358265 h 6858001"/>
              <a:gd name="connsiteX270" fmla="*/ 3557995 w 8009775"/>
              <a:gd name="connsiteY270" fmla="*/ 1360170 h 6858001"/>
              <a:gd name="connsiteX271" fmla="*/ 3563906 w 8009775"/>
              <a:gd name="connsiteY271" fmla="*/ 1361759 h 6858001"/>
              <a:gd name="connsiteX272" fmla="*/ 3569227 w 8009775"/>
              <a:gd name="connsiteY272" fmla="*/ 1363980 h 6858001"/>
              <a:gd name="connsiteX273" fmla="*/ 3574842 w 8009775"/>
              <a:gd name="connsiteY273" fmla="*/ 1366204 h 6858001"/>
              <a:gd name="connsiteX274" fmla="*/ 3580458 w 8009775"/>
              <a:gd name="connsiteY274" fmla="*/ 1369061 h 6858001"/>
              <a:gd name="connsiteX275" fmla="*/ 3585778 w 8009775"/>
              <a:gd name="connsiteY275" fmla="*/ 1371919 h 6858001"/>
              <a:gd name="connsiteX276" fmla="*/ 3590803 w 8009775"/>
              <a:gd name="connsiteY276" fmla="*/ 1375094 h 6858001"/>
              <a:gd name="connsiteX277" fmla="*/ 3595828 w 8009775"/>
              <a:gd name="connsiteY277" fmla="*/ 1378585 h 6858001"/>
              <a:gd name="connsiteX278" fmla="*/ 3600852 w 8009775"/>
              <a:gd name="connsiteY278" fmla="*/ 1382396 h 6858001"/>
              <a:gd name="connsiteX279" fmla="*/ 3605581 w 8009775"/>
              <a:gd name="connsiteY279" fmla="*/ 1386524 h 6858001"/>
              <a:gd name="connsiteX280" fmla="*/ 3610014 w 8009775"/>
              <a:gd name="connsiteY280" fmla="*/ 1390969 h 6858001"/>
              <a:gd name="connsiteX281" fmla="*/ 3817500 w 8009775"/>
              <a:gd name="connsiteY281" fmla="*/ 1598296 h 6858001"/>
              <a:gd name="connsiteX282" fmla="*/ 3821934 w 8009775"/>
              <a:gd name="connsiteY282" fmla="*/ 1602423 h 6858001"/>
              <a:gd name="connsiteX283" fmla="*/ 3826663 w 8009775"/>
              <a:gd name="connsiteY283" fmla="*/ 1606869 h 6858001"/>
              <a:gd name="connsiteX284" fmla="*/ 3831687 w 8009775"/>
              <a:gd name="connsiteY284" fmla="*/ 1610361 h 6858001"/>
              <a:gd name="connsiteX285" fmla="*/ 3836712 w 8009775"/>
              <a:gd name="connsiteY285" fmla="*/ 1613854 h 6858001"/>
              <a:gd name="connsiteX286" fmla="*/ 3841736 w 8009775"/>
              <a:gd name="connsiteY286" fmla="*/ 1617345 h 6858001"/>
              <a:gd name="connsiteX287" fmla="*/ 3847352 w 8009775"/>
              <a:gd name="connsiteY287" fmla="*/ 1620204 h 6858001"/>
              <a:gd name="connsiteX288" fmla="*/ 3852672 w 8009775"/>
              <a:gd name="connsiteY288" fmla="*/ 1623061 h 6858001"/>
              <a:gd name="connsiteX289" fmla="*/ 3857992 w 8009775"/>
              <a:gd name="connsiteY289" fmla="*/ 1625283 h 6858001"/>
              <a:gd name="connsiteX290" fmla="*/ 3863608 w 8009775"/>
              <a:gd name="connsiteY290" fmla="*/ 1627189 h 6858001"/>
              <a:gd name="connsiteX291" fmla="*/ 3869519 w 8009775"/>
              <a:gd name="connsiteY291" fmla="*/ 1629094 h 6858001"/>
              <a:gd name="connsiteX292" fmla="*/ 3875135 w 8009775"/>
              <a:gd name="connsiteY292" fmla="*/ 1630998 h 6858001"/>
              <a:gd name="connsiteX293" fmla="*/ 3881046 w 8009775"/>
              <a:gd name="connsiteY293" fmla="*/ 1631950 h 6858001"/>
              <a:gd name="connsiteX294" fmla="*/ 3886662 w 8009775"/>
              <a:gd name="connsiteY294" fmla="*/ 1632904 h 6858001"/>
              <a:gd name="connsiteX295" fmla="*/ 3892869 w 8009775"/>
              <a:gd name="connsiteY295" fmla="*/ 1633856 h 6858001"/>
              <a:gd name="connsiteX296" fmla="*/ 3898485 w 8009775"/>
              <a:gd name="connsiteY296" fmla="*/ 1634174 h 6858001"/>
              <a:gd name="connsiteX297" fmla="*/ 3904396 w 8009775"/>
              <a:gd name="connsiteY297" fmla="*/ 1634174 h 6858001"/>
              <a:gd name="connsiteX298" fmla="*/ 3910307 w 8009775"/>
              <a:gd name="connsiteY298" fmla="*/ 1634174 h 6858001"/>
              <a:gd name="connsiteX299" fmla="*/ 3916219 w 8009775"/>
              <a:gd name="connsiteY299" fmla="*/ 1633856 h 6858001"/>
              <a:gd name="connsiteX300" fmla="*/ 3922425 w 8009775"/>
              <a:gd name="connsiteY300" fmla="*/ 1632904 h 6858001"/>
              <a:gd name="connsiteX301" fmla="*/ 3928041 w 8009775"/>
              <a:gd name="connsiteY301" fmla="*/ 1631950 h 6858001"/>
              <a:gd name="connsiteX302" fmla="*/ 3933657 w 8009775"/>
              <a:gd name="connsiteY302" fmla="*/ 1630998 h 6858001"/>
              <a:gd name="connsiteX303" fmla="*/ 3939568 w 8009775"/>
              <a:gd name="connsiteY303" fmla="*/ 1629094 h 6858001"/>
              <a:gd name="connsiteX304" fmla="*/ 3945184 w 8009775"/>
              <a:gd name="connsiteY304" fmla="*/ 1627189 h 6858001"/>
              <a:gd name="connsiteX305" fmla="*/ 3950799 w 8009775"/>
              <a:gd name="connsiteY305" fmla="*/ 1625283 h 6858001"/>
              <a:gd name="connsiteX306" fmla="*/ 3956415 w 8009775"/>
              <a:gd name="connsiteY306" fmla="*/ 1623061 h 6858001"/>
              <a:gd name="connsiteX307" fmla="*/ 3961735 w 8009775"/>
              <a:gd name="connsiteY307" fmla="*/ 1620204 h 6858001"/>
              <a:gd name="connsiteX308" fmla="*/ 3967055 w 8009775"/>
              <a:gd name="connsiteY308" fmla="*/ 1617345 h 6858001"/>
              <a:gd name="connsiteX309" fmla="*/ 3972376 w 8009775"/>
              <a:gd name="connsiteY309" fmla="*/ 1613854 h 6858001"/>
              <a:gd name="connsiteX310" fmla="*/ 3977400 w 8009775"/>
              <a:gd name="connsiteY310" fmla="*/ 1610361 h 6858001"/>
              <a:gd name="connsiteX311" fmla="*/ 3982425 w 8009775"/>
              <a:gd name="connsiteY311" fmla="*/ 1606869 h 6858001"/>
              <a:gd name="connsiteX312" fmla="*/ 3986858 w 8009775"/>
              <a:gd name="connsiteY312" fmla="*/ 1602423 h 6858001"/>
              <a:gd name="connsiteX313" fmla="*/ 3991587 w 8009775"/>
              <a:gd name="connsiteY313" fmla="*/ 1598296 h 6858001"/>
              <a:gd name="connsiteX314" fmla="*/ 3996021 w 8009775"/>
              <a:gd name="connsiteY314" fmla="*/ 1593533 h 6858001"/>
              <a:gd name="connsiteX315" fmla="*/ 4000159 w 8009775"/>
              <a:gd name="connsiteY315" fmla="*/ 1588771 h 6858001"/>
              <a:gd name="connsiteX316" fmla="*/ 4003705 w 8009775"/>
              <a:gd name="connsiteY316" fmla="*/ 1583691 h 6858001"/>
              <a:gd name="connsiteX317" fmla="*/ 4007548 w 8009775"/>
              <a:gd name="connsiteY317" fmla="*/ 1578928 h 6858001"/>
              <a:gd name="connsiteX318" fmla="*/ 4010799 w 8009775"/>
              <a:gd name="connsiteY318" fmla="*/ 1573849 h 6858001"/>
              <a:gd name="connsiteX319" fmla="*/ 4013459 w 8009775"/>
              <a:gd name="connsiteY319" fmla="*/ 1568451 h 6858001"/>
              <a:gd name="connsiteX320" fmla="*/ 4016415 w 8009775"/>
              <a:gd name="connsiteY320" fmla="*/ 1563054 h 6858001"/>
              <a:gd name="connsiteX321" fmla="*/ 4018484 w 8009775"/>
              <a:gd name="connsiteY321" fmla="*/ 1557339 h 6858001"/>
              <a:gd name="connsiteX322" fmla="*/ 4020848 w 8009775"/>
              <a:gd name="connsiteY322" fmla="*/ 1551941 h 6858001"/>
              <a:gd name="connsiteX323" fmla="*/ 4022621 w 8009775"/>
              <a:gd name="connsiteY323" fmla="*/ 1546226 h 6858001"/>
              <a:gd name="connsiteX324" fmla="*/ 4024395 w 8009775"/>
              <a:gd name="connsiteY324" fmla="*/ 1540511 h 6858001"/>
              <a:gd name="connsiteX325" fmla="*/ 4025282 w 8009775"/>
              <a:gd name="connsiteY325" fmla="*/ 1534478 h 6858001"/>
              <a:gd name="connsiteX326" fmla="*/ 4026464 w 8009775"/>
              <a:gd name="connsiteY326" fmla="*/ 1528763 h 6858001"/>
              <a:gd name="connsiteX327" fmla="*/ 4027055 w 8009775"/>
              <a:gd name="connsiteY327" fmla="*/ 1522731 h 6858001"/>
              <a:gd name="connsiteX328" fmla="*/ 4027646 w 8009775"/>
              <a:gd name="connsiteY328" fmla="*/ 1517016 h 6858001"/>
              <a:gd name="connsiteX329" fmla="*/ 4027646 w 8009775"/>
              <a:gd name="connsiteY329" fmla="*/ 1510984 h 6858001"/>
              <a:gd name="connsiteX330" fmla="*/ 4027646 w 8009775"/>
              <a:gd name="connsiteY330" fmla="*/ 1505268 h 6858001"/>
              <a:gd name="connsiteX331" fmla="*/ 4027055 w 8009775"/>
              <a:gd name="connsiteY331" fmla="*/ 1499553 h 6858001"/>
              <a:gd name="connsiteX332" fmla="*/ 4026464 w 8009775"/>
              <a:gd name="connsiteY332" fmla="*/ 1493204 h 6858001"/>
              <a:gd name="connsiteX333" fmla="*/ 4025282 w 8009775"/>
              <a:gd name="connsiteY333" fmla="*/ 1487489 h 6858001"/>
              <a:gd name="connsiteX334" fmla="*/ 4024395 w 8009775"/>
              <a:gd name="connsiteY334" fmla="*/ 1481773 h 6858001"/>
              <a:gd name="connsiteX335" fmla="*/ 4022621 w 8009775"/>
              <a:gd name="connsiteY335" fmla="*/ 1476058 h 6858001"/>
              <a:gd name="connsiteX336" fmla="*/ 4020848 w 8009775"/>
              <a:gd name="connsiteY336" fmla="*/ 1470343 h 6858001"/>
              <a:gd name="connsiteX337" fmla="*/ 4018484 w 8009775"/>
              <a:gd name="connsiteY337" fmla="*/ 1464629 h 6858001"/>
              <a:gd name="connsiteX338" fmla="*/ 4016415 w 8009775"/>
              <a:gd name="connsiteY338" fmla="*/ 1459231 h 6858001"/>
              <a:gd name="connsiteX339" fmla="*/ 4013459 w 8009775"/>
              <a:gd name="connsiteY339" fmla="*/ 1453834 h 6858001"/>
              <a:gd name="connsiteX340" fmla="*/ 4010799 w 8009775"/>
              <a:gd name="connsiteY340" fmla="*/ 1448436 h 6858001"/>
              <a:gd name="connsiteX341" fmla="*/ 4007548 w 8009775"/>
              <a:gd name="connsiteY341" fmla="*/ 1443356 h 6858001"/>
              <a:gd name="connsiteX342" fmla="*/ 4003705 w 8009775"/>
              <a:gd name="connsiteY342" fmla="*/ 1438275 h 6858001"/>
              <a:gd name="connsiteX343" fmla="*/ 4000159 w 8009775"/>
              <a:gd name="connsiteY343" fmla="*/ 1433195 h 6858001"/>
              <a:gd name="connsiteX344" fmla="*/ 3996021 w 8009775"/>
              <a:gd name="connsiteY344" fmla="*/ 1428751 h 6858001"/>
              <a:gd name="connsiteX345" fmla="*/ 3991587 w 8009775"/>
              <a:gd name="connsiteY345" fmla="*/ 1423988 h 6858001"/>
              <a:gd name="connsiteX346" fmla="*/ 3323022 w 8009775"/>
              <a:gd name="connsiteY346" fmla="*/ 755333 h 6858001"/>
              <a:gd name="connsiteX347" fmla="*/ 3316815 w 8009775"/>
              <a:gd name="connsiteY347" fmla="*/ 748348 h 6858001"/>
              <a:gd name="connsiteX348" fmla="*/ 3310904 w 8009775"/>
              <a:gd name="connsiteY348" fmla="*/ 741045 h 6858001"/>
              <a:gd name="connsiteX349" fmla="*/ 3305584 w 8009775"/>
              <a:gd name="connsiteY349" fmla="*/ 733108 h 6858001"/>
              <a:gd name="connsiteX350" fmla="*/ 3300855 w 8009775"/>
              <a:gd name="connsiteY350" fmla="*/ 725170 h 6858001"/>
              <a:gd name="connsiteX351" fmla="*/ 3297308 w 8009775"/>
              <a:gd name="connsiteY351" fmla="*/ 716915 h 6858001"/>
              <a:gd name="connsiteX352" fmla="*/ 3293761 w 8009775"/>
              <a:gd name="connsiteY352" fmla="*/ 708660 h 6858001"/>
              <a:gd name="connsiteX353" fmla="*/ 3291101 w 8009775"/>
              <a:gd name="connsiteY353" fmla="*/ 699770 h 6858001"/>
              <a:gd name="connsiteX354" fmla="*/ 3289328 w 8009775"/>
              <a:gd name="connsiteY354" fmla="*/ 691198 h 6858001"/>
              <a:gd name="connsiteX355" fmla="*/ 2596527 w 8009775"/>
              <a:gd name="connsiteY355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004395 w 8009775"/>
              <a:gd name="connsiteY73" fmla="*/ 6858000 h 6858001"/>
              <a:gd name="connsiteX74" fmla="*/ 7364776 w 8009775"/>
              <a:gd name="connsiteY74" fmla="*/ 6858001 h 6858001"/>
              <a:gd name="connsiteX75" fmla="*/ 7460026 w 8009775"/>
              <a:gd name="connsiteY75" fmla="*/ 6858001 h 6858001"/>
              <a:gd name="connsiteX76" fmla="*/ 7507651 w 8009775"/>
              <a:gd name="connsiteY76" fmla="*/ 6858001 h 6858001"/>
              <a:gd name="connsiteX77" fmla="*/ 7507650 w 8009775"/>
              <a:gd name="connsiteY77" fmla="*/ 6858000 h 6858001"/>
              <a:gd name="connsiteX78" fmla="*/ 8009775 w 8009775"/>
              <a:gd name="connsiteY78" fmla="*/ 6858000 h 6858001"/>
              <a:gd name="connsiteX79" fmla="*/ 3996316 w 8009775"/>
              <a:gd name="connsiteY79" fmla="*/ 2818448 h 6858001"/>
              <a:gd name="connsiteX80" fmla="*/ 3980947 w 8009775"/>
              <a:gd name="connsiteY80" fmla="*/ 2804795 h 6858001"/>
              <a:gd name="connsiteX81" fmla="*/ 3965282 w 8009775"/>
              <a:gd name="connsiteY81" fmla="*/ 2791144 h 6858001"/>
              <a:gd name="connsiteX82" fmla="*/ 3950799 w 8009775"/>
              <a:gd name="connsiteY82" fmla="*/ 2776856 h 6858001"/>
              <a:gd name="connsiteX83" fmla="*/ 3936021 w 8009775"/>
              <a:gd name="connsiteY83" fmla="*/ 2762568 h 6858001"/>
              <a:gd name="connsiteX84" fmla="*/ 3001744 w 8009775"/>
              <a:gd name="connsiteY84" fmla="*/ 1828166 h 6858001"/>
              <a:gd name="connsiteX85" fmla="*/ 2997311 w 8009775"/>
              <a:gd name="connsiteY85" fmla="*/ 1823404 h 6858001"/>
              <a:gd name="connsiteX86" fmla="*/ 2992878 w 8009775"/>
              <a:gd name="connsiteY86" fmla="*/ 1818640 h 6858001"/>
              <a:gd name="connsiteX87" fmla="*/ 2989331 w 8009775"/>
              <a:gd name="connsiteY87" fmla="*/ 1814195 h 6858001"/>
              <a:gd name="connsiteX88" fmla="*/ 2985784 w 8009775"/>
              <a:gd name="connsiteY88" fmla="*/ 1808799 h 6858001"/>
              <a:gd name="connsiteX89" fmla="*/ 2982533 w 8009775"/>
              <a:gd name="connsiteY89" fmla="*/ 1803718 h 6858001"/>
              <a:gd name="connsiteX90" fmla="*/ 2979873 w 8009775"/>
              <a:gd name="connsiteY90" fmla="*/ 1798321 h 6858001"/>
              <a:gd name="connsiteX91" fmla="*/ 2976917 w 8009775"/>
              <a:gd name="connsiteY91" fmla="*/ 1792924 h 6858001"/>
              <a:gd name="connsiteX92" fmla="*/ 2974552 w 8009775"/>
              <a:gd name="connsiteY92" fmla="*/ 1787526 h 6858001"/>
              <a:gd name="connsiteX93" fmla="*/ 2972484 w 8009775"/>
              <a:gd name="connsiteY93" fmla="*/ 1781811 h 6858001"/>
              <a:gd name="connsiteX94" fmla="*/ 2970710 w 8009775"/>
              <a:gd name="connsiteY94" fmla="*/ 1776095 h 6858001"/>
              <a:gd name="connsiteX95" fmla="*/ 2968937 w 8009775"/>
              <a:gd name="connsiteY95" fmla="*/ 1770380 h 6858001"/>
              <a:gd name="connsiteX96" fmla="*/ 2967755 w 8009775"/>
              <a:gd name="connsiteY96" fmla="*/ 1764665 h 6858001"/>
              <a:gd name="connsiteX97" fmla="*/ 2966868 w 8009775"/>
              <a:gd name="connsiteY97" fmla="*/ 1758634 h 6858001"/>
              <a:gd name="connsiteX98" fmla="*/ 2965981 w 8009775"/>
              <a:gd name="connsiteY98" fmla="*/ 1752919 h 6858001"/>
              <a:gd name="connsiteX99" fmla="*/ 2965686 w 8009775"/>
              <a:gd name="connsiteY99" fmla="*/ 1746885 h 6858001"/>
              <a:gd name="connsiteX100" fmla="*/ 2965686 w 8009775"/>
              <a:gd name="connsiteY100" fmla="*/ 1741170 h 6858001"/>
              <a:gd name="connsiteX101" fmla="*/ 2965686 w 8009775"/>
              <a:gd name="connsiteY101" fmla="*/ 1735139 h 6858001"/>
              <a:gd name="connsiteX102" fmla="*/ 2965981 w 8009775"/>
              <a:gd name="connsiteY102" fmla="*/ 1729424 h 6858001"/>
              <a:gd name="connsiteX103" fmla="*/ 2966868 w 8009775"/>
              <a:gd name="connsiteY103" fmla="*/ 1723074 h 6858001"/>
              <a:gd name="connsiteX104" fmla="*/ 2967755 w 8009775"/>
              <a:gd name="connsiteY104" fmla="*/ 1717358 h 6858001"/>
              <a:gd name="connsiteX105" fmla="*/ 2968937 w 8009775"/>
              <a:gd name="connsiteY105" fmla="*/ 1711643 h 6858001"/>
              <a:gd name="connsiteX106" fmla="*/ 2970710 w 8009775"/>
              <a:gd name="connsiteY106" fmla="*/ 1705929 h 6858001"/>
              <a:gd name="connsiteX107" fmla="*/ 2972484 w 8009775"/>
              <a:gd name="connsiteY107" fmla="*/ 1700214 h 6858001"/>
              <a:gd name="connsiteX108" fmla="*/ 2974552 w 8009775"/>
              <a:gd name="connsiteY108" fmla="*/ 1694816 h 6858001"/>
              <a:gd name="connsiteX109" fmla="*/ 2976917 w 8009775"/>
              <a:gd name="connsiteY109" fmla="*/ 1689101 h 6858001"/>
              <a:gd name="connsiteX110" fmla="*/ 2979873 w 8009775"/>
              <a:gd name="connsiteY110" fmla="*/ 1683703 h 6858001"/>
              <a:gd name="connsiteX111" fmla="*/ 2982533 w 8009775"/>
              <a:gd name="connsiteY111" fmla="*/ 1678305 h 6858001"/>
              <a:gd name="connsiteX112" fmla="*/ 2985784 w 8009775"/>
              <a:gd name="connsiteY112" fmla="*/ 1673226 h 6858001"/>
              <a:gd name="connsiteX113" fmla="*/ 2989331 w 8009775"/>
              <a:gd name="connsiteY113" fmla="*/ 1668145 h 6858001"/>
              <a:gd name="connsiteX114" fmla="*/ 2992878 w 8009775"/>
              <a:gd name="connsiteY114" fmla="*/ 1663066 h 6858001"/>
              <a:gd name="connsiteX115" fmla="*/ 2997311 w 8009775"/>
              <a:gd name="connsiteY115" fmla="*/ 1658621 h 6858001"/>
              <a:gd name="connsiteX116" fmla="*/ 3001744 w 8009775"/>
              <a:gd name="connsiteY116" fmla="*/ 1653859 h 6858001"/>
              <a:gd name="connsiteX117" fmla="*/ 3006178 w 8009775"/>
              <a:gd name="connsiteY117" fmla="*/ 1649414 h 6858001"/>
              <a:gd name="connsiteX118" fmla="*/ 3010907 w 8009775"/>
              <a:gd name="connsiteY118" fmla="*/ 1645603 h 6858001"/>
              <a:gd name="connsiteX119" fmla="*/ 3015932 w 8009775"/>
              <a:gd name="connsiteY119" fmla="*/ 1641794 h 6858001"/>
              <a:gd name="connsiteX120" fmla="*/ 3020956 w 8009775"/>
              <a:gd name="connsiteY120" fmla="*/ 1637984 h 6858001"/>
              <a:gd name="connsiteX121" fmla="*/ 3025981 w 8009775"/>
              <a:gd name="connsiteY121" fmla="*/ 1634809 h 6858001"/>
              <a:gd name="connsiteX122" fmla="*/ 3031596 w 8009775"/>
              <a:gd name="connsiteY122" fmla="*/ 1631950 h 6858001"/>
              <a:gd name="connsiteX123" fmla="*/ 3036916 w 8009775"/>
              <a:gd name="connsiteY123" fmla="*/ 1629094 h 6858001"/>
              <a:gd name="connsiteX124" fmla="*/ 3042532 w 8009775"/>
              <a:gd name="connsiteY124" fmla="*/ 1626871 h 6858001"/>
              <a:gd name="connsiteX125" fmla="*/ 3047852 w 8009775"/>
              <a:gd name="connsiteY125" fmla="*/ 1624649 h 6858001"/>
              <a:gd name="connsiteX126" fmla="*/ 3053764 w 8009775"/>
              <a:gd name="connsiteY126" fmla="*/ 1623061 h 6858001"/>
              <a:gd name="connsiteX127" fmla="*/ 3059379 w 8009775"/>
              <a:gd name="connsiteY127" fmla="*/ 1621155 h 6858001"/>
              <a:gd name="connsiteX128" fmla="*/ 3065291 w 8009775"/>
              <a:gd name="connsiteY128" fmla="*/ 1620204 h 6858001"/>
              <a:gd name="connsiteX129" fmla="*/ 3070906 w 8009775"/>
              <a:gd name="connsiteY129" fmla="*/ 1618934 h 6858001"/>
              <a:gd name="connsiteX130" fmla="*/ 3077113 w 8009775"/>
              <a:gd name="connsiteY130" fmla="*/ 1618299 h 6858001"/>
              <a:gd name="connsiteX131" fmla="*/ 3082729 w 8009775"/>
              <a:gd name="connsiteY131" fmla="*/ 1617981 h 6858001"/>
              <a:gd name="connsiteX132" fmla="*/ 3088936 w 8009775"/>
              <a:gd name="connsiteY132" fmla="*/ 1617981 h 6858001"/>
              <a:gd name="connsiteX133" fmla="*/ 3094552 w 8009775"/>
              <a:gd name="connsiteY133" fmla="*/ 1617981 h 6858001"/>
              <a:gd name="connsiteX134" fmla="*/ 3100758 w 8009775"/>
              <a:gd name="connsiteY134" fmla="*/ 1618299 h 6858001"/>
              <a:gd name="connsiteX135" fmla="*/ 3106670 w 8009775"/>
              <a:gd name="connsiteY135" fmla="*/ 1618934 h 6858001"/>
              <a:gd name="connsiteX136" fmla="*/ 3112285 w 8009775"/>
              <a:gd name="connsiteY136" fmla="*/ 1620204 h 6858001"/>
              <a:gd name="connsiteX137" fmla="*/ 3117901 w 8009775"/>
              <a:gd name="connsiteY137" fmla="*/ 1621155 h 6858001"/>
              <a:gd name="connsiteX138" fmla="*/ 3123812 w 8009775"/>
              <a:gd name="connsiteY138" fmla="*/ 1623061 h 6858001"/>
              <a:gd name="connsiteX139" fmla="*/ 3129428 w 8009775"/>
              <a:gd name="connsiteY139" fmla="*/ 1624649 h 6858001"/>
              <a:gd name="connsiteX140" fmla="*/ 3135339 w 8009775"/>
              <a:gd name="connsiteY140" fmla="*/ 1626871 h 6858001"/>
              <a:gd name="connsiteX141" fmla="*/ 3140660 w 8009775"/>
              <a:gd name="connsiteY141" fmla="*/ 1629094 h 6858001"/>
              <a:gd name="connsiteX142" fmla="*/ 3145980 w 8009775"/>
              <a:gd name="connsiteY142" fmla="*/ 1631950 h 6858001"/>
              <a:gd name="connsiteX143" fmla="*/ 3151300 w 8009775"/>
              <a:gd name="connsiteY143" fmla="*/ 1634809 h 6858001"/>
              <a:gd name="connsiteX144" fmla="*/ 3156324 w 8009775"/>
              <a:gd name="connsiteY144" fmla="*/ 1637984 h 6858001"/>
              <a:gd name="connsiteX145" fmla="*/ 3161349 w 8009775"/>
              <a:gd name="connsiteY145" fmla="*/ 1641794 h 6858001"/>
              <a:gd name="connsiteX146" fmla="*/ 3166374 w 8009775"/>
              <a:gd name="connsiteY146" fmla="*/ 1645603 h 6858001"/>
              <a:gd name="connsiteX147" fmla="*/ 3171102 w 8009775"/>
              <a:gd name="connsiteY147" fmla="*/ 1649414 h 6858001"/>
              <a:gd name="connsiteX148" fmla="*/ 3175832 w 8009775"/>
              <a:gd name="connsiteY148" fmla="*/ 1653859 h 6858001"/>
              <a:gd name="connsiteX149" fmla="*/ 3844692 w 8009775"/>
              <a:gd name="connsiteY149" fmla="*/ 2322830 h 6858001"/>
              <a:gd name="connsiteX150" fmla="*/ 3849421 w 8009775"/>
              <a:gd name="connsiteY150" fmla="*/ 2326958 h 6858001"/>
              <a:gd name="connsiteX151" fmla="*/ 3854150 w 8009775"/>
              <a:gd name="connsiteY151" fmla="*/ 2331085 h 6858001"/>
              <a:gd name="connsiteX152" fmla="*/ 3859175 w 8009775"/>
              <a:gd name="connsiteY152" fmla="*/ 2334895 h 6858001"/>
              <a:gd name="connsiteX153" fmla="*/ 3864199 w 8009775"/>
              <a:gd name="connsiteY153" fmla="*/ 2338705 h 6858001"/>
              <a:gd name="connsiteX154" fmla="*/ 3869224 w 8009775"/>
              <a:gd name="connsiteY154" fmla="*/ 2341880 h 6858001"/>
              <a:gd name="connsiteX155" fmla="*/ 3874544 w 8009775"/>
              <a:gd name="connsiteY155" fmla="*/ 2344738 h 6858001"/>
              <a:gd name="connsiteX156" fmla="*/ 3879864 w 8009775"/>
              <a:gd name="connsiteY156" fmla="*/ 2347595 h 6858001"/>
              <a:gd name="connsiteX157" fmla="*/ 3885775 w 8009775"/>
              <a:gd name="connsiteY157" fmla="*/ 2349818 h 6858001"/>
              <a:gd name="connsiteX158" fmla="*/ 3891096 w 8009775"/>
              <a:gd name="connsiteY158" fmla="*/ 2351723 h 6858001"/>
              <a:gd name="connsiteX159" fmla="*/ 3896711 w 8009775"/>
              <a:gd name="connsiteY159" fmla="*/ 2353628 h 6858001"/>
              <a:gd name="connsiteX160" fmla="*/ 3902623 w 8009775"/>
              <a:gd name="connsiteY160" fmla="*/ 2355534 h 6858001"/>
              <a:gd name="connsiteX161" fmla="*/ 3908238 w 8009775"/>
              <a:gd name="connsiteY161" fmla="*/ 2356485 h 6858001"/>
              <a:gd name="connsiteX162" fmla="*/ 3914150 w 8009775"/>
              <a:gd name="connsiteY162" fmla="*/ 2357755 h 6858001"/>
              <a:gd name="connsiteX163" fmla="*/ 3920061 w 8009775"/>
              <a:gd name="connsiteY163" fmla="*/ 2358391 h 6858001"/>
              <a:gd name="connsiteX164" fmla="*/ 3925972 w 8009775"/>
              <a:gd name="connsiteY164" fmla="*/ 2358708 h 6858001"/>
              <a:gd name="connsiteX165" fmla="*/ 3931883 w 8009775"/>
              <a:gd name="connsiteY165" fmla="*/ 2358708 h 6858001"/>
              <a:gd name="connsiteX166" fmla="*/ 3937795 w 8009775"/>
              <a:gd name="connsiteY166" fmla="*/ 2358708 h 6858001"/>
              <a:gd name="connsiteX167" fmla="*/ 3943706 w 8009775"/>
              <a:gd name="connsiteY167" fmla="*/ 2358391 h 6858001"/>
              <a:gd name="connsiteX168" fmla="*/ 3949617 w 8009775"/>
              <a:gd name="connsiteY168" fmla="*/ 2357755 h 6858001"/>
              <a:gd name="connsiteX169" fmla="*/ 3955233 w 8009775"/>
              <a:gd name="connsiteY169" fmla="*/ 2356485 h 6858001"/>
              <a:gd name="connsiteX170" fmla="*/ 3961144 w 8009775"/>
              <a:gd name="connsiteY170" fmla="*/ 2355534 h 6858001"/>
              <a:gd name="connsiteX171" fmla="*/ 3966760 w 8009775"/>
              <a:gd name="connsiteY171" fmla="*/ 2353628 h 6858001"/>
              <a:gd name="connsiteX172" fmla="*/ 3972671 w 8009775"/>
              <a:gd name="connsiteY172" fmla="*/ 2351723 h 6858001"/>
              <a:gd name="connsiteX173" fmla="*/ 3978287 w 8009775"/>
              <a:gd name="connsiteY173" fmla="*/ 2349818 h 6858001"/>
              <a:gd name="connsiteX174" fmla="*/ 3983607 w 8009775"/>
              <a:gd name="connsiteY174" fmla="*/ 2347595 h 6858001"/>
              <a:gd name="connsiteX175" fmla="*/ 3989223 w 8009775"/>
              <a:gd name="connsiteY175" fmla="*/ 2344738 h 6858001"/>
              <a:gd name="connsiteX176" fmla="*/ 3994543 w 8009775"/>
              <a:gd name="connsiteY176" fmla="*/ 2341880 h 6858001"/>
              <a:gd name="connsiteX177" fmla="*/ 3999567 w 8009775"/>
              <a:gd name="connsiteY177" fmla="*/ 2338705 h 6858001"/>
              <a:gd name="connsiteX178" fmla="*/ 4004888 w 8009775"/>
              <a:gd name="connsiteY178" fmla="*/ 2334895 h 6858001"/>
              <a:gd name="connsiteX179" fmla="*/ 4009617 w 8009775"/>
              <a:gd name="connsiteY179" fmla="*/ 2331085 h 6858001"/>
              <a:gd name="connsiteX180" fmla="*/ 4014346 w 8009775"/>
              <a:gd name="connsiteY180" fmla="*/ 2326958 h 6858001"/>
              <a:gd name="connsiteX181" fmla="*/ 4018779 w 8009775"/>
              <a:gd name="connsiteY181" fmla="*/ 2322830 h 6858001"/>
              <a:gd name="connsiteX182" fmla="*/ 4023213 w 8009775"/>
              <a:gd name="connsiteY182" fmla="*/ 2318068 h 6858001"/>
              <a:gd name="connsiteX183" fmla="*/ 4027646 w 8009775"/>
              <a:gd name="connsiteY183" fmla="*/ 2313306 h 6858001"/>
              <a:gd name="connsiteX184" fmla="*/ 4031193 w 8009775"/>
              <a:gd name="connsiteY184" fmla="*/ 2308544 h 6858001"/>
              <a:gd name="connsiteX185" fmla="*/ 4034740 w 8009775"/>
              <a:gd name="connsiteY185" fmla="*/ 2303463 h 6858001"/>
              <a:gd name="connsiteX186" fmla="*/ 4037991 w 8009775"/>
              <a:gd name="connsiteY186" fmla="*/ 2298384 h 6858001"/>
              <a:gd name="connsiteX187" fmla="*/ 4040946 w 8009775"/>
              <a:gd name="connsiteY187" fmla="*/ 2292985 h 6858001"/>
              <a:gd name="connsiteX188" fmla="*/ 4043606 w 8009775"/>
              <a:gd name="connsiteY188" fmla="*/ 2287588 h 6858001"/>
              <a:gd name="connsiteX189" fmla="*/ 4046267 w 8009775"/>
              <a:gd name="connsiteY189" fmla="*/ 2281873 h 6858001"/>
              <a:gd name="connsiteX190" fmla="*/ 4048040 w 8009775"/>
              <a:gd name="connsiteY190" fmla="*/ 2276476 h 6858001"/>
              <a:gd name="connsiteX191" fmla="*/ 4050109 w 8009775"/>
              <a:gd name="connsiteY191" fmla="*/ 2270761 h 6858001"/>
              <a:gd name="connsiteX192" fmla="*/ 4051587 w 8009775"/>
              <a:gd name="connsiteY192" fmla="*/ 2265046 h 6858001"/>
              <a:gd name="connsiteX193" fmla="*/ 4052769 w 8009775"/>
              <a:gd name="connsiteY193" fmla="*/ 2259331 h 6858001"/>
              <a:gd name="connsiteX194" fmla="*/ 4053656 w 8009775"/>
              <a:gd name="connsiteY194" fmla="*/ 2253298 h 6858001"/>
              <a:gd name="connsiteX195" fmla="*/ 4054542 w 8009775"/>
              <a:gd name="connsiteY195" fmla="*/ 2247266 h 6858001"/>
              <a:gd name="connsiteX196" fmla="*/ 4054838 w 8009775"/>
              <a:gd name="connsiteY196" fmla="*/ 2241551 h 6858001"/>
              <a:gd name="connsiteX197" fmla="*/ 4055133 w 8009775"/>
              <a:gd name="connsiteY197" fmla="*/ 2235519 h 6858001"/>
              <a:gd name="connsiteX198" fmla="*/ 4054838 w 8009775"/>
              <a:gd name="connsiteY198" fmla="*/ 2229804 h 6858001"/>
              <a:gd name="connsiteX199" fmla="*/ 4054542 w 8009775"/>
              <a:gd name="connsiteY199" fmla="*/ 2223770 h 6858001"/>
              <a:gd name="connsiteX200" fmla="*/ 4053656 w 8009775"/>
              <a:gd name="connsiteY200" fmla="*/ 2217739 h 6858001"/>
              <a:gd name="connsiteX201" fmla="*/ 4052769 w 8009775"/>
              <a:gd name="connsiteY201" fmla="*/ 2212024 h 6858001"/>
              <a:gd name="connsiteX202" fmla="*/ 4051587 w 8009775"/>
              <a:gd name="connsiteY202" fmla="*/ 2206309 h 6858001"/>
              <a:gd name="connsiteX203" fmla="*/ 4050109 w 8009775"/>
              <a:gd name="connsiteY203" fmla="*/ 2200593 h 6858001"/>
              <a:gd name="connsiteX204" fmla="*/ 4048040 w 8009775"/>
              <a:gd name="connsiteY204" fmla="*/ 2194878 h 6858001"/>
              <a:gd name="connsiteX205" fmla="*/ 4046267 w 8009775"/>
              <a:gd name="connsiteY205" fmla="*/ 2189163 h 6858001"/>
              <a:gd name="connsiteX206" fmla="*/ 4043606 w 8009775"/>
              <a:gd name="connsiteY206" fmla="*/ 2183765 h 6858001"/>
              <a:gd name="connsiteX207" fmla="*/ 4040946 w 8009775"/>
              <a:gd name="connsiteY207" fmla="*/ 2178368 h 6858001"/>
              <a:gd name="connsiteX208" fmla="*/ 4037991 w 8009775"/>
              <a:gd name="connsiteY208" fmla="*/ 2172970 h 6858001"/>
              <a:gd name="connsiteX209" fmla="*/ 4034740 w 8009775"/>
              <a:gd name="connsiteY209" fmla="*/ 2167890 h 6858001"/>
              <a:gd name="connsiteX210" fmla="*/ 4031193 w 8009775"/>
              <a:gd name="connsiteY210" fmla="*/ 2162494 h 6858001"/>
              <a:gd name="connsiteX211" fmla="*/ 4027646 w 8009775"/>
              <a:gd name="connsiteY211" fmla="*/ 2157730 h 6858001"/>
              <a:gd name="connsiteX212" fmla="*/ 4023213 w 8009775"/>
              <a:gd name="connsiteY212" fmla="*/ 2153285 h 6858001"/>
              <a:gd name="connsiteX213" fmla="*/ 4018779 w 8009775"/>
              <a:gd name="connsiteY213" fmla="*/ 2148523 h 6858001"/>
              <a:gd name="connsiteX214" fmla="*/ 3632182 w 8009775"/>
              <a:gd name="connsiteY214" fmla="*/ 1761490 h 6858001"/>
              <a:gd name="connsiteX215" fmla="*/ 3435928 w 8009775"/>
              <a:gd name="connsiteY215" fmla="*/ 1565276 h 6858001"/>
              <a:gd name="connsiteX216" fmla="*/ 3431198 w 8009775"/>
              <a:gd name="connsiteY216" fmla="*/ 1560514 h 6858001"/>
              <a:gd name="connsiteX217" fmla="*/ 3427356 w 8009775"/>
              <a:gd name="connsiteY217" fmla="*/ 1555751 h 6858001"/>
              <a:gd name="connsiteX218" fmla="*/ 3423218 w 8009775"/>
              <a:gd name="connsiteY218" fmla="*/ 1550671 h 6858001"/>
              <a:gd name="connsiteX219" fmla="*/ 3420262 w 8009775"/>
              <a:gd name="connsiteY219" fmla="*/ 1545909 h 6858001"/>
              <a:gd name="connsiteX220" fmla="*/ 3417012 w 8009775"/>
              <a:gd name="connsiteY220" fmla="*/ 1540829 h 6858001"/>
              <a:gd name="connsiteX221" fmla="*/ 3413760 w 8009775"/>
              <a:gd name="connsiteY221" fmla="*/ 1535430 h 6858001"/>
              <a:gd name="connsiteX222" fmla="*/ 3411100 w 8009775"/>
              <a:gd name="connsiteY222" fmla="*/ 1530034 h 6858001"/>
              <a:gd name="connsiteX223" fmla="*/ 3408736 w 8009775"/>
              <a:gd name="connsiteY223" fmla="*/ 1524635 h 6858001"/>
              <a:gd name="connsiteX224" fmla="*/ 3406371 w 8009775"/>
              <a:gd name="connsiteY224" fmla="*/ 1518920 h 6858001"/>
              <a:gd name="connsiteX225" fmla="*/ 3404598 w 8009775"/>
              <a:gd name="connsiteY225" fmla="*/ 1513205 h 6858001"/>
              <a:gd name="connsiteX226" fmla="*/ 3403120 w 8009775"/>
              <a:gd name="connsiteY226" fmla="*/ 1507174 h 6858001"/>
              <a:gd name="connsiteX227" fmla="*/ 3401938 w 8009775"/>
              <a:gd name="connsiteY227" fmla="*/ 1501459 h 6858001"/>
              <a:gd name="connsiteX228" fmla="*/ 3401051 w 8009775"/>
              <a:gd name="connsiteY228" fmla="*/ 1495744 h 6858001"/>
              <a:gd name="connsiteX229" fmla="*/ 3400460 w 8009775"/>
              <a:gd name="connsiteY229" fmla="*/ 1489710 h 6858001"/>
              <a:gd name="connsiteX230" fmla="*/ 3399869 w 8009775"/>
              <a:gd name="connsiteY230" fmla="*/ 1483995 h 6858001"/>
              <a:gd name="connsiteX231" fmla="*/ 3399573 w 8009775"/>
              <a:gd name="connsiteY231" fmla="*/ 1478281 h 6858001"/>
              <a:gd name="connsiteX232" fmla="*/ 3399869 w 8009775"/>
              <a:gd name="connsiteY232" fmla="*/ 1472249 h 6858001"/>
              <a:gd name="connsiteX233" fmla="*/ 3400460 w 8009775"/>
              <a:gd name="connsiteY233" fmla="*/ 1466215 h 6858001"/>
              <a:gd name="connsiteX234" fmla="*/ 3401051 w 8009775"/>
              <a:gd name="connsiteY234" fmla="*/ 1460183 h 6858001"/>
              <a:gd name="connsiteX235" fmla="*/ 3401938 w 8009775"/>
              <a:gd name="connsiteY235" fmla="*/ 1454468 h 6858001"/>
              <a:gd name="connsiteX236" fmla="*/ 3403120 w 8009775"/>
              <a:gd name="connsiteY236" fmla="*/ 1448754 h 6858001"/>
              <a:gd name="connsiteX237" fmla="*/ 3404598 w 8009775"/>
              <a:gd name="connsiteY237" fmla="*/ 1443039 h 6858001"/>
              <a:gd name="connsiteX238" fmla="*/ 3406371 w 8009775"/>
              <a:gd name="connsiteY238" fmla="*/ 1437324 h 6858001"/>
              <a:gd name="connsiteX239" fmla="*/ 3408736 w 8009775"/>
              <a:gd name="connsiteY239" fmla="*/ 1431609 h 6858001"/>
              <a:gd name="connsiteX240" fmla="*/ 3411100 w 8009775"/>
              <a:gd name="connsiteY240" fmla="*/ 1426211 h 6858001"/>
              <a:gd name="connsiteX241" fmla="*/ 3413760 w 8009775"/>
              <a:gd name="connsiteY241" fmla="*/ 1420814 h 6858001"/>
              <a:gd name="connsiteX242" fmla="*/ 3417012 w 8009775"/>
              <a:gd name="connsiteY242" fmla="*/ 1415416 h 6858001"/>
              <a:gd name="connsiteX243" fmla="*/ 3420262 w 8009775"/>
              <a:gd name="connsiteY243" fmla="*/ 1410336 h 6858001"/>
              <a:gd name="connsiteX244" fmla="*/ 3423218 w 8009775"/>
              <a:gd name="connsiteY244" fmla="*/ 1405256 h 6858001"/>
              <a:gd name="connsiteX245" fmla="*/ 3427356 w 8009775"/>
              <a:gd name="connsiteY245" fmla="*/ 1400175 h 6858001"/>
              <a:gd name="connsiteX246" fmla="*/ 3431198 w 8009775"/>
              <a:gd name="connsiteY246" fmla="*/ 1395731 h 6858001"/>
              <a:gd name="connsiteX247" fmla="*/ 3435928 w 8009775"/>
              <a:gd name="connsiteY247" fmla="*/ 1390969 h 6858001"/>
              <a:gd name="connsiteX248" fmla="*/ 3440361 w 8009775"/>
              <a:gd name="connsiteY248" fmla="*/ 1386524 h 6858001"/>
              <a:gd name="connsiteX249" fmla="*/ 3445386 w 8009775"/>
              <a:gd name="connsiteY249" fmla="*/ 1382396 h 6858001"/>
              <a:gd name="connsiteX250" fmla="*/ 3449819 w 8009775"/>
              <a:gd name="connsiteY250" fmla="*/ 1378585 h 6858001"/>
              <a:gd name="connsiteX251" fmla="*/ 3454844 w 8009775"/>
              <a:gd name="connsiteY251" fmla="*/ 1375094 h 6858001"/>
              <a:gd name="connsiteX252" fmla="*/ 3460459 w 8009775"/>
              <a:gd name="connsiteY252" fmla="*/ 1371919 h 6858001"/>
              <a:gd name="connsiteX253" fmla="*/ 3465780 w 8009775"/>
              <a:gd name="connsiteY253" fmla="*/ 1369061 h 6858001"/>
              <a:gd name="connsiteX254" fmla="*/ 3471100 w 8009775"/>
              <a:gd name="connsiteY254" fmla="*/ 1366204 h 6858001"/>
              <a:gd name="connsiteX255" fmla="*/ 3476420 w 8009775"/>
              <a:gd name="connsiteY255" fmla="*/ 1363980 h 6858001"/>
              <a:gd name="connsiteX256" fmla="*/ 3482331 w 8009775"/>
              <a:gd name="connsiteY256" fmla="*/ 1361759 h 6858001"/>
              <a:gd name="connsiteX257" fmla="*/ 3487947 w 8009775"/>
              <a:gd name="connsiteY257" fmla="*/ 1360170 h 6858001"/>
              <a:gd name="connsiteX258" fmla="*/ 3493858 w 8009775"/>
              <a:gd name="connsiteY258" fmla="*/ 1358265 h 6858001"/>
              <a:gd name="connsiteX259" fmla="*/ 3499474 w 8009775"/>
              <a:gd name="connsiteY259" fmla="*/ 1357314 h 6858001"/>
              <a:gd name="connsiteX260" fmla="*/ 3505385 w 8009775"/>
              <a:gd name="connsiteY260" fmla="*/ 1356043 h 6858001"/>
              <a:gd name="connsiteX261" fmla="*/ 3511001 w 8009775"/>
              <a:gd name="connsiteY261" fmla="*/ 1355409 h 6858001"/>
              <a:gd name="connsiteX262" fmla="*/ 3517208 w 8009775"/>
              <a:gd name="connsiteY262" fmla="*/ 1355090 h 6858001"/>
              <a:gd name="connsiteX263" fmla="*/ 3522823 w 8009775"/>
              <a:gd name="connsiteY263" fmla="*/ 1354773 h 6858001"/>
              <a:gd name="connsiteX264" fmla="*/ 3529030 w 8009775"/>
              <a:gd name="connsiteY264" fmla="*/ 1355090 h 6858001"/>
              <a:gd name="connsiteX265" fmla="*/ 3534646 w 8009775"/>
              <a:gd name="connsiteY265" fmla="*/ 1355409 h 6858001"/>
              <a:gd name="connsiteX266" fmla="*/ 3540557 w 8009775"/>
              <a:gd name="connsiteY266" fmla="*/ 1356043 h 6858001"/>
              <a:gd name="connsiteX267" fmla="*/ 3546468 w 8009775"/>
              <a:gd name="connsiteY267" fmla="*/ 1357314 h 6858001"/>
              <a:gd name="connsiteX268" fmla="*/ 3552380 w 8009775"/>
              <a:gd name="connsiteY268" fmla="*/ 1358265 h 6858001"/>
              <a:gd name="connsiteX269" fmla="*/ 3557995 w 8009775"/>
              <a:gd name="connsiteY269" fmla="*/ 1360170 h 6858001"/>
              <a:gd name="connsiteX270" fmla="*/ 3563906 w 8009775"/>
              <a:gd name="connsiteY270" fmla="*/ 1361759 h 6858001"/>
              <a:gd name="connsiteX271" fmla="*/ 3569227 w 8009775"/>
              <a:gd name="connsiteY271" fmla="*/ 1363980 h 6858001"/>
              <a:gd name="connsiteX272" fmla="*/ 3574842 w 8009775"/>
              <a:gd name="connsiteY272" fmla="*/ 1366204 h 6858001"/>
              <a:gd name="connsiteX273" fmla="*/ 3580458 w 8009775"/>
              <a:gd name="connsiteY273" fmla="*/ 1369061 h 6858001"/>
              <a:gd name="connsiteX274" fmla="*/ 3585778 w 8009775"/>
              <a:gd name="connsiteY274" fmla="*/ 1371919 h 6858001"/>
              <a:gd name="connsiteX275" fmla="*/ 3590803 w 8009775"/>
              <a:gd name="connsiteY275" fmla="*/ 1375094 h 6858001"/>
              <a:gd name="connsiteX276" fmla="*/ 3595828 w 8009775"/>
              <a:gd name="connsiteY276" fmla="*/ 1378585 h 6858001"/>
              <a:gd name="connsiteX277" fmla="*/ 3600852 w 8009775"/>
              <a:gd name="connsiteY277" fmla="*/ 1382396 h 6858001"/>
              <a:gd name="connsiteX278" fmla="*/ 3605581 w 8009775"/>
              <a:gd name="connsiteY278" fmla="*/ 1386524 h 6858001"/>
              <a:gd name="connsiteX279" fmla="*/ 3610014 w 8009775"/>
              <a:gd name="connsiteY279" fmla="*/ 1390969 h 6858001"/>
              <a:gd name="connsiteX280" fmla="*/ 3817500 w 8009775"/>
              <a:gd name="connsiteY280" fmla="*/ 1598296 h 6858001"/>
              <a:gd name="connsiteX281" fmla="*/ 3821934 w 8009775"/>
              <a:gd name="connsiteY281" fmla="*/ 1602423 h 6858001"/>
              <a:gd name="connsiteX282" fmla="*/ 3826663 w 8009775"/>
              <a:gd name="connsiteY282" fmla="*/ 1606869 h 6858001"/>
              <a:gd name="connsiteX283" fmla="*/ 3831687 w 8009775"/>
              <a:gd name="connsiteY283" fmla="*/ 1610361 h 6858001"/>
              <a:gd name="connsiteX284" fmla="*/ 3836712 w 8009775"/>
              <a:gd name="connsiteY284" fmla="*/ 1613854 h 6858001"/>
              <a:gd name="connsiteX285" fmla="*/ 3841736 w 8009775"/>
              <a:gd name="connsiteY285" fmla="*/ 1617345 h 6858001"/>
              <a:gd name="connsiteX286" fmla="*/ 3847352 w 8009775"/>
              <a:gd name="connsiteY286" fmla="*/ 1620204 h 6858001"/>
              <a:gd name="connsiteX287" fmla="*/ 3852672 w 8009775"/>
              <a:gd name="connsiteY287" fmla="*/ 1623061 h 6858001"/>
              <a:gd name="connsiteX288" fmla="*/ 3857992 w 8009775"/>
              <a:gd name="connsiteY288" fmla="*/ 1625283 h 6858001"/>
              <a:gd name="connsiteX289" fmla="*/ 3863608 w 8009775"/>
              <a:gd name="connsiteY289" fmla="*/ 1627189 h 6858001"/>
              <a:gd name="connsiteX290" fmla="*/ 3869519 w 8009775"/>
              <a:gd name="connsiteY290" fmla="*/ 1629094 h 6858001"/>
              <a:gd name="connsiteX291" fmla="*/ 3875135 w 8009775"/>
              <a:gd name="connsiteY291" fmla="*/ 1630998 h 6858001"/>
              <a:gd name="connsiteX292" fmla="*/ 3881046 w 8009775"/>
              <a:gd name="connsiteY292" fmla="*/ 1631950 h 6858001"/>
              <a:gd name="connsiteX293" fmla="*/ 3886662 w 8009775"/>
              <a:gd name="connsiteY293" fmla="*/ 1632904 h 6858001"/>
              <a:gd name="connsiteX294" fmla="*/ 3892869 w 8009775"/>
              <a:gd name="connsiteY294" fmla="*/ 1633856 h 6858001"/>
              <a:gd name="connsiteX295" fmla="*/ 3898485 w 8009775"/>
              <a:gd name="connsiteY295" fmla="*/ 1634174 h 6858001"/>
              <a:gd name="connsiteX296" fmla="*/ 3904396 w 8009775"/>
              <a:gd name="connsiteY296" fmla="*/ 1634174 h 6858001"/>
              <a:gd name="connsiteX297" fmla="*/ 3910307 w 8009775"/>
              <a:gd name="connsiteY297" fmla="*/ 1634174 h 6858001"/>
              <a:gd name="connsiteX298" fmla="*/ 3916219 w 8009775"/>
              <a:gd name="connsiteY298" fmla="*/ 1633856 h 6858001"/>
              <a:gd name="connsiteX299" fmla="*/ 3922425 w 8009775"/>
              <a:gd name="connsiteY299" fmla="*/ 1632904 h 6858001"/>
              <a:gd name="connsiteX300" fmla="*/ 3928041 w 8009775"/>
              <a:gd name="connsiteY300" fmla="*/ 1631950 h 6858001"/>
              <a:gd name="connsiteX301" fmla="*/ 3933657 w 8009775"/>
              <a:gd name="connsiteY301" fmla="*/ 1630998 h 6858001"/>
              <a:gd name="connsiteX302" fmla="*/ 3939568 w 8009775"/>
              <a:gd name="connsiteY302" fmla="*/ 1629094 h 6858001"/>
              <a:gd name="connsiteX303" fmla="*/ 3945184 w 8009775"/>
              <a:gd name="connsiteY303" fmla="*/ 1627189 h 6858001"/>
              <a:gd name="connsiteX304" fmla="*/ 3950799 w 8009775"/>
              <a:gd name="connsiteY304" fmla="*/ 1625283 h 6858001"/>
              <a:gd name="connsiteX305" fmla="*/ 3956415 w 8009775"/>
              <a:gd name="connsiteY305" fmla="*/ 1623061 h 6858001"/>
              <a:gd name="connsiteX306" fmla="*/ 3961735 w 8009775"/>
              <a:gd name="connsiteY306" fmla="*/ 1620204 h 6858001"/>
              <a:gd name="connsiteX307" fmla="*/ 3967055 w 8009775"/>
              <a:gd name="connsiteY307" fmla="*/ 1617345 h 6858001"/>
              <a:gd name="connsiteX308" fmla="*/ 3972376 w 8009775"/>
              <a:gd name="connsiteY308" fmla="*/ 1613854 h 6858001"/>
              <a:gd name="connsiteX309" fmla="*/ 3977400 w 8009775"/>
              <a:gd name="connsiteY309" fmla="*/ 1610361 h 6858001"/>
              <a:gd name="connsiteX310" fmla="*/ 3982425 w 8009775"/>
              <a:gd name="connsiteY310" fmla="*/ 1606869 h 6858001"/>
              <a:gd name="connsiteX311" fmla="*/ 3986858 w 8009775"/>
              <a:gd name="connsiteY311" fmla="*/ 1602423 h 6858001"/>
              <a:gd name="connsiteX312" fmla="*/ 3991587 w 8009775"/>
              <a:gd name="connsiteY312" fmla="*/ 1598296 h 6858001"/>
              <a:gd name="connsiteX313" fmla="*/ 3996021 w 8009775"/>
              <a:gd name="connsiteY313" fmla="*/ 1593533 h 6858001"/>
              <a:gd name="connsiteX314" fmla="*/ 4000159 w 8009775"/>
              <a:gd name="connsiteY314" fmla="*/ 1588771 h 6858001"/>
              <a:gd name="connsiteX315" fmla="*/ 4003705 w 8009775"/>
              <a:gd name="connsiteY315" fmla="*/ 1583691 h 6858001"/>
              <a:gd name="connsiteX316" fmla="*/ 4007548 w 8009775"/>
              <a:gd name="connsiteY316" fmla="*/ 1578928 h 6858001"/>
              <a:gd name="connsiteX317" fmla="*/ 4010799 w 8009775"/>
              <a:gd name="connsiteY317" fmla="*/ 1573849 h 6858001"/>
              <a:gd name="connsiteX318" fmla="*/ 4013459 w 8009775"/>
              <a:gd name="connsiteY318" fmla="*/ 1568451 h 6858001"/>
              <a:gd name="connsiteX319" fmla="*/ 4016415 w 8009775"/>
              <a:gd name="connsiteY319" fmla="*/ 1563054 h 6858001"/>
              <a:gd name="connsiteX320" fmla="*/ 4018484 w 8009775"/>
              <a:gd name="connsiteY320" fmla="*/ 1557339 h 6858001"/>
              <a:gd name="connsiteX321" fmla="*/ 4020848 w 8009775"/>
              <a:gd name="connsiteY321" fmla="*/ 1551941 h 6858001"/>
              <a:gd name="connsiteX322" fmla="*/ 4022621 w 8009775"/>
              <a:gd name="connsiteY322" fmla="*/ 1546226 h 6858001"/>
              <a:gd name="connsiteX323" fmla="*/ 4024395 w 8009775"/>
              <a:gd name="connsiteY323" fmla="*/ 1540511 h 6858001"/>
              <a:gd name="connsiteX324" fmla="*/ 4025282 w 8009775"/>
              <a:gd name="connsiteY324" fmla="*/ 1534478 h 6858001"/>
              <a:gd name="connsiteX325" fmla="*/ 4026464 w 8009775"/>
              <a:gd name="connsiteY325" fmla="*/ 1528763 h 6858001"/>
              <a:gd name="connsiteX326" fmla="*/ 4027055 w 8009775"/>
              <a:gd name="connsiteY326" fmla="*/ 1522731 h 6858001"/>
              <a:gd name="connsiteX327" fmla="*/ 4027646 w 8009775"/>
              <a:gd name="connsiteY327" fmla="*/ 1517016 h 6858001"/>
              <a:gd name="connsiteX328" fmla="*/ 4027646 w 8009775"/>
              <a:gd name="connsiteY328" fmla="*/ 1510984 h 6858001"/>
              <a:gd name="connsiteX329" fmla="*/ 4027646 w 8009775"/>
              <a:gd name="connsiteY329" fmla="*/ 1505268 h 6858001"/>
              <a:gd name="connsiteX330" fmla="*/ 4027055 w 8009775"/>
              <a:gd name="connsiteY330" fmla="*/ 1499553 h 6858001"/>
              <a:gd name="connsiteX331" fmla="*/ 4026464 w 8009775"/>
              <a:gd name="connsiteY331" fmla="*/ 1493204 h 6858001"/>
              <a:gd name="connsiteX332" fmla="*/ 4025282 w 8009775"/>
              <a:gd name="connsiteY332" fmla="*/ 1487489 h 6858001"/>
              <a:gd name="connsiteX333" fmla="*/ 4024395 w 8009775"/>
              <a:gd name="connsiteY333" fmla="*/ 1481773 h 6858001"/>
              <a:gd name="connsiteX334" fmla="*/ 4022621 w 8009775"/>
              <a:gd name="connsiteY334" fmla="*/ 1476058 h 6858001"/>
              <a:gd name="connsiteX335" fmla="*/ 4020848 w 8009775"/>
              <a:gd name="connsiteY335" fmla="*/ 1470343 h 6858001"/>
              <a:gd name="connsiteX336" fmla="*/ 4018484 w 8009775"/>
              <a:gd name="connsiteY336" fmla="*/ 1464629 h 6858001"/>
              <a:gd name="connsiteX337" fmla="*/ 4016415 w 8009775"/>
              <a:gd name="connsiteY337" fmla="*/ 1459231 h 6858001"/>
              <a:gd name="connsiteX338" fmla="*/ 4013459 w 8009775"/>
              <a:gd name="connsiteY338" fmla="*/ 1453834 h 6858001"/>
              <a:gd name="connsiteX339" fmla="*/ 4010799 w 8009775"/>
              <a:gd name="connsiteY339" fmla="*/ 1448436 h 6858001"/>
              <a:gd name="connsiteX340" fmla="*/ 4007548 w 8009775"/>
              <a:gd name="connsiteY340" fmla="*/ 1443356 h 6858001"/>
              <a:gd name="connsiteX341" fmla="*/ 4003705 w 8009775"/>
              <a:gd name="connsiteY341" fmla="*/ 1438275 h 6858001"/>
              <a:gd name="connsiteX342" fmla="*/ 4000159 w 8009775"/>
              <a:gd name="connsiteY342" fmla="*/ 1433195 h 6858001"/>
              <a:gd name="connsiteX343" fmla="*/ 3996021 w 8009775"/>
              <a:gd name="connsiteY343" fmla="*/ 1428751 h 6858001"/>
              <a:gd name="connsiteX344" fmla="*/ 3991587 w 8009775"/>
              <a:gd name="connsiteY344" fmla="*/ 1423988 h 6858001"/>
              <a:gd name="connsiteX345" fmla="*/ 3323022 w 8009775"/>
              <a:gd name="connsiteY345" fmla="*/ 755333 h 6858001"/>
              <a:gd name="connsiteX346" fmla="*/ 3316815 w 8009775"/>
              <a:gd name="connsiteY346" fmla="*/ 748348 h 6858001"/>
              <a:gd name="connsiteX347" fmla="*/ 3310904 w 8009775"/>
              <a:gd name="connsiteY347" fmla="*/ 741045 h 6858001"/>
              <a:gd name="connsiteX348" fmla="*/ 3305584 w 8009775"/>
              <a:gd name="connsiteY348" fmla="*/ 733108 h 6858001"/>
              <a:gd name="connsiteX349" fmla="*/ 3300855 w 8009775"/>
              <a:gd name="connsiteY349" fmla="*/ 725170 h 6858001"/>
              <a:gd name="connsiteX350" fmla="*/ 3297308 w 8009775"/>
              <a:gd name="connsiteY350" fmla="*/ 716915 h 6858001"/>
              <a:gd name="connsiteX351" fmla="*/ 3293761 w 8009775"/>
              <a:gd name="connsiteY351" fmla="*/ 708660 h 6858001"/>
              <a:gd name="connsiteX352" fmla="*/ 3291101 w 8009775"/>
              <a:gd name="connsiteY352" fmla="*/ 699770 h 6858001"/>
              <a:gd name="connsiteX353" fmla="*/ 3289328 w 8009775"/>
              <a:gd name="connsiteY353" fmla="*/ 691198 h 6858001"/>
              <a:gd name="connsiteX354" fmla="*/ 2596527 w 8009775"/>
              <a:gd name="connsiteY354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364776 w 8009775"/>
              <a:gd name="connsiteY73" fmla="*/ 6858001 h 6858001"/>
              <a:gd name="connsiteX74" fmla="*/ 7460026 w 8009775"/>
              <a:gd name="connsiteY74" fmla="*/ 6858001 h 6858001"/>
              <a:gd name="connsiteX75" fmla="*/ 7507651 w 8009775"/>
              <a:gd name="connsiteY75" fmla="*/ 6858001 h 6858001"/>
              <a:gd name="connsiteX76" fmla="*/ 7507650 w 8009775"/>
              <a:gd name="connsiteY76" fmla="*/ 6858000 h 6858001"/>
              <a:gd name="connsiteX77" fmla="*/ 8009775 w 8009775"/>
              <a:gd name="connsiteY77" fmla="*/ 6858000 h 6858001"/>
              <a:gd name="connsiteX78" fmla="*/ 3996316 w 8009775"/>
              <a:gd name="connsiteY78" fmla="*/ 2818448 h 6858001"/>
              <a:gd name="connsiteX79" fmla="*/ 3980947 w 8009775"/>
              <a:gd name="connsiteY79" fmla="*/ 2804795 h 6858001"/>
              <a:gd name="connsiteX80" fmla="*/ 3965282 w 8009775"/>
              <a:gd name="connsiteY80" fmla="*/ 2791144 h 6858001"/>
              <a:gd name="connsiteX81" fmla="*/ 3950799 w 8009775"/>
              <a:gd name="connsiteY81" fmla="*/ 2776856 h 6858001"/>
              <a:gd name="connsiteX82" fmla="*/ 3936021 w 8009775"/>
              <a:gd name="connsiteY82" fmla="*/ 2762568 h 6858001"/>
              <a:gd name="connsiteX83" fmla="*/ 3001744 w 8009775"/>
              <a:gd name="connsiteY83" fmla="*/ 1828166 h 6858001"/>
              <a:gd name="connsiteX84" fmla="*/ 2997311 w 8009775"/>
              <a:gd name="connsiteY84" fmla="*/ 1823404 h 6858001"/>
              <a:gd name="connsiteX85" fmla="*/ 2992878 w 8009775"/>
              <a:gd name="connsiteY85" fmla="*/ 1818640 h 6858001"/>
              <a:gd name="connsiteX86" fmla="*/ 2989331 w 8009775"/>
              <a:gd name="connsiteY86" fmla="*/ 1814195 h 6858001"/>
              <a:gd name="connsiteX87" fmla="*/ 2985784 w 8009775"/>
              <a:gd name="connsiteY87" fmla="*/ 1808799 h 6858001"/>
              <a:gd name="connsiteX88" fmla="*/ 2982533 w 8009775"/>
              <a:gd name="connsiteY88" fmla="*/ 1803718 h 6858001"/>
              <a:gd name="connsiteX89" fmla="*/ 2979873 w 8009775"/>
              <a:gd name="connsiteY89" fmla="*/ 1798321 h 6858001"/>
              <a:gd name="connsiteX90" fmla="*/ 2976917 w 8009775"/>
              <a:gd name="connsiteY90" fmla="*/ 1792924 h 6858001"/>
              <a:gd name="connsiteX91" fmla="*/ 2974552 w 8009775"/>
              <a:gd name="connsiteY91" fmla="*/ 1787526 h 6858001"/>
              <a:gd name="connsiteX92" fmla="*/ 2972484 w 8009775"/>
              <a:gd name="connsiteY92" fmla="*/ 1781811 h 6858001"/>
              <a:gd name="connsiteX93" fmla="*/ 2970710 w 8009775"/>
              <a:gd name="connsiteY93" fmla="*/ 1776095 h 6858001"/>
              <a:gd name="connsiteX94" fmla="*/ 2968937 w 8009775"/>
              <a:gd name="connsiteY94" fmla="*/ 1770380 h 6858001"/>
              <a:gd name="connsiteX95" fmla="*/ 2967755 w 8009775"/>
              <a:gd name="connsiteY95" fmla="*/ 1764665 h 6858001"/>
              <a:gd name="connsiteX96" fmla="*/ 2966868 w 8009775"/>
              <a:gd name="connsiteY96" fmla="*/ 1758634 h 6858001"/>
              <a:gd name="connsiteX97" fmla="*/ 2965981 w 8009775"/>
              <a:gd name="connsiteY97" fmla="*/ 1752919 h 6858001"/>
              <a:gd name="connsiteX98" fmla="*/ 2965686 w 8009775"/>
              <a:gd name="connsiteY98" fmla="*/ 1746885 h 6858001"/>
              <a:gd name="connsiteX99" fmla="*/ 2965686 w 8009775"/>
              <a:gd name="connsiteY99" fmla="*/ 1741170 h 6858001"/>
              <a:gd name="connsiteX100" fmla="*/ 2965686 w 8009775"/>
              <a:gd name="connsiteY100" fmla="*/ 1735139 h 6858001"/>
              <a:gd name="connsiteX101" fmla="*/ 2965981 w 8009775"/>
              <a:gd name="connsiteY101" fmla="*/ 1729424 h 6858001"/>
              <a:gd name="connsiteX102" fmla="*/ 2966868 w 8009775"/>
              <a:gd name="connsiteY102" fmla="*/ 1723074 h 6858001"/>
              <a:gd name="connsiteX103" fmla="*/ 2967755 w 8009775"/>
              <a:gd name="connsiteY103" fmla="*/ 1717358 h 6858001"/>
              <a:gd name="connsiteX104" fmla="*/ 2968937 w 8009775"/>
              <a:gd name="connsiteY104" fmla="*/ 1711643 h 6858001"/>
              <a:gd name="connsiteX105" fmla="*/ 2970710 w 8009775"/>
              <a:gd name="connsiteY105" fmla="*/ 1705929 h 6858001"/>
              <a:gd name="connsiteX106" fmla="*/ 2972484 w 8009775"/>
              <a:gd name="connsiteY106" fmla="*/ 1700214 h 6858001"/>
              <a:gd name="connsiteX107" fmla="*/ 2974552 w 8009775"/>
              <a:gd name="connsiteY107" fmla="*/ 1694816 h 6858001"/>
              <a:gd name="connsiteX108" fmla="*/ 2976917 w 8009775"/>
              <a:gd name="connsiteY108" fmla="*/ 1689101 h 6858001"/>
              <a:gd name="connsiteX109" fmla="*/ 2979873 w 8009775"/>
              <a:gd name="connsiteY109" fmla="*/ 1683703 h 6858001"/>
              <a:gd name="connsiteX110" fmla="*/ 2982533 w 8009775"/>
              <a:gd name="connsiteY110" fmla="*/ 1678305 h 6858001"/>
              <a:gd name="connsiteX111" fmla="*/ 2985784 w 8009775"/>
              <a:gd name="connsiteY111" fmla="*/ 1673226 h 6858001"/>
              <a:gd name="connsiteX112" fmla="*/ 2989331 w 8009775"/>
              <a:gd name="connsiteY112" fmla="*/ 1668145 h 6858001"/>
              <a:gd name="connsiteX113" fmla="*/ 2992878 w 8009775"/>
              <a:gd name="connsiteY113" fmla="*/ 1663066 h 6858001"/>
              <a:gd name="connsiteX114" fmla="*/ 2997311 w 8009775"/>
              <a:gd name="connsiteY114" fmla="*/ 1658621 h 6858001"/>
              <a:gd name="connsiteX115" fmla="*/ 3001744 w 8009775"/>
              <a:gd name="connsiteY115" fmla="*/ 1653859 h 6858001"/>
              <a:gd name="connsiteX116" fmla="*/ 3006178 w 8009775"/>
              <a:gd name="connsiteY116" fmla="*/ 1649414 h 6858001"/>
              <a:gd name="connsiteX117" fmla="*/ 3010907 w 8009775"/>
              <a:gd name="connsiteY117" fmla="*/ 1645603 h 6858001"/>
              <a:gd name="connsiteX118" fmla="*/ 3015932 w 8009775"/>
              <a:gd name="connsiteY118" fmla="*/ 1641794 h 6858001"/>
              <a:gd name="connsiteX119" fmla="*/ 3020956 w 8009775"/>
              <a:gd name="connsiteY119" fmla="*/ 1637984 h 6858001"/>
              <a:gd name="connsiteX120" fmla="*/ 3025981 w 8009775"/>
              <a:gd name="connsiteY120" fmla="*/ 1634809 h 6858001"/>
              <a:gd name="connsiteX121" fmla="*/ 3031596 w 8009775"/>
              <a:gd name="connsiteY121" fmla="*/ 1631950 h 6858001"/>
              <a:gd name="connsiteX122" fmla="*/ 3036916 w 8009775"/>
              <a:gd name="connsiteY122" fmla="*/ 1629094 h 6858001"/>
              <a:gd name="connsiteX123" fmla="*/ 3042532 w 8009775"/>
              <a:gd name="connsiteY123" fmla="*/ 1626871 h 6858001"/>
              <a:gd name="connsiteX124" fmla="*/ 3047852 w 8009775"/>
              <a:gd name="connsiteY124" fmla="*/ 1624649 h 6858001"/>
              <a:gd name="connsiteX125" fmla="*/ 3053764 w 8009775"/>
              <a:gd name="connsiteY125" fmla="*/ 1623061 h 6858001"/>
              <a:gd name="connsiteX126" fmla="*/ 3059379 w 8009775"/>
              <a:gd name="connsiteY126" fmla="*/ 1621155 h 6858001"/>
              <a:gd name="connsiteX127" fmla="*/ 3065291 w 8009775"/>
              <a:gd name="connsiteY127" fmla="*/ 1620204 h 6858001"/>
              <a:gd name="connsiteX128" fmla="*/ 3070906 w 8009775"/>
              <a:gd name="connsiteY128" fmla="*/ 1618934 h 6858001"/>
              <a:gd name="connsiteX129" fmla="*/ 3077113 w 8009775"/>
              <a:gd name="connsiteY129" fmla="*/ 1618299 h 6858001"/>
              <a:gd name="connsiteX130" fmla="*/ 3082729 w 8009775"/>
              <a:gd name="connsiteY130" fmla="*/ 1617981 h 6858001"/>
              <a:gd name="connsiteX131" fmla="*/ 3088936 w 8009775"/>
              <a:gd name="connsiteY131" fmla="*/ 1617981 h 6858001"/>
              <a:gd name="connsiteX132" fmla="*/ 3094552 w 8009775"/>
              <a:gd name="connsiteY132" fmla="*/ 1617981 h 6858001"/>
              <a:gd name="connsiteX133" fmla="*/ 3100758 w 8009775"/>
              <a:gd name="connsiteY133" fmla="*/ 1618299 h 6858001"/>
              <a:gd name="connsiteX134" fmla="*/ 3106670 w 8009775"/>
              <a:gd name="connsiteY134" fmla="*/ 1618934 h 6858001"/>
              <a:gd name="connsiteX135" fmla="*/ 3112285 w 8009775"/>
              <a:gd name="connsiteY135" fmla="*/ 1620204 h 6858001"/>
              <a:gd name="connsiteX136" fmla="*/ 3117901 w 8009775"/>
              <a:gd name="connsiteY136" fmla="*/ 1621155 h 6858001"/>
              <a:gd name="connsiteX137" fmla="*/ 3123812 w 8009775"/>
              <a:gd name="connsiteY137" fmla="*/ 1623061 h 6858001"/>
              <a:gd name="connsiteX138" fmla="*/ 3129428 w 8009775"/>
              <a:gd name="connsiteY138" fmla="*/ 1624649 h 6858001"/>
              <a:gd name="connsiteX139" fmla="*/ 3135339 w 8009775"/>
              <a:gd name="connsiteY139" fmla="*/ 1626871 h 6858001"/>
              <a:gd name="connsiteX140" fmla="*/ 3140660 w 8009775"/>
              <a:gd name="connsiteY140" fmla="*/ 1629094 h 6858001"/>
              <a:gd name="connsiteX141" fmla="*/ 3145980 w 8009775"/>
              <a:gd name="connsiteY141" fmla="*/ 1631950 h 6858001"/>
              <a:gd name="connsiteX142" fmla="*/ 3151300 w 8009775"/>
              <a:gd name="connsiteY142" fmla="*/ 1634809 h 6858001"/>
              <a:gd name="connsiteX143" fmla="*/ 3156324 w 8009775"/>
              <a:gd name="connsiteY143" fmla="*/ 1637984 h 6858001"/>
              <a:gd name="connsiteX144" fmla="*/ 3161349 w 8009775"/>
              <a:gd name="connsiteY144" fmla="*/ 1641794 h 6858001"/>
              <a:gd name="connsiteX145" fmla="*/ 3166374 w 8009775"/>
              <a:gd name="connsiteY145" fmla="*/ 1645603 h 6858001"/>
              <a:gd name="connsiteX146" fmla="*/ 3171102 w 8009775"/>
              <a:gd name="connsiteY146" fmla="*/ 1649414 h 6858001"/>
              <a:gd name="connsiteX147" fmla="*/ 3175832 w 8009775"/>
              <a:gd name="connsiteY147" fmla="*/ 1653859 h 6858001"/>
              <a:gd name="connsiteX148" fmla="*/ 3844692 w 8009775"/>
              <a:gd name="connsiteY148" fmla="*/ 2322830 h 6858001"/>
              <a:gd name="connsiteX149" fmla="*/ 3849421 w 8009775"/>
              <a:gd name="connsiteY149" fmla="*/ 2326958 h 6858001"/>
              <a:gd name="connsiteX150" fmla="*/ 3854150 w 8009775"/>
              <a:gd name="connsiteY150" fmla="*/ 2331085 h 6858001"/>
              <a:gd name="connsiteX151" fmla="*/ 3859175 w 8009775"/>
              <a:gd name="connsiteY151" fmla="*/ 2334895 h 6858001"/>
              <a:gd name="connsiteX152" fmla="*/ 3864199 w 8009775"/>
              <a:gd name="connsiteY152" fmla="*/ 2338705 h 6858001"/>
              <a:gd name="connsiteX153" fmla="*/ 3869224 w 8009775"/>
              <a:gd name="connsiteY153" fmla="*/ 2341880 h 6858001"/>
              <a:gd name="connsiteX154" fmla="*/ 3874544 w 8009775"/>
              <a:gd name="connsiteY154" fmla="*/ 2344738 h 6858001"/>
              <a:gd name="connsiteX155" fmla="*/ 3879864 w 8009775"/>
              <a:gd name="connsiteY155" fmla="*/ 2347595 h 6858001"/>
              <a:gd name="connsiteX156" fmla="*/ 3885775 w 8009775"/>
              <a:gd name="connsiteY156" fmla="*/ 2349818 h 6858001"/>
              <a:gd name="connsiteX157" fmla="*/ 3891096 w 8009775"/>
              <a:gd name="connsiteY157" fmla="*/ 2351723 h 6858001"/>
              <a:gd name="connsiteX158" fmla="*/ 3896711 w 8009775"/>
              <a:gd name="connsiteY158" fmla="*/ 2353628 h 6858001"/>
              <a:gd name="connsiteX159" fmla="*/ 3902623 w 8009775"/>
              <a:gd name="connsiteY159" fmla="*/ 2355534 h 6858001"/>
              <a:gd name="connsiteX160" fmla="*/ 3908238 w 8009775"/>
              <a:gd name="connsiteY160" fmla="*/ 2356485 h 6858001"/>
              <a:gd name="connsiteX161" fmla="*/ 3914150 w 8009775"/>
              <a:gd name="connsiteY161" fmla="*/ 2357755 h 6858001"/>
              <a:gd name="connsiteX162" fmla="*/ 3920061 w 8009775"/>
              <a:gd name="connsiteY162" fmla="*/ 2358391 h 6858001"/>
              <a:gd name="connsiteX163" fmla="*/ 3925972 w 8009775"/>
              <a:gd name="connsiteY163" fmla="*/ 2358708 h 6858001"/>
              <a:gd name="connsiteX164" fmla="*/ 3931883 w 8009775"/>
              <a:gd name="connsiteY164" fmla="*/ 2358708 h 6858001"/>
              <a:gd name="connsiteX165" fmla="*/ 3937795 w 8009775"/>
              <a:gd name="connsiteY165" fmla="*/ 2358708 h 6858001"/>
              <a:gd name="connsiteX166" fmla="*/ 3943706 w 8009775"/>
              <a:gd name="connsiteY166" fmla="*/ 2358391 h 6858001"/>
              <a:gd name="connsiteX167" fmla="*/ 3949617 w 8009775"/>
              <a:gd name="connsiteY167" fmla="*/ 2357755 h 6858001"/>
              <a:gd name="connsiteX168" fmla="*/ 3955233 w 8009775"/>
              <a:gd name="connsiteY168" fmla="*/ 2356485 h 6858001"/>
              <a:gd name="connsiteX169" fmla="*/ 3961144 w 8009775"/>
              <a:gd name="connsiteY169" fmla="*/ 2355534 h 6858001"/>
              <a:gd name="connsiteX170" fmla="*/ 3966760 w 8009775"/>
              <a:gd name="connsiteY170" fmla="*/ 2353628 h 6858001"/>
              <a:gd name="connsiteX171" fmla="*/ 3972671 w 8009775"/>
              <a:gd name="connsiteY171" fmla="*/ 2351723 h 6858001"/>
              <a:gd name="connsiteX172" fmla="*/ 3978287 w 8009775"/>
              <a:gd name="connsiteY172" fmla="*/ 2349818 h 6858001"/>
              <a:gd name="connsiteX173" fmla="*/ 3983607 w 8009775"/>
              <a:gd name="connsiteY173" fmla="*/ 2347595 h 6858001"/>
              <a:gd name="connsiteX174" fmla="*/ 3989223 w 8009775"/>
              <a:gd name="connsiteY174" fmla="*/ 2344738 h 6858001"/>
              <a:gd name="connsiteX175" fmla="*/ 3994543 w 8009775"/>
              <a:gd name="connsiteY175" fmla="*/ 2341880 h 6858001"/>
              <a:gd name="connsiteX176" fmla="*/ 3999567 w 8009775"/>
              <a:gd name="connsiteY176" fmla="*/ 2338705 h 6858001"/>
              <a:gd name="connsiteX177" fmla="*/ 4004888 w 8009775"/>
              <a:gd name="connsiteY177" fmla="*/ 2334895 h 6858001"/>
              <a:gd name="connsiteX178" fmla="*/ 4009617 w 8009775"/>
              <a:gd name="connsiteY178" fmla="*/ 2331085 h 6858001"/>
              <a:gd name="connsiteX179" fmla="*/ 4014346 w 8009775"/>
              <a:gd name="connsiteY179" fmla="*/ 2326958 h 6858001"/>
              <a:gd name="connsiteX180" fmla="*/ 4018779 w 8009775"/>
              <a:gd name="connsiteY180" fmla="*/ 2322830 h 6858001"/>
              <a:gd name="connsiteX181" fmla="*/ 4023213 w 8009775"/>
              <a:gd name="connsiteY181" fmla="*/ 2318068 h 6858001"/>
              <a:gd name="connsiteX182" fmla="*/ 4027646 w 8009775"/>
              <a:gd name="connsiteY182" fmla="*/ 2313306 h 6858001"/>
              <a:gd name="connsiteX183" fmla="*/ 4031193 w 8009775"/>
              <a:gd name="connsiteY183" fmla="*/ 2308544 h 6858001"/>
              <a:gd name="connsiteX184" fmla="*/ 4034740 w 8009775"/>
              <a:gd name="connsiteY184" fmla="*/ 2303463 h 6858001"/>
              <a:gd name="connsiteX185" fmla="*/ 4037991 w 8009775"/>
              <a:gd name="connsiteY185" fmla="*/ 2298384 h 6858001"/>
              <a:gd name="connsiteX186" fmla="*/ 4040946 w 8009775"/>
              <a:gd name="connsiteY186" fmla="*/ 2292985 h 6858001"/>
              <a:gd name="connsiteX187" fmla="*/ 4043606 w 8009775"/>
              <a:gd name="connsiteY187" fmla="*/ 2287588 h 6858001"/>
              <a:gd name="connsiteX188" fmla="*/ 4046267 w 8009775"/>
              <a:gd name="connsiteY188" fmla="*/ 2281873 h 6858001"/>
              <a:gd name="connsiteX189" fmla="*/ 4048040 w 8009775"/>
              <a:gd name="connsiteY189" fmla="*/ 2276476 h 6858001"/>
              <a:gd name="connsiteX190" fmla="*/ 4050109 w 8009775"/>
              <a:gd name="connsiteY190" fmla="*/ 2270761 h 6858001"/>
              <a:gd name="connsiteX191" fmla="*/ 4051587 w 8009775"/>
              <a:gd name="connsiteY191" fmla="*/ 2265046 h 6858001"/>
              <a:gd name="connsiteX192" fmla="*/ 4052769 w 8009775"/>
              <a:gd name="connsiteY192" fmla="*/ 2259331 h 6858001"/>
              <a:gd name="connsiteX193" fmla="*/ 4053656 w 8009775"/>
              <a:gd name="connsiteY193" fmla="*/ 2253298 h 6858001"/>
              <a:gd name="connsiteX194" fmla="*/ 4054542 w 8009775"/>
              <a:gd name="connsiteY194" fmla="*/ 2247266 h 6858001"/>
              <a:gd name="connsiteX195" fmla="*/ 4054838 w 8009775"/>
              <a:gd name="connsiteY195" fmla="*/ 2241551 h 6858001"/>
              <a:gd name="connsiteX196" fmla="*/ 4055133 w 8009775"/>
              <a:gd name="connsiteY196" fmla="*/ 2235519 h 6858001"/>
              <a:gd name="connsiteX197" fmla="*/ 4054838 w 8009775"/>
              <a:gd name="connsiteY197" fmla="*/ 2229804 h 6858001"/>
              <a:gd name="connsiteX198" fmla="*/ 4054542 w 8009775"/>
              <a:gd name="connsiteY198" fmla="*/ 2223770 h 6858001"/>
              <a:gd name="connsiteX199" fmla="*/ 4053656 w 8009775"/>
              <a:gd name="connsiteY199" fmla="*/ 2217739 h 6858001"/>
              <a:gd name="connsiteX200" fmla="*/ 4052769 w 8009775"/>
              <a:gd name="connsiteY200" fmla="*/ 2212024 h 6858001"/>
              <a:gd name="connsiteX201" fmla="*/ 4051587 w 8009775"/>
              <a:gd name="connsiteY201" fmla="*/ 2206309 h 6858001"/>
              <a:gd name="connsiteX202" fmla="*/ 4050109 w 8009775"/>
              <a:gd name="connsiteY202" fmla="*/ 2200593 h 6858001"/>
              <a:gd name="connsiteX203" fmla="*/ 4048040 w 8009775"/>
              <a:gd name="connsiteY203" fmla="*/ 2194878 h 6858001"/>
              <a:gd name="connsiteX204" fmla="*/ 4046267 w 8009775"/>
              <a:gd name="connsiteY204" fmla="*/ 2189163 h 6858001"/>
              <a:gd name="connsiteX205" fmla="*/ 4043606 w 8009775"/>
              <a:gd name="connsiteY205" fmla="*/ 2183765 h 6858001"/>
              <a:gd name="connsiteX206" fmla="*/ 4040946 w 8009775"/>
              <a:gd name="connsiteY206" fmla="*/ 2178368 h 6858001"/>
              <a:gd name="connsiteX207" fmla="*/ 4037991 w 8009775"/>
              <a:gd name="connsiteY207" fmla="*/ 2172970 h 6858001"/>
              <a:gd name="connsiteX208" fmla="*/ 4034740 w 8009775"/>
              <a:gd name="connsiteY208" fmla="*/ 2167890 h 6858001"/>
              <a:gd name="connsiteX209" fmla="*/ 4031193 w 8009775"/>
              <a:gd name="connsiteY209" fmla="*/ 2162494 h 6858001"/>
              <a:gd name="connsiteX210" fmla="*/ 4027646 w 8009775"/>
              <a:gd name="connsiteY210" fmla="*/ 2157730 h 6858001"/>
              <a:gd name="connsiteX211" fmla="*/ 4023213 w 8009775"/>
              <a:gd name="connsiteY211" fmla="*/ 2153285 h 6858001"/>
              <a:gd name="connsiteX212" fmla="*/ 4018779 w 8009775"/>
              <a:gd name="connsiteY212" fmla="*/ 2148523 h 6858001"/>
              <a:gd name="connsiteX213" fmla="*/ 3632182 w 8009775"/>
              <a:gd name="connsiteY213" fmla="*/ 1761490 h 6858001"/>
              <a:gd name="connsiteX214" fmla="*/ 3435928 w 8009775"/>
              <a:gd name="connsiteY214" fmla="*/ 1565276 h 6858001"/>
              <a:gd name="connsiteX215" fmla="*/ 3431198 w 8009775"/>
              <a:gd name="connsiteY215" fmla="*/ 1560514 h 6858001"/>
              <a:gd name="connsiteX216" fmla="*/ 3427356 w 8009775"/>
              <a:gd name="connsiteY216" fmla="*/ 1555751 h 6858001"/>
              <a:gd name="connsiteX217" fmla="*/ 3423218 w 8009775"/>
              <a:gd name="connsiteY217" fmla="*/ 1550671 h 6858001"/>
              <a:gd name="connsiteX218" fmla="*/ 3420262 w 8009775"/>
              <a:gd name="connsiteY218" fmla="*/ 1545909 h 6858001"/>
              <a:gd name="connsiteX219" fmla="*/ 3417012 w 8009775"/>
              <a:gd name="connsiteY219" fmla="*/ 1540829 h 6858001"/>
              <a:gd name="connsiteX220" fmla="*/ 3413760 w 8009775"/>
              <a:gd name="connsiteY220" fmla="*/ 1535430 h 6858001"/>
              <a:gd name="connsiteX221" fmla="*/ 3411100 w 8009775"/>
              <a:gd name="connsiteY221" fmla="*/ 1530034 h 6858001"/>
              <a:gd name="connsiteX222" fmla="*/ 3408736 w 8009775"/>
              <a:gd name="connsiteY222" fmla="*/ 1524635 h 6858001"/>
              <a:gd name="connsiteX223" fmla="*/ 3406371 w 8009775"/>
              <a:gd name="connsiteY223" fmla="*/ 1518920 h 6858001"/>
              <a:gd name="connsiteX224" fmla="*/ 3404598 w 8009775"/>
              <a:gd name="connsiteY224" fmla="*/ 1513205 h 6858001"/>
              <a:gd name="connsiteX225" fmla="*/ 3403120 w 8009775"/>
              <a:gd name="connsiteY225" fmla="*/ 1507174 h 6858001"/>
              <a:gd name="connsiteX226" fmla="*/ 3401938 w 8009775"/>
              <a:gd name="connsiteY226" fmla="*/ 1501459 h 6858001"/>
              <a:gd name="connsiteX227" fmla="*/ 3401051 w 8009775"/>
              <a:gd name="connsiteY227" fmla="*/ 1495744 h 6858001"/>
              <a:gd name="connsiteX228" fmla="*/ 3400460 w 8009775"/>
              <a:gd name="connsiteY228" fmla="*/ 1489710 h 6858001"/>
              <a:gd name="connsiteX229" fmla="*/ 3399869 w 8009775"/>
              <a:gd name="connsiteY229" fmla="*/ 1483995 h 6858001"/>
              <a:gd name="connsiteX230" fmla="*/ 3399573 w 8009775"/>
              <a:gd name="connsiteY230" fmla="*/ 1478281 h 6858001"/>
              <a:gd name="connsiteX231" fmla="*/ 3399869 w 8009775"/>
              <a:gd name="connsiteY231" fmla="*/ 1472249 h 6858001"/>
              <a:gd name="connsiteX232" fmla="*/ 3400460 w 8009775"/>
              <a:gd name="connsiteY232" fmla="*/ 1466215 h 6858001"/>
              <a:gd name="connsiteX233" fmla="*/ 3401051 w 8009775"/>
              <a:gd name="connsiteY233" fmla="*/ 1460183 h 6858001"/>
              <a:gd name="connsiteX234" fmla="*/ 3401938 w 8009775"/>
              <a:gd name="connsiteY234" fmla="*/ 1454468 h 6858001"/>
              <a:gd name="connsiteX235" fmla="*/ 3403120 w 8009775"/>
              <a:gd name="connsiteY235" fmla="*/ 1448754 h 6858001"/>
              <a:gd name="connsiteX236" fmla="*/ 3404598 w 8009775"/>
              <a:gd name="connsiteY236" fmla="*/ 1443039 h 6858001"/>
              <a:gd name="connsiteX237" fmla="*/ 3406371 w 8009775"/>
              <a:gd name="connsiteY237" fmla="*/ 1437324 h 6858001"/>
              <a:gd name="connsiteX238" fmla="*/ 3408736 w 8009775"/>
              <a:gd name="connsiteY238" fmla="*/ 1431609 h 6858001"/>
              <a:gd name="connsiteX239" fmla="*/ 3411100 w 8009775"/>
              <a:gd name="connsiteY239" fmla="*/ 1426211 h 6858001"/>
              <a:gd name="connsiteX240" fmla="*/ 3413760 w 8009775"/>
              <a:gd name="connsiteY240" fmla="*/ 1420814 h 6858001"/>
              <a:gd name="connsiteX241" fmla="*/ 3417012 w 8009775"/>
              <a:gd name="connsiteY241" fmla="*/ 1415416 h 6858001"/>
              <a:gd name="connsiteX242" fmla="*/ 3420262 w 8009775"/>
              <a:gd name="connsiteY242" fmla="*/ 1410336 h 6858001"/>
              <a:gd name="connsiteX243" fmla="*/ 3423218 w 8009775"/>
              <a:gd name="connsiteY243" fmla="*/ 1405256 h 6858001"/>
              <a:gd name="connsiteX244" fmla="*/ 3427356 w 8009775"/>
              <a:gd name="connsiteY244" fmla="*/ 1400175 h 6858001"/>
              <a:gd name="connsiteX245" fmla="*/ 3431198 w 8009775"/>
              <a:gd name="connsiteY245" fmla="*/ 1395731 h 6858001"/>
              <a:gd name="connsiteX246" fmla="*/ 3435928 w 8009775"/>
              <a:gd name="connsiteY246" fmla="*/ 1390969 h 6858001"/>
              <a:gd name="connsiteX247" fmla="*/ 3440361 w 8009775"/>
              <a:gd name="connsiteY247" fmla="*/ 1386524 h 6858001"/>
              <a:gd name="connsiteX248" fmla="*/ 3445386 w 8009775"/>
              <a:gd name="connsiteY248" fmla="*/ 1382396 h 6858001"/>
              <a:gd name="connsiteX249" fmla="*/ 3449819 w 8009775"/>
              <a:gd name="connsiteY249" fmla="*/ 1378585 h 6858001"/>
              <a:gd name="connsiteX250" fmla="*/ 3454844 w 8009775"/>
              <a:gd name="connsiteY250" fmla="*/ 1375094 h 6858001"/>
              <a:gd name="connsiteX251" fmla="*/ 3460459 w 8009775"/>
              <a:gd name="connsiteY251" fmla="*/ 1371919 h 6858001"/>
              <a:gd name="connsiteX252" fmla="*/ 3465780 w 8009775"/>
              <a:gd name="connsiteY252" fmla="*/ 1369061 h 6858001"/>
              <a:gd name="connsiteX253" fmla="*/ 3471100 w 8009775"/>
              <a:gd name="connsiteY253" fmla="*/ 1366204 h 6858001"/>
              <a:gd name="connsiteX254" fmla="*/ 3476420 w 8009775"/>
              <a:gd name="connsiteY254" fmla="*/ 1363980 h 6858001"/>
              <a:gd name="connsiteX255" fmla="*/ 3482331 w 8009775"/>
              <a:gd name="connsiteY255" fmla="*/ 1361759 h 6858001"/>
              <a:gd name="connsiteX256" fmla="*/ 3487947 w 8009775"/>
              <a:gd name="connsiteY256" fmla="*/ 1360170 h 6858001"/>
              <a:gd name="connsiteX257" fmla="*/ 3493858 w 8009775"/>
              <a:gd name="connsiteY257" fmla="*/ 1358265 h 6858001"/>
              <a:gd name="connsiteX258" fmla="*/ 3499474 w 8009775"/>
              <a:gd name="connsiteY258" fmla="*/ 1357314 h 6858001"/>
              <a:gd name="connsiteX259" fmla="*/ 3505385 w 8009775"/>
              <a:gd name="connsiteY259" fmla="*/ 1356043 h 6858001"/>
              <a:gd name="connsiteX260" fmla="*/ 3511001 w 8009775"/>
              <a:gd name="connsiteY260" fmla="*/ 1355409 h 6858001"/>
              <a:gd name="connsiteX261" fmla="*/ 3517208 w 8009775"/>
              <a:gd name="connsiteY261" fmla="*/ 1355090 h 6858001"/>
              <a:gd name="connsiteX262" fmla="*/ 3522823 w 8009775"/>
              <a:gd name="connsiteY262" fmla="*/ 1354773 h 6858001"/>
              <a:gd name="connsiteX263" fmla="*/ 3529030 w 8009775"/>
              <a:gd name="connsiteY263" fmla="*/ 1355090 h 6858001"/>
              <a:gd name="connsiteX264" fmla="*/ 3534646 w 8009775"/>
              <a:gd name="connsiteY264" fmla="*/ 1355409 h 6858001"/>
              <a:gd name="connsiteX265" fmla="*/ 3540557 w 8009775"/>
              <a:gd name="connsiteY265" fmla="*/ 1356043 h 6858001"/>
              <a:gd name="connsiteX266" fmla="*/ 3546468 w 8009775"/>
              <a:gd name="connsiteY266" fmla="*/ 1357314 h 6858001"/>
              <a:gd name="connsiteX267" fmla="*/ 3552380 w 8009775"/>
              <a:gd name="connsiteY267" fmla="*/ 1358265 h 6858001"/>
              <a:gd name="connsiteX268" fmla="*/ 3557995 w 8009775"/>
              <a:gd name="connsiteY268" fmla="*/ 1360170 h 6858001"/>
              <a:gd name="connsiteX269" fmla="*/ 3563906 w 8009775"/>
              <a:gd name="connsiteY269" fmla="*/ 1361759 h 6858001"/>
              <a:gd name="connsiteX270" fmla="*/ 3569227 w 8009775"/>
              <a:gd name="connsiteY270" fmla="*/ 1363980 h 6858001"/>
              <a:gd name="connsiteX271" fmla="*/ 3574842 w 8009775"/>
              <a:gd name="connsiteY271" fmla="*/ 1366204 h 6858001"/>
              <a:gd name="connsiteX272" fmla="*/ 3580458 w 8009775"/>
              <a:gd name="connsiteY272" fmla="*/ 1369061 h 6858001"/>
              <a:gd name="connsiteX273" fmla="*/ 3585778 w 8009775"/>
              <a:gd name="connsiteY273" fmla="*/ 1371919 h 6858001"/>
              <a:gd name="connsiteX274" fmla="*/ 3590803 w 8009775"/>
              <a:gd name="connsiteY274" fmla="*/ 1375094 h 6858001"/>
              <a:gd name="connsiteX275" fmla="*/ 3595828 w 8009775"/>
              <a:gd name="connsiteY275" fmla="*/ 1378585 h 6858001"/>
              <a:gd name="connsiteX276" fmla="*/ 3600852 w 8009775"/>
              <a:gd name="connsiteY276" fmla="*/ 1382396 h 6858001"/>
              <a:gd name="connsiteX277" fmla="*/ 3605581 w 8009775"/>
              <a:gd name="connsiteY277" fmla="*/ 1386524 h 6858001"/>
              <a:gd name="connsiteX278" fmla="*/ 3610014 w 8009775"/>
              <a:gd name="connsiteY278" fmla="*/ 1390969 h 6858001"/>
              <a:gd name="connsiteX279" fmla="*/ 3817500 w 8009775"/>
              <a:gd name="connsiteY279" fmla="*/ 1598296 h 6858001"/>
              <a:gd name="connsiteX280" fmla="*/ 3821934 w 8009775"/>
              <a:gd name="connsiteY280" fmla="*/ 1602423 h 6858001"/>
              <a:gd name="connsiteX281" fmla="*/ 3826663 w 8009775"/>
              <a:gd name="connsiteY281" fmla="*/ 1606869 h 6858001"/>
              <a:gd name="connsiteX282" fmla="*/ 3831687 w 8009775"/>
              <a:gd name="connsiteY282" fmla="*/ 1610361 h 6858001"/>
              <a:gd name="connsiteX283" fmla="*/ 3836712 w 8009775"/>
              <a:gd name="connsiteY283" fmla="*/ 1613854 h 6858001"/>
              <a:gd name="connsiteX284" fmla="*/ 3841736 w 8009775"/>
              <a:gd name="connsiteY284" fmla="*/ 1617345 h 6858001"/>
              <a:gd name="connsiteX285" fmla="*/ 3847352 w 8009775"/>
              <a:gd name="connsiteY285" fmla="*/ 1620204 h 6858001"/>
              <a:gd name="connsiteX286" fmla="*/ 3852672 w 8009775"/>
              <a:gd name="connsiteY286" fmla="*/ 1623061 h 6858001"/>
              <a:gd name="connsiteX287" fmla="*/ 3857992 w 8009775"/>
              <a:gd name="connsiteY287" fmla="*/ 1625283 h 6858001"/>
              <a:gd name="connsiteX288" fmla="*/ 3863608 w 8009775"/>
              <a:gd name="connsiteY288" fmla="*/ 1627189 h 6858001"/>
              <a:gd name="connsiteX289" fmla="*/ 3869519 w 8009775"/>
              <a:gd name="connsiteY289" fmla="*/ 1629094 h 6858001"/>
              <a:gd name="connsiteX290" fmla="*/ 3875135 w 8009775"/>
              <a:gd name="connsiteY290" fmla="*/ 1630998 h 6858001"/>
              <a:gd name="connsiteX291" fmla="*/ 3881046 w 8009775"/>
              <a:gd name="connsiteY291" fmla="*/ 1631950 h 6858001"/>
              <a:gd name="connsiteX292" fmla="*/ 3886662 w 8009775"/>
              <a:gd name="connsiteY292" fmla="*/ 1632904 h 6858001"/>
              <a:gd name="connsiteX293" fmla="*/ 3892869 w 8009775"/>
              <a:gd name="connsiteY293" fmla="*/ 1633856 h 6858001"/>
              <a:gd name="connsiteX294" fmla="*/ 3898485 w 8009775"/>
              <a:gd name="connsiteY294" fmla="*/ 1634174 h 6858001"/>
              <a:gd name="connsiteX295" fmla="*/ 3904396 w 8009775"/>
              <a:gd name="connsiteY295" fmla="*/ 1634174 h 6858001"/>
              <a:gd name="connsiteX296" fmla="*/ 3910307 w 8009775"/>
              <a:gd name="connsiteY296" fmla="*/ 1634174 h 6858001"/>
              <a:gd name="connsiteX297" fmla="*/ 3916219 w 8009775"/>
              <a:gd name="connsiteY297" fmla="*/ 1633856 h 6858001"/>
              <a:gd name="connsiteX298" fmla="*/ 3922425 w 8009775"/>
              <a:gd name="connsiteY298" fmla="*/ 1632904 h 6858001"/>
              <a:gd name="connsiteX299" fmla="*/ 3928041 w 8009775"/>
              <a:gd name="connsiteY299" fmla="*/ 1631950 h 6858001"/>
              <a:gd name="connsiteX300" fmla="*/ 3933657 w 8009775"/>
              <a:gd name="connsiteY300" fmla="*/ 1630998 h 6858001"/>
              <a:gd name="connsiteX301" fmla="*/ 3939568 w 8009775"/>
              <a:gd name="connsiteY301" fmla="*/ 1629094 h 6858001"/>
              <a:gd name="connsiteX302" fmla="*/ 3945184 w 8009775"/>
              <a:gd name="connsiteY302" fmla="*/ 1627189 h 6858001"/>
              <a:gd name="connsiteX303" fmla="*/ 3950799 w 8009775"/>
              <a:gd name="connsiteY303" fmla="*/ 1625283 h 6858001"/>
              <a:gd name="connsiteX304" fmla="*/ 3956415 w 8009775"/>
              <a:gd name="connsiteY304" fmla="*/ 1623061 h 6858001"/>
              <a:gd name="connsiteX305" fmla="*/ 3961735 w 8009775"/>
              <a:gd name="connsiteY305" fmla="*/ 1620204 h 6858001"/>
              <a:gd name="connsiteX306" fmla="*/ 3967055 w 8009775"/>
              <a:gd name="connsiteY306" fmla="*/ 1617345 h 6858001"/>
              <a:gd name="connsiteX307" fmla="*/ 3972376 w 8009775"/>
              <a:gd name="connsiteY307" fmla="*/ 1613854 h 6858001"/>
              <a:gd name="connsiteX308" fmla="*/ 3977400 w 8009775"/>
              <a:gd name="connsiteY308" fmla="*/ 1610361 h 6858001"/>
              <a:gd name="connsiteX309" fmla="*/ 3982425 w 8009775"/>
              <a:gd name="connsiteY309" fmla="*/ 1606869 h 6858001"/>
              <a:gd name="connsiteX310" fmla="*/ 3986858 w 8009775"/>
              <a:gd name="connsiteY310" fmla="*/ 1602423 h 6858001"/>
              <a:gd name="connsiteX311" fmla="*/ 3991587 w 8009775"/>
              <a:gd name="connsiteY311" fmla="*/ 1598296 h 6858001"/>
              <a:gd name="connsiteX312" fmla="*/ 3996021 w 8009775"/>
              <a:gd name="connsiteY312" fmla="*/ 1593533 h 6858001"/>
              <a:gd name="connsiteX313" fmla="*/ 4000159 w 8009775"/>
              <a:gd name="connsiteY313" fmla="*/ 1588771 h 6858001"/>
              <a:gd name="connsiteX314" fmla="*/ 4003705 w 8009775"/>
              <a:gd name="connsiteY314" fmla="*/ 1583691 h 6858001"/>
              <a:gd name="connsiteX315" fmla="*/ 4007548 w 8009775"/>
              <a:gd name="connsiteY315" fmla="*/ 1578928 h 6858001"/>
              <a:gd name="connsiteX316" fmla="*/ 4010799 w 8009775"/>
              <a:gd name="connsiteY316" fmla="*/ 1573849 h 6858001"/>
              <a:gd name="connsiteX317" fmla="*/ 4013459 w 8009775"/>
              <a:gd name="connsiteY317" fmla="*/ 1568451 h 6858001"/>
              <a:gd name="connsiteX318" fmla="*/ 4016415 w 8009775"/>
              <a:gd name="connsiteY318" fmla="*/ 1563054 h 6858001"/>
              <a:gd name="connsiteX319" fmla="*/ 4018484 w 8009775"/>
              <a:gd name="connsiteY319" fmla="*/ 1557339 h 6858001"/>
              <a:gd name="connsiteX320" fmla="*/ 4020848 w 8009775"/>
              <a:gd name="connsiteY320" fmla="*/ 1551941 h 6858001"/>
              <a:gd name="connsiteX321" fmla="*/ 4022621 w 8009775"/>
              <a:gd name="connsiteY321" fmla="*/ 1546226 h 6858001"/>
              <a:gd name="connsiteX322" fmla="*/ 4024395 w 8009775"/>
              <a:gd name="connsiteY322" fmla="*/ 1540511 h 6858001"/>
              <a:gd name="connsiteX323" fmla="*/ 4025282 w 8009775"/>
              <a:gd name="connsiteY323" fmla="*/ 1534478 h 6858001"/>
              <a:gd name="connsiteX324" fmla="*/ 4026464 w 8009775"/>
              <a:gd name="connsiteY324" fmla="*/ 1528763 h 6858001"/>
              <a:gd name="connsiteX325" fmla="*/ 4027055 w 8009775"/>
              <a:gd name="connsiteY325" fmla="*/ 1522731 h 6858001"/>
              <a:gd name="connsiteX326" fmla="*/ 4027646 w 8009775"/>
              <a:gd name="connsiteY326" fmla="*/ 1517016 h 6858001"/>
              <a:gd name="connsiteX327" fmla="*/ 4027646 w 8009775"/>
              <a:gd name="connsiteY327" fmla="*/ 1510984 h 6858001"/>
              <a:gd name="connsiteX328" fmla="*/ 4027646 w 8009775"/>
              <a:gd name="connsiteY328" fmla="*/ 1505268 h 6858001"/>
              <a:gd name="connsiteX329" fmla="*/ 4027055 w 8009775"/>
              <a:gd name="connsiteY329" fmla="*/ 1499553 h 6858001"/>
              <a:gd name="connsiteX330" fmla="*/ 4026464 w 8009775"/>
              <a:gd name="connsiteY330" fmla="*/ 1493204 h 6858001"/>
              <a:gd name="connsiteX331" fmla="*/ 4025282 w 8009775"/>
              <a:gd name="connsiteY331" fmla="*/ 1487489 h 6858001"/>
              <a:gd name="connsiteX332" fmla="*/ 4024395 w 8009775"/>
              <a:gd name="connsiteY332" fmla="*/ 1481773 h 6858001"/>
              <a:gd name="connsiteX333" fmla="*/ 4022621 w 8009775"/>
              <a:gd name="connsiteY333" fmla="*/ 1476058 h 6858001"/>
              <a:gd name="connsiteX334" fmla="*/ 4020848 w 8009775"/>
              <a:gd name="connsiteY334" fmla="*/ 1470343 h 6858001"/>
              <a:gd name="connsiteX335" fmla="*/ 4018484 w 8009775"/>
              <a:gd name="connsiteY335" fmla="*/ 1464629 h 6858001"/>
              <a:gd name="connsiteX336" fmla="*/ 4016415 w 8009775"/>
              <a:gd name="connsiteY336" fmla="*/ 1459231 h 6858001"/>
              <a:gd name="connsiteX337" fmla="*/ 4013459 w 8009775"/>
              <a:gd name="connsiteY337" fmla="*/ 1453834 h 6858001"/>
              <a:gd name="connsiteX338" fmla="*/ 4010799 w 8009775"/>
              <a:gd name="connsiteY338" fmla="*/ 1448436 h 6858001"/>
              <a:gd name="connsiteX339" fmla="*/ 4007548 w 8009775"/>
              <a:gd name="connsiteY339" fmla="*/ 1443356 h 6858001"/>
              <a:gd name="connsiteX340" fmla="*/ 4003705 w 8009775"/>
              <a:gd name="connsiteY340" fmla="*/ 1438275 h 6858001"/>
              <a:gd name="connsiteX341" fmla="*/ 4000159 w 8009775"/>
              <a:gd name="connsiteY341" fmla="*/ 1433195 h 6858001"/>
              <a:gd name="connsiteX342" fmla="*/ 3996021 w 8009775"/>
              <a:gd name="connsiteY342" fmla="*/ 1428751 h 6858001"/>
              <a:gd name="connsiteX343" fmla="*/ 3991587 w 8009775"/>
              <a:gd name="connsiteY343" fmla="*/ 1423988 h 6858001"/>
              <a:gd name="connsiteX344" fmla="*/ 3323022 w 8009775"/>
              <a:gd name="connsiteY344" fmla="*/ 755333 h 6858001"/>
              <a:gd name="connsiteX345" fmla="*/ 3316815 w 8009775"/>
              <a:gd name="connsiteY345" fmla="*/ 748348 h 6858001"/>
              <a:gd name="connsiteX346" fmla="*/ 3310904 w 8009775"/>
              <a:gd name="connsiteY346" fmla="*/ 741045 h 6858001"/>
              <a:gd name="connsiteX347" fmla="*/ 3305584 w 8009775"/>
              <a:gd name="connsiteY347" fmla="*/ 733108 h 6858001"/>
              <a:gd name="connsiteX348" fmla="*/ 3300855 w 8009775"/>
              <a:gd name="connsiteY348" fmla="*/ 725170 h 6858001"/>
              <a:gd name="connsiteX349" fmla="*/ 3297308 w 8009775"/>
              <a:gd name="connsiteY349" fmla="*/ 716915 h 6858001"/>
              <a:gd name="connsiteX350" fmla="*/ 3293761 w 8009775"/>
              <a:gd name="connsiteY350" fmla="*/ 708660 h 6858001"/>
              <a:gd name="connsiteX351" fmla="*/ 3291101 w 8009775"/>
              <a:gd name="connsiteY351" fmla="*/ 699770 h 6858001"/>
              <a:gd name="connsiteX352" fmla="*/ 3289328 w 8009775"/>
              <a:gd name="connsiteY352" fmla="*/ 691198 h 6858001"/>
              <a:gd name="connsiteX353" fmla="*/ 2596527 w 8009775"/>
              <a:gd name="connsiteY353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364776 w 8009775"/>
              <a:gd name="connsiteY73" fmla="*/ 6858001 h 6858001"/>
              <a:gd name="connsiteX74" fmla="*/ 7507651 w 8009775"/>
              <a:gd name="connsiteY74" fmla="*/ 6858001 h 6858001"/>
              <a:gd name="connsiteX75" fmla="*/ 7507650 w 8009775"/>
              <a:gd name="connsiteY75" fmla="*/ 6858000 h 6858001"/>
              <a:gd name="connsiteX76" fmla="*/ 8009775 w 8009775"/>
              <a:gd name="connsiteY76" fmla="*/ 6858000 h 6858001"/>
              <a:gd name="connsiteX77" fmla="*/ 3996316 w 8009775"/>
              <a:gd name="connsiteY77" fmla="*/ 2818448 h 6858001"/>
              <a:gd name="connsiteX78" fmla="*/ 3980947 w 8009775"/>
              <a:gd name="connsiteY78" fmla="*/ 2804795 h 6858001"/>
              <a:gd name="connsiteX79" fmla="*/ 3965282 w 8009775"/>
              <a:gd name="connsiteY79" fmla="*/ 2791144 h 6858001"/>
              <a:gd name="connsiteX80" fmla="*/ 3950799 w 8009775"/>
              <a:gd name="connsiteY80" fmla="*/ 2776856 h 6858001"/>
              <a:gd name="connsiteX81" fmla="*/ 3936021 w 8009775"/>
              <a:gd name="connsiteY81" fmla="*/ 2762568 h 6858001"/>
              <a:gd name="connsiteX82" fmla="*/ 3001744 w 8009775"/>
              <a:gd name="connsiteY82" fmla="*/ 1828166 h 6858001"/>
              <a:gd name="connsiteX83" fmla="*/ 2997311 w 8009775"/>
              <a:gd name="connsiteY83" fmla="*/ 1823404 h 6858001"/>
              <a:gd name="connsiteX84" fmla="*/ 2992878 w 8009775"/>
              <a:gd name="connsiteY84" fmla="*/ 1818640 h 6858001"/>
              <a:gd name="connsiteX85" fmla="*/ 2989331 w 8009775"/>
              <a:gd name="connsiteY85" fmla="*/ 1814195 h 6858001"/>
              <a:gd name="connsiteX86" fmla="*/ 2985784 w 8009775"/>
              <a:gd name="connsiteY86" fmla="*/ 1808799 h 6858001"/>
              <a:gd name="connsiteX87" fmla="*/ 2982533 w 8009775"/>
              <a:gd name="connsiteY87" fmla="*/ 1803718 h 6858001"/>
              <a:gd name="connsiteX88" fmla="*/ 2979873 w 8009775"/>
              <a:gd name="connsiteY88" fmla="*/ 1798321 h 6858001"/>
              <a:gd name="connsiteX89" fmla="*/ 2976917 w 8009775"/>
              <a:gd name="connsiteY89" fmla="*/ 1792924 h 6858001"/>
              <a:gd name="connsiteX90" fmla="*/ 2974552 w 8009775"/>
              <a:gd name="connsiteY90" fmla="*/ 1787526 h 6858001"/>
              <a:gd name="connsiteX91" fmla="*/ 2972484 w 8009775"/>
              <a:gd name="connsiteY91" fmla="*/ 1781811 h 6858001"/>
              <a:gd name="connsiteX92" fmla="*/ 2970710 w 8009775"/>
              <a:gd name="connsiteY92" fmla="*/ 1776095 h 6858001"/>
              <a:gd name="connsiteX93" fmla="*/ 2968937 w 8009775"/>
              <a:gd name="connsiteY93" fmla="*/ 1770380 h 6858001"/>
              <a:gd name="connsiteX94" fmla="*/ 2967755 w 8009775"/>
              <a:gd name="connsiteY94" fmla="*/ 1764665 h 6858001"/>
              <a:gd name="connsiteX95" fmla="*/ 2966868 w 8009775"/>
              <a:gd name="connsiteY95" fmla="*/ 1758634 h 6858001"/>
              <a:gd name="connsiteX96" fmla="*/ 2965981 w 8009775"/>
              <a:gd name="connsiteY96" fmla="*/ 1752919 h 6858001"/>
              <a:gd name="connsiteX97" fmla="*/ 2965686 w 8009775"/>
              <a:gd name="connsiteY97" fmla="*/ 1746885 h 6858001"/>
              <a:gd name="connsiteX98" fmla="*/ 2965686 w 8009775"/>
              <a:gd name="connsiteY98" fmla="*/ 1741170 h 6858001"/>
              <a:gd name="connsiteX99" fmla="*/ 2965686 w 8009775"/>
              <a:gd name="connsiteY99" fmla="*/ 1735139 h 6858001"/>
              <a:gd name="connsiteX100" fmla="*/ 2965981 w 8009775"/>
              <a:gd name="connsiteY100" fmla="*/ 1729424 h 6858001"/>
              <a:gd name="connsiteX101" fmla="*/ 2966868 w 8009775"/>
              <a:gd name="connsiteY101" fmla="*/ 1723074 h 6858001"/>
              <a:gd name="connsiteX102" fmla="*/ 2967755 w 8009775"/>
              <a:gd name="connsiteY102" fmla="*/ 1717358 h 6858001"/>
              <a:gd name="connsiteX103" fmla="*/ 2968937 w 8009775"/>
              <a:gd name="connsiteY103" fmla="*/ 1711643 h 6858001"/>
              <a:gd name="connsiteX104" fmla="*/ 2970710 w 8009775"/>
              <a:gd name="connsiteY104" fmla="*/ 1705929 h 6858001"/>
              <a:gd name="connsiteX105" fmla="*/ 2972484 w 8009775"/>
              <a:gd name="connsiteY105" fmla="*/ 1700214 h 6858001"/>
              <a:gd name="connsiteX106" fmla="*/ 2974552 w 8009775"/>
              <a:gd name="connsiteY106" fmla="*/ 1694816 h 6858001"/>
              <a:gd name="connsiteX107" fmla="*/ 2976917 w 8009775"/>
              <a:gd name="connsiteY107" fmla="*/ 1689101 h 6858001"/>
              <a:gd name="connsiteX108" fmla="*/ 2979873 w 8009775"/>
              <a:gd name="connsiteY108" fmla="*/ 1683703 h 6858001"/>
              <a:gd name="connsiteX109" fmla="*/ 2982533 w 8009775"/>
              <a:gd name="connsiteY109" fmla="*/ 1678305 h 6858001"/>
              <a:gd name="connsiteX110" fmla="*/ 2985784 w 8009775"/>
              <a:gd name="connsiteY110" fmla="*/ 1673226 h 6858001"/>
              <a:gd name="connsiteX111" fmla="*/ 2989331 w 8009775"/>
              <a:gd name="connsiteY111" fmla="*/ 1668145 h 6858001"/>
              <a:gd name="connsiteX112" fmla="*/ 2992878 w 8009775"/>
              <a:gd name="connsiteY112" fmla="*/ 1663066 h 6858001"/>
              <a:gd name="connsiteX113" fmla="*/ 2997311 w 8009775"/>
              <a:gd name="connsiteY113" fmla="*/ 1658621 h 6858001"/>
              <a:gd name="connsiteX114" fmla="*/ 3001744 w 8009775"/>
              <a:gd name="connsiteY114" fmla="*/ 1653859 h 6858001"/>
              <a:gd name="connsiteX115" fmla="*/ 3006178 w 8009775"/>
              <a:gd name="connsiteY115" fmla="*/ 1649414 h 6858001"/>
              <a:gd name="connsiteX116" fmla="*/ 3010907 w 8009775"/>
              <a:gd name="connsiteY116" fmla="*/ 1645603 h 6858001"/>
              <a:gd name="connsiteX117" fmla="*/ 3015932 w 8009775"/>
              <a:gd name="connsiteY117" fmla="*/ 1641794 h 6858001"/>
              <a:gd name="connsiteX118" fmla="*/ 3020956 w 8009775"/>
              <a:gd name="connsiteY118" fmla="*/ 1637984 h 6858001"/>
              <a:gd name="connsiteX119" fmla="*/ 3025981 w 8009775"/>
              <a:gd name="connsiteY119" fmla="*/ 1634809 h 6858001"/>
              <a:gd name="connsiteX120" fmla="*/ 3031596 w 8009775"/>
              <a:gd name="connsiteY120" fmla="*/ 1631950 h 6858001"/>
              <a:gd name="connsiteX121" fmla="*/ 3036916 w 8009775"/>
              <a:gd name="connsiteY121" fmla="*/ 1629094 h 6858001"/>
              <a:gd name="connsiteX122" fmla="*/ 3042532 w 8009775"/>
              <a:gd name="connsiteY122" fmla="*/ 1626871 h 6858001"/>
              <a:gd name="connsiteX123" fmla="*/ 3047852 w 8009775"/>
              <a:gd name="connsiteY123" fmla="*/ 1624649 h 6858001"/>
              <a:gd name="connsiteX124" fmla="*/ 3053764 w 8009775"/>
              <a:gd name="connsiteY124" fmla="*/ 1623061 h 6858001"/>
              <a:gd name="connsiteX125" fmla="*/ 3059379 w 8009775"/>
              <a:gd name="connsiteY125" fmla="*/ 1621155 h 6858001"/>
              <a:gd name="connsiteX126" fmla="*/ 3065291 w 8009775"/>
              <a:gd name="connsiteY126" fmla="*/ 1620204 h 6858001"/>
              <a:gd name="connsiteX127" fmla="*/ 3070906 w 8009775"/>
              <a:gd name="connsiteY127" fmla="*/ 1618934 h 6858001"/>
              <a:gd name="connsiteX128" fmla="*/ 3077113 w 8009775"/>
              <a:gd name="connsiteY128" fmla="*/ 1618299 h 6858001"/>
              <a:gd name="connsiteX129" fmla="*/ 3082729 w 8009775"/>
              <a:gd name="connsiteY129" fmla="*/ 1617981 h 6858001"/>
              <a:gd name="connsiteX130" fmla="*/ 3088936 w 8009775"/>
              <a:gd name="connsiteY130" fmla="*/ 1617981 h 6858001"/>
              <a:gd name="connsiteX131" fmla="*/ 3094552 w 8009775"/>
              <a:gd name="connsiteY131" fmla="*/ 1617981 h 6858001"/>
              <a:gd name="connsiteX132" fmla="*/ 3100758 w 8009775"/>
              <a:gd name="connsiteY132" fmla="*/ 1618299 h 6858001"/>
              <a:gd name="connsiteX133" fmla="*/ 3106670 w 8009775"/>
              <a:gd name="connsiteY133" fmla="*/ 1618934 h 6858001"/>
              <a:gd name="connsiteX134" fmla="*/ 3112285 w 8009775"/>
              <a:gd name="connsiteY134" fmla="*/ 1620204 h 6858001"/>
              <a:gd name="connsiteX135" fmla="*/ 3117901 w 8009775"/>
              <a:gd name="connsiteY135" fmla="*/ 1621155 h 6858001"/>
              <a:gd name="connsiteX136" fmla="*/ 3123812 w 8009775"/>
              <a:gd name="connsiteY136" fmla="*/ 1623061 h 6858001"/>
              <a:gd name="connsiteX137" fmla="*/ 3129428 w 8009775"/>
              <a:gd name="connsiteY137" fmla="*/ 1624649 h 6858001"/>
              <a:gd name="connsiteX138" fmla="*/ 3135339 w 8009775"/>
              <a:gd name="connsiteY138" fmla="*/ 1626871 h 6858001"/>
              <a:gd name="connsiteX139" fmla="*/ 3140660 w 8009775"/>
              <a:gd name="connsiteY139" fmla="*/ 1629094 h 6858001"/>
              <a:gd name="connsiteX140" fmla="*/ 3145980 w 8009775"/>
              <a:gd name="connsiteY140" fmla="*/ 1631950 h 6858001"/>
              <a:gd name="connsiteX141" fmla="*/ 3151300 w 8009775"/>
              <a:gd name="connsiteY141" fmla="*/ 1634809 h 6858001"/>
              <a:gd name="connsiteX142" fmla="*/ 3156324 w 8009775"/>
              <a:gd name="connsiteY142" fmla="*/ 1637984 h 6858001"/>
              <a:gd name="connsiteX143" fmla="*/ 3161349 w 8009775"/>
              <a:gd name="connsiteY143" fmla="*/ 1641794 h 6858001"/>
              <a:gd name="connsiteX144" fmla="*/ 3166374 w 8009775"/>
              <a:gd name="connsiteY144" fmla="*/ 1645603 h 6858001"/>
              <a:gd name="connsiteX145" fmla="*/ 3171102 w 8009775"/>
              <a:gd name="connsiteY145" fmla="*/ 1649414 h 6858001"/>
              <a:gd name="connsiteX146" fmla="*/ 3175832 w 8009775"/>
              <a:gd name="connsiteY146" fmla="*/ 1653859 h 6858001"/>
              <a:gd name="connsiteX147" fmla="*/ 3844692 w 8009775"/>
              <a:gd name="connsiteY147" fmla="*/ 2322830 h 6858001"/>
              <a:gd name="connsiteX148" fmla="*/ 3849421 w 8009775"/>
              <a:gd name="connsiteY148" fmla="*/ 2326958 h 6858001"/>
              <a:gd name="connsiteX149" fmla="*/ 3854150 w 8009775"/>
              <a:gd name="connsiteY149" fmla="*/ 2331085 h 6858001"/>
              <a:gd name="connsiteX150" fmla="*/ 3859175 w 8009775"/>
              <a:gd name="connsiteY150" fmla="*/ 2334895 h 6858001"/>
              <a:gd name="connsiteX151" fmla="*/ 3864199 w 8009775"/>
              <a:gd name="connsiteY151" fmla="*/ 2338705 h 6858001"/>
              <a:gd name="connsiteX152" fmla="*/ 3869224 w 8009775"/>
              <a:gd name="connsiteY152" fmla="*/ 2341880 h 6858001"/>
              <a:gd name="connsiteX153" fmla="*/ 3874544 w 8009775"/>
              <a:gd name="connsiteY153" fmla="*/ 2344738 h 6858001"/>
              <a:gd name="connsiteX154" fmla="*/ 3879864 w 8009775"/>
              <a:gd name="connsiteY154" fmla="*/ 2347595 h 6858001"/>
              <a:gd name="connsiteX155" fmla="*/ 3885775 w 8009775"/>
              <a:gd name="connsiteY155" fmla="*/ 2349818 h 6858001"/>
              <a:gd name="connsiteX156" fmla="*/ 3891096 w 8009775"/>
              <a:gd name="connsiteY156" fmla="*/ 2351723 h 6858001"/>
              <a:gd name="connsiteX157" fmla="*/ 3896711 w 8009775"/>
              <a:gd name="connsiteY157" fmla="*/ 2353628 h 6858001"/>
              <a:gd name="connsiteX158" fmla="*/ 3902623 w 8009775"/>
              <a:gd name="connsiteY158" fmla="*/ 2355534 h 6858001"/>
              <a:gd name="connsiteX159" fmla="*/ 3908238 w 8009775"/>
              <a:gd name="connsiteY159" fmla="*/ 2356485 h 6858001"/>
              <a:gd name="connsiteX160" fmla="*/ 3914150 w 8009775"/>
              <a:gd name="connsiteY160" fmla="*/ 2357755 h 6858001"/>
              <a:gd name="connsiteX161" fmla="*/ 3920061 w 8009775"/>
              <a:gd name="connsiteY161" fmla="*/ 2358391 h 6858001"/>
              <a:gd name="connsiteX162" fmla="*/ 3925972 w 8009775"/>
              <a:gd name="connsiteY162" fmla="*/ 2358708 h 6858001"/>
              <a:gd name="connsiteX163" fmla="*/ 3931883 w 8009775"/>
              <a:gd name="connsiteY163" fmla="*/ 2358708 h 6858001"/>
              <a:gd name="connsiteX164" fmla="*/ 3937795 w 8009775"/>
              <a:gd name="connsiteY164" fmla="*/ 2358708 h 6858001"/>
              <a:gd name="connsiteX165" fmla="*/ 3943706 w 8009775"/>
              <a:gd name="connsiteY165" fmla="*/ 2358391 h 6858001"/>
              <a:gd name="connsiteX166" fmla="*/ 3949617 w 8009775"/>
              <a:gd name="connsiteY166" fmla="*/ 2357755 h 6858001"/>
              <a:gd name="connsiteX167" fmla="*/ 3955233 w 8009775"/>
              <a:gd name="connsiteY167" fmla="*/ 2356485 h 6858001"/>
              <a:gd name="connsiteX168" fmla="*/ 3961144 w 8009775"/>
              <a:gd name="connsiteY168" fmla="*/ 2355534 h 6858001"/>
              <a:gd name="connsiteX169" fmla="*/ 3966760 w 8009775"/>
              <a:gd name="connsiteY169" fmla="*/ 2353628 h 6858001"/>
              <a:gd name="connsiteX170" fmla="*/ 3972671 w 8009775"/>
              <a:gd name="connsiteY170" fmla="*/ 2351723 h 6858001"/>
              <a:gd name="connsiteX171" fmla="*/ 3978287 w 8009775"/>
              <a:gd name="connsiteY171" fmla="*/ 2349818 h 6858001"/>
              <a:gd name="connsiteX172" fmla="*/ 3983607 w 8009775"/>
              <a:gd name="connsiteY172" fmla="*/ 2347595 h 6858001"/>
              <a:gd name="connsiteX173" fmla="*/ 3989223 w 8009775"/>
              <a:gd name="connsiteY173" fmla="*/ 2344738 h 6858001"/>
              <a:gd name="connsiteX174" fmla="*/ 3994543 w 8009775"/>
              <a:gd name="connsiteY174" fmla="*/ 2341880 h 6858001"/>
              <a:gd name="connsiteX175" fmla="*/ 3999567 w 8009775"/>
              <a:gd name="connsiteY175" fmla="*/ 2338705 h 6858001"/>
              <a:gd name="connsiteX176" fmla="*/ 4004888 w 8009775"/>
              <a:gd name="connsiteY176" fmla="*/ 2334895 h 6858001"/>
              <a:gd name="connsiteX177" fmla="*/ 4009617 w 8009775"/>
              <a:gd name="connsiteY177" fmla="*/ 2331085 h 6858001"/>
              <a:gd name="connsiteX178" fmla="*/ 4014346 w 8009775"/>
              <a:gd name="connsiteY178" fmla="*/ 2326958 h 6858001"/>
              <a:gd name="connsiteX179" fmla="*/ 4018779 w 8009775"/>
              <a:gd name="connsiteY179" fmla="*/ 2322830 h 6858001"/>
              <a:gd name="connsiteX180" fmla="*/ 4023213 w 8009775"/>
              <a:gd name="connsiteY180" fmla="*/ 2318068 h 6858001"/>
              <a:gd name="connsiteX181" fmla="*/ 4027646 w 8009775"/>
              <a:gd name="connsiteY181" fmla="*/ 2313306 h 6858001"/>
              <a:gd name="connsiteX182" fmla="*/ 4031193 w 8009775"/>
              <a:gd name="connsiteY182" fmla="*/ 2308544 h 6858001"/>
              <a:gd name="connsiteX183" fmla="*/ 4034740 w 8009775"/>
              <a:gd name="connsiteY183" fmla="*/ 2303463 h 6858001"/>
              <a:gd name="connsiteX184" fmla="*/ 4037991 w 8009775"/>
              <a:gd name="connsiteY184" fmla="*/ 2298384 h 6858001"/>
              <a:gd name="connsiteX185" fmla="*/ 4040946 w 8009775"/>
              <a:gd name="connsiteY185" fmla="*/ 2292985 h 6858001"/>
              <a:gd name="connsiteX186" fmla="*/ 4043606 w 8009775"/>
              <a:gd name="connsiteY186" fmla="*/ 2287588 h 6858001"/>
              <a:gd name="connsiteX187" fmla="*/ 4046267 w 8009775"/>
              <a:gd name="connsiteY187" fmla="*/ 2281873 h 6858001"/>
              <a:gd name="connsiteX188" fmla="*/ 4048040 w 8009775"/>
              <a:gd name="connsiteY188" fmla="*/ 2276476 h 6858001"/>
              <a:gd name="connsiteX189" fmla="*/ 4050109 w 8009775"/>
              <a:gd name="connsiteY189" fmla="*/ 2270761 h 6858001"/>
              <a:gd name="connsiteX190" fmla="*/ 4051587 w 8009775"/>
              <a:gd name="connsiteY190" fmla="*/ 2265046 h 6858001"/>
              <a:gd name="connsiteX191" fmla="*/ 4052769 w 8009775"/>
              <a:gd name="connsiteY191" fmla="*/ 2259331 h 6858001"/>
              <a:gd name="connsiteX192" fmla="*/ 4053656 w 8009775"/>
              <a:gd name="connsiteY192" fmla="*/ 2253298 h 6858001"/>
              <a:gd name="connsiteX193" fmla="*/ 4054542 w 8009775"/>
              <a:gd name="connsiteY193" fmla="*/ 2247266 h 6858001"/>
              <a:gd name="connsiteX194" fmla="*/ 4054838 w 8009775"/>
              <a:gd name="connsiteY194" fmla="*/ 2241551 h 6858001"/>
              <a:gd name="connsiteX195" fmla="*/ 4055133 w 8009775"/>
              <a:gd name="connsiteY195" fmla="*/ 2235519 h 6858001"/>
              <a:gd name="connsiteX196" fmla="*/ 4054838 w 8009775"/>
              <a:gd name="connsiteY196" fmla="*/ 2229804 h 6858001"/>
              <a:gd name="connsiteX197" fmla="*/ 4054542 w 8009775"/>
              <a:gd name="connsiteY197" fmla="*/ 2223770 h 6858001"/>
              <a:gd name="connsiteX198" fmla="*/ 4053656 w 8009775"/>
              <a:gd name="connsiteY198" fmla="*/ 2217739 h 6858001"/>
              <a:gd name="connsiteX199" fmla="*/ 4052769 w 8009775"/>
              <a:gd name="connsiteY199" fmla="*/ 2212024 h 6858001"/>
              <a:gd name="connsiteX200" fmla="*/ 4051587 w 8009775"/>
              <a:gd name="connsiteY200" fmla="*/ 2206309 h 6858001"/>
              <a:gd name="connsiteX201" fmla="*/ 4050109 w 8009775"/>
              <a:gd name="connsiteY201" fmla="*/ 2200593 h 6858001"/>
              <a:gd name="connsiteX202" fmla="*/ 4048040 w 8009775"/>
              <a:gd name="connsiteY202" fmla="*/ 2194878 h 6858001"/>
              <a:gd name="connsiteX203" fmla="*/ 4046267 w 8009775"/>
              <a:gd name="connsiteY203" fmla="*/ 2189163 h 6858001"/>
              <a:gd name="connsiteX204" fmla="*/ 4043606 w 8009775"/>
              <a:gd name="connsiteY204" fmla="*/ 2183765 h 6858001"/>
              <a:gd name="connsiteX205" fmla="*/ 4040946 w 8009775"/>
              <a:gd name="connsiteY205" fmla="*/ 2178368 h 6858001"/>
              <a:gd name="connsiteX206" fmla="*/ 4037991 w 8009775"/>
              <a:gd name="connsiteY206" fmla="*/ 2172970 h 6858001"/>
              <a:gd name="connsiteX207" fmla="*/ 4034740 w 8009775"/>
              <a:gd name="connsiteY207" fmla="*/ 2167890 h 6858001"/>
              <a:gd name="connsiteX208" fmla="*/ 4031193 w 8009775"/>
              <a:gd name="connsiteY208" fmla="*/ 2162494 h 6858001"/>
              <a:gd name="connsiteX209" fmla="*/ 4027646 w 8009775"/>
              <a:gd name="connsiteY209" fmla="*/ 2157730 h 6858001"/>
              <a:gd name="connsiteX210" fmla="*/ 4023213 w 8009775"/>
              <a:gd name="connsiteY210" fmla="*/ 2153285 h 6858001"/>
              <a:gd name="connsiteX211" fmla="*/ 4018779 w 8009775"/>
              <a:gd name="connsiteY211" fmla="*/ 2148523 h 6858001"/>
              <a:gd name="connsiteX212" fmla="*/ 3632182 w 8009775"/>
              <a:gd name="connsiteY212" fmla="*/ 1761490 h 6858001"/>
              <a:gd name="connsiteX213" fmla="*/ 3435928 w 8009775"/>
              <a:gd name="connsiteY213" fmla="*/ 1565276 h 6858001"/>
              <a:gd name="connsiteX214" fmla="*/ 3431198 w 8009775"/>
              <a:gd name="connsiteY214" fmla="*/ 1560514 h 6858001"/>
              <a:gd name="connsiteX215" fmla="*/ 3427356 w 8009775"/>
              <a:gd name="connsiteY215" fmla="*/ 1555751 h 6858001"/>
              <a:gd name="connsiteX216" fmla="*/ 3423218 w 8009775"/>
              <a:gd name="connsiteY216" fmla="*/ 1550671 h 6858001"/>
              <a:gd name="connsiteX217" fmla="*/ 3420262 w 8009775"/>
              <a:gd name="connsiteY217" fmla="*/ 1545909 h 6858001"/>
              <a:gd name="connsiteX218" fmla="*/ 3417012 w 8009775"/>
              <a:gd name="connsiteY218" fmla="*/ 1540829 h 6858001"/>
              <a:gd name="connsiteX219" fmla="*/ 3413760 w 8009775"/>
              <a:gd name="connsiteY219" fmla="*/ 1535430 h 6858001"/>
              <a:gd name="connsiteX220" fmla="*/ 3411100 w 8009775"/>
              <a:gd name="connsiteY220" fmla="*/ 1530034 h 6858001"/>
              <a:gd name="connsiteX221" fmla="*/ 3408736 w 8009775"/>
              <a:gd name="connsiteY221" fmla="*/ 1524635 h 6858001"/>
              <a:gd name="connsiteX222" fmla="*/ 3406371 w 8009775"/>
              <a:gd name="connsiteY222" fmla="*/ 1518920 h 6858001"/>
              <a:gd name="connsiteX223" fmla="*/ 3404598 w 8009775"/>
              <a:gd name="connsiteY223" fmla="*/ 1513205 h 6858001"/>
              <a:gd name="connsiteX224" fmla="*/ 3403120 w 8009775"/>
              <a:gd name="connsiteY224" fmla="*/ 1507174 h 6858001"/>
              <a:gd name="connsiteX225" fmla="*/ 3401938 w 8009775"/>
              <a:gd name="connsiteY225" fmla="*/ 1501459 h 6858001"/>
              <a:gd name="connsiteX226" fmla="*/ 3401051 w 8009775"/>
              <a:gd name="connsiteY226" fmla="*/ 1495744 h 6858001"/>
              <a:gd name="connsiteX227" fmla="*/ 3400460 w 8009775"/>
              <a:gd name="connsiteY227" fmla="*/ 1489710 h 6858001"/>
              <a:gd name="connsiteX228" fmla="*/ 3399869 w 8009775"/>
              <a:gd name="connsiteY228" fmla="*/ 1483995 h 6858001"/>
              <a:gd name="connsiteX229" fmla="*/ 3399573 w 8009775"/>
              <a:gd name="connsiteY229" fmla="*/ 1478281 h 6858001"/>
              <a:gd name="connsiteX230" fmla="*/ 3399869 w 8009775"/>
              <a:gd name="connsiteY230" fmla="*/ 1472249 h 6858001"/>
              <a:gd name="connsiteX231" fmla="*/ 3400460 w 8009775"/>
              <a:gd name="connsiteY231" fmla="*/ 1466215 h 6858001"/>
              <a:gd name="connsiteX232" fmla="*/ 3401051 w 8009775"/>
              <a:gd name="connsiteY232" fmla="*/ 1460183 h 6858001"/>
              <a:gd name="connsiteX233" fmla="*/ 3401938 w 8009775"/>
              <a:gd name="connsiteY233" fmla="*/ 1454468 h 6858001"/>
              <a:gd name="connsiteX234" fmla="*/ 3403120 w 8009775"/>
              <a:gd name="connsiteY234" fmla="*/ 1448754 h 6858001"/>
              <a:gd name="connsiteX235" fmla="*/ 3404598 w 8009775"/>
              <a:gd name="connsiteY235" fmla="*/ 1443039 h 6858001"/>
              <a:gd name="connsiteX236" fmla="*/ 3406371 w 8009775"/>
              <a:gd name="connsiteY236" fmla="*/ 1437324 h 6858001"/>
              <a:gd name="connsiteX237" fmla="*/ 3408736 w 8009775"/>
              <a:gd name="connsiteY237" fmla="*/ 1431609 h 6858001"/>
              <a:gd name="connsiteX238" fmla="*/ 3411100 w 8009775"/>
              <a:gd name="connsiteY238" fmla="*/ 1426211 h 6858001"/>
              <a:gd name="connsiteX239" fmla="*/ 3413760 w 8009775"/>
              <a:gd name="connsiteY239" fmla="*/ 1420814 h 6858001"/>
              <a:gd name="connsiteX240" fmla="*/ 3417012 w 8009775"/>
              <a:gd name="connsiteY240" fmla="*/ 1415416 h 6858001"/>
              <a:gd name="connsiteX241" fmla="*/ 3420262 w 8009775"/>
              <a:gd name="connsiteY241" fmla="*/ 1410336 h 6858001"/>
              <a:gd name="connsiteX242" fmla="*/ 3423218 w 8009775"/>
              <a:gd name="connsiteY242" fmla="*/ 1405256 h 6858001"/>
              <a:gd name="connsiteX243" fmla="*/ 3427356 w 8009775"/>
              <a:gd name="connsiteY243" fmla="*/ 1400175 h 6858001"/>
              <a:gd name="connsiteX244" fmla="*/ 3431198 w 8009775"/>
              <a:gd name="connsiteY244" fmla="*/ 1395731 h 6858001"/>
              <a:gd name="connsiteX245" fmla="*/ 3435928 w 8009775"/>
              <a:gd name="connsiteY245" fmla="*/ 1390969 h 6858001"/>
              <a:gd name="connsiteX246" fmla="*/ 3440361 w 8009775"/>
              <a:gd name="connsiteY246" fmla="*/ 1386524 h 6858001"/>
              <a:gd name="connsiteX247" fmla="*/ 3445386 w 8009775"/>
              <a:gd name="connsiteY247" fmla="*/ 1382396 h 6858001"/>
              <a:gd name="connsiteX248" fmla="*/ 3449819 w 8009775"/>
              <a:gd name="connsiteY248" fmla="*/ 1378585 h 6858001"/>
              <a:gd name="connsiteX249" fmla="*/ 3454844 w 8009775"/>
              <a:gd name="connsiteY249" fmla="*/ 1375094 h 6858001"/>
              <a:gd name="connsiteX250" fmla="*/ 3460459 w 8009775"/>
              <a:gd name="connsiteY250" fmla="*/ 1371919 h 6858001"/>
              <a:gd name="connsiteX251" fmla="*/ 3465780 w 8009775"/>
              <a:gd name="connsiteY251" fmla="*/ 1369061 h 6858001"/>
              <a:gd name="connsiteX252" fmla="*/ 3471100 w 8009775"/>
              <a:gd name="connsiteY252" fmla="*/ 1366204 h 6858001"/>
              <a:gd name="connsiteX253" fmla="*/ 3476420 w 8009775"/>
              <a:gd name="connsiteY253" fmla="*/ 1363980 h 6858001"/>
              <a:gd name="connsiteX254" fmla="*/ 3482331 w 8009775"/>
              <a:gd name="connsiteY254" fmla="*/ 1361759 h 6858001"/>
              <a:gd name="connsiteX255" fmla="*/ 3487947 w 8009775"/>
              <a:gd name="connsiteY255" fmla="*/ 1360170 h 6858001"/>
              <a:gd name="connsiteX256" fmla="*/ 3493858 w 8009775"/>
              <a:gd name="connsiteY256" fmla="*/ 1358265 h 6858001"/>
              <a:gd name="connsiteX257" fmla="*/ 3499474 w 8009775"/>
              <a:gd name="connsiteY257" fmla="*/ 1357314 h 6858001"/>
              <a:gd name="connsiteX258" fmla="*/ 3505385 w 8009775"/>
              <a:gd name="connsiteY258" fmla="*/ 1356043 h 6858001"/>
              <a:gd name="connsiteX259" fmla="*/ 3511001 w 8009775"/>
              <a:gd name="connsiteY259" fmla="*/ 1355409 h 6858001"/>
              <a:gd name="connsiteX260" fmla="*/ 3517208 w 8009775"/>
              <a:gd name="connsiteY260" fmla="*/ 1355090 h 6858001"/>
              <a:gd name="connsiteX261" fmla="*/ 3522823 w 8009775"/>
              <a:gd name="connsiteY261" fmla="*/ 1354773 h 6858001"/>
              <a:gd name="connsiteX262" fmla="*/ 3529030 w 8009775"/>
              <a:gd name="connsiteY262" fmla="*/ 1355090 h 6858001"/>
              <a:gd name="connsiteX263" fmla="*/ 3534646 w 8009775"/>
              <a:gd name="connsiteY263" fmla="*/ 1355409 h 6858001"/>
              <a:gd name="connsiteX264" fmla="*/ 3540557 w 8009775"/>
              <a:gd name="connsiteY264" fmla="*/ 1356043 h 6858001"/>
              <a:gd name="connsiteX265" fmla="*/ 3546468 w 8009775"/>
              <a:gd name="connsiteY265" fmla="*/ 1357314 h 6858001"/>
              <a:gd name="connsiteX266" fmla="*/ 3552380 w 8009775"/>
              <a:gd name="connsiteY266" fmla="*/ 1358265 h 6858001"/>
              <a:gd name="connsiteX267" fmla="*/ 3557995 w 8009775"/>
              <a:gd name="connsiteY267" fmla="*/ 1360170 h 6858001"/>
              <a:gd name="connsiteX268" fmla="*/ 3563906 w 8009775"/>
              <a:gd name="connsiteY268" fmla="*/ 1361759 h 6858001"/>
              <a:gd name="connsiteX269" fmla="*/ 3569227 w 8009775"/>
              <a:gd name="connsiteY269" fmla="*/ 1363980 h 6858001"/>
              <a:gd name="connsiteX270" fmla="*/ 3574842 w 8009775"/>
              <a:gd name="connsiteY270" fmla="*/ 1366204 h 6858001"/>
              <a:gd name="connsiteX271" fmla="*/ 3580458 w 8009775"/>
              <a:gd name="connsiteY271" fmla="*/ 1369061 h 6858001"/>
              <a:gd name="connsiteX272" fmla="*/ 3585778 w 8009775"/>
              <a:gd name="connsiteY272" fmla="*/ 1371919 h 6858001"/>
              <a:gd name="connsiteX273" fmla="*/ 3590803 w 8009775"/>
              <a:gd name="connsiteY273" fmla="*/ 1375094 h 6858001"/>
              <a:gd name="connsiteX274" fmla="*/ 3595828 w 8009775"/>
              <a:gd name="connsiteY274" fmla="*/ 1378585 h 6858001"/>
              <a:gd name="connsiteX275" fmla="*/ 3600852 w 8009775"/>
              <a:gd name="connsiteY275" fmla="*/ 1382396 h 6858001"/>
              <a:gd name="connsiteX276" fmla="*/ 3605581 w 8009775"/>
              <a:gd name="connsiteY276" fmla="*/ 1386524 h 6858001"/>
              <a:gd name="connsiteX277" fmla="*/ 3610014 w 8009775"/>
              <a:gd name="connsiteY277" fmla="*/ 1390969 h 6858001"/>
              <a:gd name="connsiteX278" fmla="*/ 3817500 w 8009775"/>
              <a:gd name="connsiteY278" fmla="*/ 1598296 h 6858001"/>
              <a:gd name="connsiteX279" fmla="*/ 3821934 w 8009775"/>
              <a:gd name="connsiteY279" fmla="*/ 1602423 h 6858001"/>
              <a:gd name="connsiteX280" fmla="*/ 3826663 w 8009775"/>
              <a:gd name="connsiteY280" fmla="*/ 1606869 h 6858001"/>
              <a:gd name="connsiteX281" fmla="*/ 3831687 w 8009775"/>
              <a:gd name="connsiteY281" fmla="*/ 1610361 h 6858001"/>
              <a:gd name="connsiteX282" fmla="*/ 3836712 w 8009775"/>
              <a:gd name="connsiteY282" fmla="*/ 1613854 h 6858001"/>
              <a:gd name="connsiteX283" fmla="*/ 3841736 w 8009775"/>
              <a:gd name="connsiteY283" fmla="*/ 1617345 h 6858001"/>
              <a:gd name="connsiteX284" fmla="*/ 3847352 w 8009775"/>
              <a:gd name="connsiteY284" fmla="*/ 1620204 h 6858001"/>
              <a:gd name="connsiteX285" fmla="*/ 3852672 w 8009775"/>
              <a:gd name="connsiteY285" fmla="*/ 1623061 h 6858001"/>
              <a:gd name="connsiteX286" fmla="*/ 3857992 w 8009775"/>
              <a:gd name="connsiteY286" fmla="*/ 1625283 h 6858001"/>
              <a:gd name="connsiteX287" fmla="*/ 3863608 w 8009775"/>
              <a:gd name="connsiteY287" fmla="*/ 1627189 h 6858001"/>
              <a:gd name="connsiteX288" fmla="*/ 3869519 w 8009775"/>
              <a:gd name="connsiteY288" fmla="*/ 1629094 h 6858001"/>
              <a:gd name="connsiteX289" fmla="*/ 3875135 w 8009775"/>
              <a:gd name="connsiteY289" fmla="*/ 1630998 h 6858001"/>
              <a:gd name="connsiteX290" fmla="*/ 3881046 w 8009775"/>
              <a:gd name="connsiteY290" fmla="*/ 1631950 h 6858001"/>
              <a:gd name="connsiteX291" fmla="*/ 3886662 w 8009775"/>
              <a:gd name="connsiteY291" fmla="*/ 1632904 h 6858001"/>
              <a:gd name="connsiteX292" fmla="*/ 3892869 w 8009775"/>
              <a:gd name="connsiteY292" fmla="*/ 1633856 h 6858001"/>
              <a:gd name="connsiteX293" fmla="*/ 3898485 w 8009775"/>
              <a:gd name="connsiteY293" fmla="*/ 1634174 h 6858001"/>
              <a:gd name="connsiteX294" fmla="*/ 3904396 w 8009775"/>
              <a:gd name="connsiteY294" fmla="*/ 1634174 h 6858001"/>
              <a:gd name="connsiteX295" fmla="*/ 3910307 w 8009775"/>
              <a:gd name="connsiteY295" fmla="*/ 1634174 h 6858001"/>
              <a:gd name="connsiteX296" fmla="*/ 3916219 w 8009775"/>
              <a:gd name="connsiteY296" fmla="*/ 1633856 h 6858001"/>
              <a:gd name="connsiteX297" fmla="*/ 3922425 w 8009775"/>
              <a:gd name="connsiteY297" fmla="*/ 1632904 h 6858001"/>
              <a:gd name="connsiteX298" fmla="*/ 3928041 w 8009775"/>
              <a:gd name="connsiteY298" fmla="*/ 1631950 h 6858001"/>
              <a:gd name="connsiteX299" fmla="*/ 3933657 w 8009775"/>
              <a:gd name="connsiteY299" fmla="*/ 1630998 h 6858001"/>
              <a:gd name="connsiteX300" fmla="*/ 3939568 w 8009775"/>
              <a:gd name="connsiteY300" fmla="*/ 1629094 h 6858001"/>
              <a:gd name="connsiteX301" fmla="*/ 3945184 w 8009775"/>
              <a:gd name="connsiteY301" fmla="*/ 1627189 h 6858001"/>
              <a:gd name="connsiteX302" fmla="*/ 3950799 w 8009775"/>
              <a:gd name="connsiteY302" fmla="*/ 1625283 h 6858001"/>
              <a:gd name="connsiteX303" fmla="*/ 3956415 w 8009775"/>
              <a:gd name="connsiteY303" fmla="*/ 1623061 h 6858001"/>
              <a:gd name="connsiteX304" fmla="*/ 3961735 w 8009775"/>
              <a:gd name="connsiteY304" fmla="*/ 1620204 h 6858001"/>
              <a:gd name="connsiteX305" fmla="*/ 3967055 w 8009775"/>
              <a:gd name="connsiteY305" fmla="*/ 1617345 h 6858001"/>
              <a:gd name="connsiteX306" fmla="*/ 3972376 w 8009775"/>
              <a:gd name="connsiteY306" fmla="*/ 1613854 h 6858001"/>
              <a:gd name="connsiteX307" fmla="*/ 3977400 w 8009775"/>
              <a:gd name="connsiteY307" fmla="*/ 1610361 h 6858001"/>
              <a:gd name="connsiteX308" fmla="*/ 3982425 w 8009775"/>
              <a:gd name="connsiteY308" fmla="*/ 1606869 h 6858001"/>
              <a:gd name="connsiteX309" fmla="*/ 3986858 w 8009775"/>
              <a:gd name="connsiteY309" fmla="*/ 1602423 h 6858001"/>
              <a:gd name="connsiteX310" fmla="*/ 3991587 w 8009775"/>
              <a:gd name="connsiteY310" fmla="*/ 1598296 h 6858001"/>
              <a:gd name="connsiteX311" fmla="*/ 3996021 w 8009775"/>
              <a:gd name="connsiteY311" fmla="*/ 1593533 h 6858001"/>
              <a:gd name="connsiteX312" fmla="*/ 4000159 w 8009775"/>
              <a:gd name="connsiteY312" fmla="*/ 1588771 h 6858001"/>
              <a:gd name="connsiteX313" fmla="*/ 4003705 w 8009775"/>
              <a:gd name="connsiteY313" fmla="*/ 1583691 h 6858001"/>
              <a:gd name="connsiteX314" fmla="*/ 4007548 w 8009775"/>
              <a:gd name="connsiteY314" fmla="*/ 1578928 h 6858001"/>
              <a:gd name="connsiteX315" fmla="*/ 4010799 w 8009775"/>
              <a:gd name="connsiteY315" fmla="*/ 1573849 h 6858001"/>
              <a:gd name="connsiteX316" fmla="*/ 4013459 w 8009775"/>
              <a:gd name="connsiteY316" fmla="*/ 1568451 h 6858001"/>
              <a:gd name="connsiteX317" fmla="*/ 4016415 w 8009775"/>
              <a:gd name="connsiteY317" fmla="*/ 1563054 h 6858001"/>
              <a:gd name="connsiteX318" fmla="*/ 4018484 w 8009775"/>
              <a:gd name="connsiteY318" fmla="*/ 1557339 h 6858001"/>
              <a:gd name="connsiteX319" fmla="*/ 4020848 w 8009775"/>
              <a:gd name="connsiteY319" fmla="*/ 1551941 h 6858001"/>
              <a:gd name="connsiteX320" fmla="*/ 4022621 w 8009775"/>
              <a:gd name="connsiteY320" fmla="*/ 1546226 h 6858001"/>
              <a:gd name="connsiteX321" fmla="*/ 4024395 w 8009775"/>
              <a:gd name="connsiteY321" fmla="*/ 1540511 h 6858001"/>
              <a:gd name="connsiteX322" fmla="*/ 4025282 w 8009775"/>
              <a:gd name="connsiteY322" fmla="*/ 1534478 h 6858001"/>
              <a:gd name="connsiteX323" fmla="*/ 4026464 w 8009775"/>
              <a:gd name="connsiteY323" fmla="*/ 1528763 h 6858001"/>
              <a:gd name="connsiteX324" fmla="*/ 4027055 w 8009775"/>
              <a:gd name="connsiteY324" fmla="*/ 1522731 h 6858001"/>
              <a:gd name="connsiteX325" fmla="*/ 4027646 w 8009775"/>
              <a:gd name="connsiteY325" fmla="*/ 1517016 h 6858001"/>
              <a:gd name="connsiteX326" fmla="*/ 4027646 w 8009775"/>
              <a:gd name="connsiteY326" fmla="*/ 1510984 h 6858001"/>
              <a:gd name="connsiteX327" fmla="*/ 4027646 w 8009775"/>
              <a:gd name="connsiteY327" fmla="*/ 1505268 h 6858001"/>
              <a:gd name="connsiteX328" fmla="*/ 4027055 w 8009775"/>
              <a:gd name="connsiteY328" fmla="*/ 1499553 h 6858001"/>
              <a:gd name="connsiteX329" fmla="*/ 4026464 w 8009775"/>
              <a:gd name="connsiteY329" fmla="*/ 1493204 h 6858001"/>
              <a:gd name="connsiteX330" fmla="*/ 4025282 w 8009775"/>
              <a:gd name="connsiteY330" fmla="*/ 1487489 h 6858001"/>
              <a:gd name="connsiteX331" fmla="*/ 4024395 w 8009775"/>
              <a:gd name="connsiteY331" fmla="*/ 1481773 h 6858001"/>
              <a:gd name="connsiteX332" fmla="*/ 4022621 w 8009775"/>
              <a:gd name="connsiteY332" fmla="*/ 1476058 h 6858001"/>
              <a:gd name="connsiteX333" fmla="*/ 4020848 w 8009775"/>
              <a:gd name="connsiteY333" fmla="*/ 1470343 h 6858001"/>
              <a:gd name="connsiteX334" fmla="*/ 4018484 w 8009775"/>
              <a:gd name="connsiteY334" fmla="*/ 1464629 h 6858001"/>
              <a:gd name="connsiteX335" fmla="*/ 4016415 w 8009775"/>
              <a:gd name="connsiteY335" fmla="*/ 1459231 h 6858001"/>
              <a:gd name="connsiteX336" fmla="*/ 4013459 w 8009775"/>
              <a:gd name="connsiteY336" fmla="*/ 1453834 h 6858001"/>
              <a:gd name="connsiteX337" fmla="*/ 4010799 w 8009775"/>
              <a:gd name="connsiteY337" fmla="*/ 1448436 h 6858001"/>
              <a:gd name="connsiteX338" fmla="*/ 4007548 w 8009775"/>
              <a:gd name="connsiteY338" fmla="*/ 1443356 h 6858001"/>
              <a:gd name="connsiteX339" fmla="*/ 4003705 w 8009775"/>
              <a:gd name="connsiteY339" fmla="*/ 1438275 h 6858001"/>
              <a:gd name="connsiteX340" fmla="*/ 4000159 w 8009775"/>
              <a:gd name="connsiteY340" fmla="*/ 1433195 h 6858001"/>
              <a:gd name="connsiteX341" fmla="*/ 3996021 w 8009775"/>
              <a:gd name="connsiteY341" fmla="*/ 1428751 h 6858001"/>
              <a:gd name="connsiteX342" fmla="*/ 3991587 w 8009775"/>
              <a:gd name="connsiteY342" fmla="*/ 1423988 h 6858001"/>
              <a:gd name="connsiteX343" fmla="*/ 3323022 w 8009775"/>
              <a:gd name="connsiteY343" fmla="*/ 755333 h 6858001"/>
              <a:gd name="connsiteX344" fmla="*/ 3316815 w 8009775"/>
              <a:gd name="connsiteY344" fmla="*/ 748348 h 6858001"/>
              <a:gd name="connsiteX345" fmla="*/ 3310904 w 8009775"/>
              <a:gd name="connsiteY345" fmla="*/ 741045 h 6858001"/>
              <a:gd name="connsiteX346" fmla="*/ 3305584 w 8009775"/>
              <a:gd name="connsiteY346" fmla="*/ 733108 h 6858001"/>
              <a:gd name="connsiteX347" fmla="*/ 3300855 w 8009775"/>
              <a:gd name="connsiteY347" fmla="*/ 725170 h 6858001"/>
              <a:gd name="connsiteX348" fmla="*/ 3297308 w 8009775"/>
              <a:gd name="connsiteY348" fmla="*/ 716915 h 6858001"/>
              <a:gd name="connsiteX349" fmla="*/ 3293761 w 8009775"/>
              <a:gd name="connsiteY349" fmla="*/ 708660 h 6858001"/>
              <a:gd name="connsiteX350" fmla="*/ 3291101 w 8009775"/>
              <a:gd name="connsiteY350" fmla="*/ 699770 h 6858001"/>
              <a:gd name="connsiteX351" fmla="*/ 3289328 w 8009775"/>
              <a:gd name="connsiteY351" fmla="*/ 691198 h 6858001"/>
              <a:gd name="connsiteX352" fmla="*/ 2596527 w 8009775"/>
              <a:gd name="connsiteY352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507651 w 8009775"/>
              <a:gd name="connsiteY73" fmla="*/ 6858001 h 6858001"/>
              <a:gd name="connsiteX74" fmla="*/ 7507650 w 8009775"/>
              <a:gd name="connsiteY74" fmla="*/ 6858000 h 6858001"/>
              <a:gd name="connsiteX75" fmla="*/ 8009775 w 8009775"/>
              <a:gd name="connsiteY75" fmla="*/ 6858000 h 6858001"/>
              <a:gd name="connsiteX76" fmla="*/ 3996316 w 8009775"/>
              <a:gd name="connsiteY76" fmla="*/ 2818448 h 6858001"/>
              <a:gd name="connsiteX77" fmla="*/ 3980947 w 8009775"/>
              <a:gd name="connsiteY77" fmla="*/ 2804795 h 6858001"/>
              <a:gd name="connsiteX78" fmla="*/ 3965282 w 8009775"/>
              <a:gd name="connsiteY78" fmla="*/ 2791144 h 6858001"/>
              <a:gd name="connsiteX79" fmla="*/ 3950799 w 8009775"/>
              <a:gd name="connsiteY79" fmla="*/ 2776856 h 6858001"/>
              <a:gd name="connsiteX80" fmla="*/ 3936021 w 8009775"/>
              <a:gd name="connsiteY80" fmla="*/ 2762568 h 6858001"/>
              <a:gd name="connsiteX81" fmla="*/ 3001744 w 8009775"/>
              <a:gd name="connsiteY81" fmla="*/ 1828166 h 6858001"/>
              <a:gd name="connsiteX82" fmla="*/ 2997311 w 8009775"/>
              <a:gd name="connsiteY82" fmla="*/ 1823404 h 6858001"/>
              <a:gd name="connsiteX83" fmla="*/ 2992878 w 8009775"/>
              <a:gd name="connsiteY83" fmla="*/ 1818640 h 6858001"/>
              <a:gd name="connsiteX84" fmla="*/ 2989331 w 8009775"/>
              <a:gd name="connsiteY84" fmla="*/ 1814195 h 6858001"/>
              <a:gd name="connsiteX85" fmla="*/ 2985784 w 8009775"/>
              <a:gd name="connsiteY85" fmla="*/ 1808799 h 6858001"/>
              <a:gd name="connsiteX86" fmla="*/ 2982533 w 8009775"/>
              <a:gd name="connsiteY86" fmla="*/ 1803718 h 6858001"/>
              <a:gd name="connsiteX87" fmla="*/ 2979873 w 8009775"/>
              <a:gd name="connsiteY87" fmla="*/ 1798321 h 6858001"/>
              <a:gd name="connsiteX88" fmla="*/ 2976917 w 8009775"/>
              <a:gd name="connsiteY88" fmla="*/ 1792924 h 6858001"/>
              <a:gd name="connsiteX89" fmla="*/ 2974552 w 8009775"/>
              <a:gd name="connsiteY89" fmla="*/ 1787526 h 6858001"/>
              <a:gd name="connsiteX90" fmla="*/ 2972484 w 8009775"/>
              <a:gd name="connsiteY90" fmla="*/ 1781811 h 6858001"/>
              <a:gd name="connsiteX91" fmla="*/ 2970710 w 8009775"/>
              <a:gd name="connsiteY91" fmla="*/ 1776095 h 6858001"/>
              <a:gd name="connsiteX92" fmla="*/ 2968937 w 8009775"/>
              <a:gd name="connsiteY92" fmla="*/ 1770380 h 6858001"/>
              <a:gd name="connsiteX93" fmla="*/ 2967755 w 8009775"/>
              <a:gd name="connsiteY93" fmla="*/ 1764665 h 6858001"/>
              <a:gd name="connsiteX94" fmla="*/ 2966868 w 8009775"/>
              <a:gd name="connsiteY94" fmla="*/ 1758634 h 6858001"/>
              <a:gd name="connsiteX95" fmla="*/ 2965981 w 8009775"/>
              <a:gd name="connsiteY95" fmla="*/ 1752919 h 6858001"/>
              <a:gd name="connsiteX96" fmla="*/ 2965686 w 8009775"/>
              <a:gd name="connsiteY96" fmla="*/ 1746885 h 6858001"/>
              <a:gd name="connsiteX97" fmla="*/ 2965686 w 8009775"/>
              <a:gd name="connsiteY97" fmla="*/ 1741170 h 6858001"/>
              <a:gd name="connsiteX98" fmla="*/ 2965686 w 8009775"/>
              <a:gd name="connsiteY98" fmla="*/ 1735139 h 6858001"/>
              <a:gd name="connsiteX99" fmla="*/ 2965981 w 8009775"/>
              <a:gd name="connsiteY99" fmla="*/ 1729424 h 6858001"/>
              <a:gd name="connsiteX100" fmla="*/ 2966868 w 8009775"/>
              <a:gd name="connsiteY100" fmla="*/ 1723074 h 6858001"/>
              <a:gd name="connsiteX101" fmla="*/ 2967755 w 8009775"/>
              <a:gd name="connsiteY101" fmla="*/ 1717358 h 6858001"/>
              <a:gd name="connsiteX102" fmla="*/ 2968937 w 8009775"/>
              <a:gd name="connsiteY102" fmla="*/ 1711643 h 6858001"/>
              <a:gd name="connsiteX103" fmla="*/ 2970710 w 8009775"/>
              <a:gd name="connsiteY103" fmla="*/ 1705929 h 6858001"/>
              <a:gd name="connsiteX104" fmla="*/ 2972484 w 8009775"/>
              <a:gd name="connsiteY104" fmla="*/ 1700214 h 6858001"/>
              <a:gd name="connsiteX105" fmla="*/ 2974552 w 8009775"/>
              <a:gd name="connsiteY105" fmla="*/ 1694816 h 6858001"/>
              <a:gd name="connsiteX106" fmla="*/ 2976917 w 8009775"/>
              <a:gd name="connsiteY106" fmla="*/ 1689101 h 6858001"/>
              <a:gd name="connsiteX107" fmla="*/ 2979873 w 8009775"/>
              <a:gd name="connsiteY107" fmla="*/ 1683703 h 6858001"/>
              <a:gd name="connsiteX108" fmla="*/ 2982533 w 8009775"/>
              <a:gd name="connsiteY108" fmla="*/ 1678305 h 6858001"/>
              <a:gd name="connsiteX109" fmla="*/ 2985784 w 8009775"/>
              <a:gd name="connsiteY109" fmla="*/ 1673226 h 6858001"/>
              <a:gd name="connsiteX110" fmla="*/ 2989331 w 8009775"/>
              <a:gd name="connsiteY110" fmla="*/ 1668145 h 6858001"/>
              <a:gd name="connsiteX111" fmla="*/ 2992878 w 8009775"/>
              <a:gd name="connsiteY111" fmla="*/ 1663066 h 6858001"/>
              <a:gd name="connsiteX112" fmla="*/ 2997311 w 8009775"/>
              <a:gd name="connsiteY112" fmla="*/ 1658621 h 6858001"/>
              <a:gd name="connsiteX113" fmla="*/ 3001744 w 8009775"/>
              <a:gd name="connsiteY113" fmla="*/ 1653859 h 6858001"/>
              <a:gd name="connsiteX114" fmla="*/ 3006178 w 8009775"/>
              <a:gd name="connsiteY114" fmla="*/ 1649414 h 6858001"/>
              <a:gd name="connsiteX115" fmla="*/ 3010907 w 8009775"/>
              <a:gd name="connsiteY115" fmla="*/ 1645603 h 6858001"/>
              <a:gd name="connsiteX116" fmla="*/ 3015932 w 8009775"/>
              <a:gd name="connsiteY116" fmla="*/ 1641794 h 6858001"/>
              <a:gd name="connsiteX117" fmla="*/ 3020956 w 8009775"/>
              <a:gd name="connsiteY117" fmla="*/ 1637984 h 6858001"/>
              <a:gd name="connsiteX118" fmla="*/ 3025981 w 8009775"/>
              <a:gd name="connsiteY118" fmla="*/ 1634809 h 6858001"/>
              <a:gd name="connsiteX119" fmla="*/ 3031596 w 8009775"/>
              <a:gd name="connsiteY119" fmla="*/ 1631950 h 6858001"/>
              <a:gd name="connsiteX120" fmla="*/ 3036916 w 8009775"/>
              <a:gd name="connsiteY120" fmla="*/ 1629094 h 6858001"/>
              <a:gd name="connsiteX121" fmla="*/ 3042532 w 8009775"/>
              <a:gd name="connsiteY121" fmla="*/ 1626871 h 6858001"/>
              <a:gd name="connsiteX122" fmla="*/ 3047852 w 8009775"/>
              <a:gd name="connsiteY122" fmla="*/ 1624649 h 6858001"/>
              <a:gd name="connsiteX123" fmla="*/ 3053764 w 8009775"/>
              <a:gd name="connsiteY123" fmla="*/ 1623061 h 6858001"/>
              <a:gd name="connsiteX124" fmla="*/ 3059379 w 8009775"/>
              <a:gd name="connsiteY124" fmla="*/ 1621155 h 6858001"/>
              <a:gd name="connsiteX125" fmla="*/ 3065291 w 8009775"/>
              <a:gd name="connsiteY125" fmla="*/ 1620204 h 6858001"/>
              <a:gd name="connsiteX126" fmla="*/ 3070906 w 8009775"/>
              <a:gd name="connsiteY126" fmla="*/ 1618934 h 6858001"/>
              <a:gd name="connsiteX127" fmla="*/ 3077113 w 8009775"/>
              <a:gd name="connsiteY127" fmla="*/ 1618299 h 6858001"/>
              <a:gd name="connsiteX128" fmla="*/ 3082729 w 8009775"/>
              <a:gd name="connsiteY128" fmla="*/ 1617981 h 6858001"/>
              <a:gd name="connsiteX129" fmla="*/ 3088936 w 8009775"/>
              <a:gd name="connsiteY129" fmla="*/ 1617981 h 6858001"/>
              <a:gd name="connsiteX130" fmla="*/ 3094552 w 8009775"/>
              <a:gd name="connsiteY130" fmla="*/ 1617981 h 6858001"/>
              <a:gd name="connsiteX131" fmla="*/ 3100758 w 8009775"/>
              <a:gd name="connsiteY131" fmla="*/ 1618299 h 6858001"/>
              <a:gd name="connsiteX132" fmla="*/ 3106670 w 8009775"/>
              <a:gd name="connsiteY132" fmla="*/ 1618934 h 6858001"/>
              <a:gd name="connsiteX133" fmla="*/ 3112285 w 8009775"/>
              <a:gd name="connsiteY133" fmla="*/ 1620204 h 6858001"/>
              <a:gd name="connsiteX134" fmla="*/ 3117901 w 8009775"/>
              <a:gd name="connsiteY134" fmla="*/ 1621155 h 6858001"/>
              <a:gd name="connsiteX135" fmla="*/ 3123812 w 8009775"/>
              <a:gd name="connsiteY135" fmla="*/ 1623061 h 6858001"/>
              <a:gd name="connsiteX136" fmla="*/ 3129428 w 8009775"/>
              <a:gd name="connsiteY136" fmla="*/ 1624649 h 6858001"/>
              <a:gd name="connsiteX137" fmla="*/ 3135339 w 8009775"/>
              <a:gd name="connsiteY137" fmla="*/ 1626871 h 6858001"/>
              <a:gd name="connsiteX138" fmla="*/ 3140660 w 8009775"/>
              <a:gd name="connsiteY138" fmla="*/ 1629094 h 6858001"/>
              <a:gd name="connsiteX139" fmla="*/ 3145980 w 8009775"/>
              <a:gd name="connsiteY139" fmla="*/ 1631950 h 6858001"/>
              <a:gd name="connsiteX140" fmla="*/ 3151300 w 8009775"/>
              <a:gd name="connsiteY140" fmla="*/ 1634809 h 6858001"/>
              <a:gd name="connsiteX141" fmla="*/ 3156324 w 8009775"/>
              <a:gd name="connsiteY141" fmla="*/ 1637984 h 6858001"/>
              <a:gd name="connsiteX142" fmla="*/ 3161349 w 8009775"/>
              <a:gd name="connsiteY142" fmla="*/ 1641794 h 6858001"/>
              <a:gd name="connsiteX143" fmla="*/ 3166374 w 8009775"/>
              <a:gd name="connsiteY143" fmla="*/ 1645603 h 6858001"/>
              <a:gd name="connsiteX144" fmla="*/ 3171102 w 8009775"/>
              <a:gd name="connsiteY144" fmla="*/ 1649414 h 6858001"/>
              <a:gd name="connsiteX145" fmla="*/ 3175832 w 8009775"/>
              <a:gd name="connsiteY145" fmla="*/ 1653859 h 6858001"/>
              <a:gd name="connsiteX146" fmla="*/ 3844692 w 8009775"/>
              <a:gd name="connsiteY146" fmla="*/ 2322830 h 6858001"/>
              <a:gd name="connsiteX147" fmla="*/ 3849421 w 8009775"/>
              <a:gd name="connsiteY147" fmla="*/ 2326958 h 6858001"/>
              <a:gd name="connsiteX148" fmla="*/ 3854150 w 8009775"/>
              <a:gd name="connsiteY148" fmla="*/ 2331085 h 6858001"/>
              <a:gd name="connsiteX149" fmla="*/ 3859175 w 8009775"/>
              <a:gd name="connsiteY149" fmla="*/ 2334895 h 6858001"/>
              <a:gd name="connsiteX150" fmla="*/ 3864199 w 8009775"/>
              <a:gd name="connsiteY150" fmla="*/ 2338705 h 6858001"/>
              <a:gd name="connsiteX151" fmla="*/ 3869224 w 8009775"/>
              <a:gd name="connsiteY151" fmla="*/ 2341880 h 6858001"/>
              <a:gd name="connsiteX152" fmla="*/ 3874544 w 8009775"/>
              <a:gd name="connsiteY152" fmla="*/ 2344738 h 6858001"/>
              <a:gd name="connsiteX153" fmla="*/ 3879864 w 8009775"/>
              <a:gd name="connsiteY153" fmla="*/ 2347595 h 6858001"/>
              <a:gd name="connsiteX154" fmla="*/ 3885775 w 8009775"/>
              <a:gd name="connsiteY154" fmla="*/ 2349818 h 6858001"/>
              <a:gd name="connsiteX155" fmla="*/ 3891096 w 8009775"/>
              <a:gd name="connsiteY155" fmla="*/ 2351723 h 6858001"/>
              <a:gd name="connsiteX156" fmla="*/ 3896711 w 8009775"/>
              <a:gd name="connsiteY156" fmla="*/ 2353628 h 6858001"/>
              <a:gd name="connsiteX157" fmla="*/ 3902623 w 8009775"/>
              <a:gd name="connsiteY157" fmla="*/ 2355534 h 6858001"/>
              <a:gd name="connsiteX158" fmla="*/ 3908238 w 8009775"/>
              <a:gd name="connsiteY158" fmla="*/ 2356485 h 6858001"/>
              <a:gd name="connsiteX159" fmla="*/ 3914150 w 8009775"/>
              <a:gd name="connsiteY159" fmla="*/ 2357755 h 6858001"/>
              <a:gd name="connsiteX160" fmla="*/ 3920061 w 8009775"/>
              <a:gd name="connsiteY160" fmla="*/ 2358391 h 6858001"/>
              <a:gd name="connsiteX161" fmla="*/ 3925972 w 8009775"/>
              <a:gd name="connsiteY161" fmla="*/ 2358708 h 6858001"/>
              <a:gd name="connsiteX162" fmla="*/ 3931883 w 8009775"/>
              <a:gd name="connsiteY162" fmla="*/ 2358708 h 6858001"/>
              <a:gd name="connsiteX163" fmla="*/ 3937795 w 8009775"/>
              <a:gd name="connsiteY163" fmla="*/ 2358708 h 6858001"/>
              <a:gd name="connsiteX164" fmla="*/ 3943706 w 8009775"/>
              <a:gd name="connsiteY164" fmla="*/ 2358391 h 6858001"/>
              <a:gd name="connsiteX165" fmla="*/ 3949617 w 8009775"/>
              <a:gd name="connsiteY165" fmla="*/ 2357755 h 6858001"/>
              <a:gd name="connsiteX166" fmla="*/ 3955233 w 8009775"/>
              <a:gd name="connsiteY166" fmla="*/ 2356485 h 6858001"/>
              <a:gd name="connsiteX167" fmla="*/ 3961144 w 8009775"/>
              <a:gd name="connsiteY167" fmla="*/ 2355534 h 6858001"/>
              <a:gd name="connsiteX168" fmla="*/ 3966760 w 8009775"/>
              <a:gd name="connsiteY168" fmla="*/ 2353628 h 6858001"/>
              <a:gd name="connsiteX169" fmla="*/ 3972671 w 8009775"/>
              <a:gd name="connsiteY169" fmla="*/ 2351723 h 6858001"/>
              <a:gd name="connsiteX170" fmla="*/ 3978287 w 8009775"/>
              <a:gd name="connsiteY170" fmla="*/ 2349818 h 6858001"/>
              <a:gd name="connsiteX171" fmla="*/ 3983607 w 8009775"/>
              <a:gd name="connsiteY171" fmla="*/ 2347595 h 6858001"/>
              <a:gd name="connsiteX172" fmla="*/ 3989223 w 8009775"/>
              <a:gd name="connsiteY172" fmla="*/ 2344738 h 6858001"/>
              <a:gd name="connsiteX173" fmla="*/ 3994543 w 8009775"/>
              <a:gd name="connsiteY173" fmla="*/ 2341880 h 6858001"/>
              <a:gd name="connsiteX174" fmla="*/ 3999567 w 8009775"/>
              <a:gd name="connsiteY174" fmla="*/ 2338705 h 6858001"/>
              <a:gd name="connsiteX175" fmla="*/ 4004888 w 8009775"/>
              <a:gd name="connsiteY175" fmla="*/ 2334895 h 6858001"/>
              <a:gd name="connsiteX176" fmla="*/ 4009617 w 8009775"/>
              <a:gd name="connsiteY176" fmla="*/ 2331085 h 6858001"/>
              <a:gd name="connsiteX177" fmla="*/ 4014346 w 8009775"/>
              <a:gd name="connsiteY177" fmla="*/ 2326958 h 6858001"/>
              <a:gd name="connsiteX178" fmla="*/ 4018779 w 8009775"/>
              <a:gd name="connsiteY178" fmla="*/ 2322830 h 6858001"/>
              <a:gd name="connsiteX179" fmla="*/ 4023213 w 8009775"/>
              <a:gd name="connsiteY179" fmla="*/ 2318068 h 6858001"/>
              <a:gd name="connsiteX180" fmla="*/ 4027646 w 8009775"/>
              <a:gd name="connsiteY180" fmla="*/ 2313306 h 6858001"/>
              <a:gd name="connsiteX181" fmla="*/ 4031193 w 8009775"/>
              <a:gd name="connsiteY181" fmla="*/ 2308544 h 6858001"/>
              <a:gd name="connsiteX182" fmla="*/ 4034740 w 8009775"/>
              <a:gd name="connsiteY182" fmla="*/ 2303463 h 6858001"/>
              <a:gd name="connsiteX183" fmla="*/ 4037991 w 8009775"/>
              <a:gd name="connsiteY183" fmla="*/ 2298384 h 6858001"/>
              <a:gd name="connsiteX184" fmla="*/ 4040946 w 8009775"/>
              <a:gd name="connsiteY184" fmla="*/ 2292985 h 6858001"/>
              <a:gd name="connsiteX185" fmla="*/ 4043606 w 8009775"/>
              <a:gd name="connsiteY185" fmla="*/ 2287588 h 6858001"/>
              <a:gd name="connsiteX186" fmla="*/ 4046267 w 8009775"/>
              <a:gd name="connsiteY186" fmla="*/ 2281873 h 6858001"/>
              <a:gd name="connsiteX187" fmla="*/ 4048040 w 8009775"/>
              <a:gd name="connsiteY187" fmla="*/ 2276476 h 6858001"/>
              <a:gd name="connsiteX188" fmla="*/ 4050109 w 8009775"/>
              <a:gd name="connsiteY188" fmla="*/ 2270761 h 6858001"/>
              <a:gd name="connsiteX189" fmla="*/ 4051587 w 8009775"/>
              <a:gd name="connsiteY189" fmla="*/ 2265046 h 6858001"/>
              <a:gd name="connsiteX190" fmla="*/ 4052769 w 8009775"/>
              <a:gd name="connsiteY190" fmla="*/ 2259331 h 6858001"/>
              <a:gd name="connsiteX191" fmla="*/ 4053656 w 8009775"/>
              <a:gd name="connsiteY191" fmla="*/ 2253298 h 6858001"/>
              <a:gd name="connsiteX192" fmla="*/ 4054542 w 8009775"/>
              <a:gd name="connsiteY192" fmla="*/ 2247266 h 6858001"/>
              <a:gd name="connsiteX193" fmla="*/ 4054838 w 8009775"/>
              <a:gd name="connsiteY193" fmla="*/ 2241551 h 6858001"/>
              <a:gd name="connsiteX194" fmla="*/ 4055133 w 8009775"/>
              <a:gd name="connsiteY194" fmla="*/ 2235519 h 6858001"/>
              <a:gd name="connsiteX195" fmla="*/ 4054838 w 8009775"/>
              <a:gd name="connsiteY195" fmla="*/ 2229804 h 6858001"/>
              <a:gd name="connsiteX196" fmla="*/ 4054542 w 8009775"/>
              <a:gd name="connsiteY196" fmla="*/ 2223770 h 6858001"/>
              <a:gd name="connsiteX197" fmla="*/ 4053656 w 8009775"/>
              <a:gd name="connsiteY197" fmla="*/ 2217739 h 6858001"/>
              <a:gd name="connsiteX198" fmla="*/ 4052769 w 8009775"/>
              <a:gd name="connsiteY198" fmla="*/ 2212024 h 6858001"/>
              <a:gd name="connsiteX199" fmla="*/ 4051587 w 8009775"/>
              <a:gd name="connsiteY199" fmla="*/ 2206309 h 6858001"/>
              <a:gd name="connsiteX200" fmla="*/ 4050109 w 8009775"/>
              <a:gd name="connsiteY200" fmla="*/ 2200593 h 6858001"/>
              <a:gd name="connsiteX201" fmla="*/ 4048040 w 8009775"/>
              <a:gd name="connsiteY201" fmla="*/ 2194878 h 6858001"/>
              <a:gd name="connsiteX202" fmla="*/ 4046267 w 8009775"/>
              <a:gd name="connsiteY202" fmla="*/ 2189163 h 6858001"/>
              <a:gd name="connsiteX203" fmla="*/ 4043606 w 8009775"/>
              <a:gd name="connsiteY203" fmla="*/ 2183765 h 6858001"/>
              <a:gd name="connsiteX204" fmla="*/ 4040946 w 8009775"/>
              <a:gd name="connsiteY204" fmla="*/ 2178368 h 6858001"/>
              <a:gd name="connsiteX205" fmla="*/ 4037991 w 8009775"/>
              <a:gd name="connsiteY205" fmla="*/ 2172970 h 6858001"/>
              <a:gd name="connsiteX206" fmla="*/ 4034740 w 8009775"/>
              <a:gd name="connsiteY206" fmla="*/ 2167890 h 6858001"/>
              <a:gd name="connsiteX207" fmla="*/ 4031193 w 8009775"/>
              <a:gd name="connsiteY207" fmla="*/ 2162494 h 6858001"/>
              <a:gd name="connsiteX208" fmla="*/ 4027646 w 8009775"/>
              <a:gd name="connsiteY208" fmla="*/ 2157730 h 6858001"/>
              <a:gd name="connsiteX209" fmla="*/ 4023213 w 8009775"/>
              <a:gd name="connsiteY209" fmla="*/ 2153285 h 6858001"/>
              <a:gd name="connsiteX210" fmla="*/ 4018779 w 8009775"/>
              <a:gd name="connsiteY210" fmla="*/ 2148523 h 6858001"/>
              <a:gd name="connsiteX211" fmla="*/ 3632182 w 8009775"/>
              <a:gd name="connsiteY211" fmla="*/ 1761490 h 6858001"/>
              <a:gd name="connsiteX212" fmla="*/ 3435928 w 8009775"/>
              <a:gd name="connsiteY212" fmla="*/ 1565276 h 6858001"/>
              <a:gd name="connsiteX213" fmla="*/ 3431198 w 8009775"/>
              <a:gd name="connsiteY213" fmla="*/ 1560514 h 6858001"/>
              <a:gd name="connsiteX214" fmla="*/ 3427356 w 8009775"/>
              <a:gd name="connsiteY214" fmla="*/ 1555751 h 6858001"/>
              <a:gd name="connsiteX215" fmla="*/ 3423218 w 8009775"/>
              <a:gd name="connsiteY215" fmla="*/ 1550671 h 6858001"/>
              <a:gd name="connsiteX216" fmla="*/ 3420262 w 8009775"/>
              <a:gd name="connsiteY216" fmla="*/ 1545909 h 6858001"/>
              <a:gd name="connsiteX217" fmla="*/ 3417012 w 8009775"/>
              <a:gd name="connsiteY217" fmla="*/ 1540829 h 6858001"/>
              <a:gd name="connsiteX218" fmla="*/ 3413760 w 8009775"/>
              <a:gd name="connsiteY218" fmla="*/ 1535430 h 6858001"/>
              <a:gd name="connsiteX219" fmla="*/ 3411100 w 8009775"/>
              <a:gd name="connsiteY219" fmla="*/ 1530034 h 6858001"/>
              <a:gd name="connsiteX220" fmla="*/ 3408736 w 8009775"/>
              <a:gd name="connsiteY220" fmla="*/ 1524635 h 6858001"/>
              <a:gd name="connsiteX221" fmla="*/ 3406371 w 8009775"/>
              <a:gd name="connsiteY221" fmla="*/ 1518920 h 6858001"/>
              <a:gd name="connsiteX222" fmla="*/ 3404598 w 8009775"/>
              <a:gd name="connsiteY222" fmla="*/ 1513205 h 6858001"/>
              <a:gd name="connsiteX223" fmla="*/ 3403120 w 8009775"/>
              <a:gd name="connsiteY223" fmla="*/ 1507174 h 6858001"/>
              <a:gd name="connsiteX224" fmla="*/ 3401938 w 8009775"/>
              <a:gd name="connsiteY224" fmla="*/ 1501459 h 6858001"/>
              <a:gd name="connsiteX225" fmla="*/ 3401051 w 8009775"/>
              <a:gd name="connsiteY225" fmla="*/ 1495744 h 6858001"/>
              <a:gd name="connsiteX226" fmla="*/ 3400460 w 8009775"/>
              <a:gd name="connsiteY226" fmla="*/ 1489710 h 6858001"/>
              <a:gd name="connsiteX227" fmla="*/ 3399869 w 8009775"/>
              <a:gd name="connsiteY227" fmla="*/ 1483995 h 6858001"/>
              <a:gd name="connsiteX228" fmla="*/ 3399573 w 8009775"/>
              <a:gd name="connsiteY228" fmla="*/ 1478281 h 6858001"/>
              <a:gd name="connsiteX229" fmla="*/ 3399869 w 8009775"/>
              <a:gd name="connsiteY229" fmla="*/ 1472249 h 6858001"/>
              <a:gd name="connsiteX230" fmla="*/ 3400460 w 8009775"/>
              <a:gd name="connsiteY230" fmla="*/ 1466215 h 6858001"/>
              <a:gd name="connsiteX231" fmla="*/ 3401051 w 8009775"/>
              <a:gd name="connsiteY231" fmla="*/ 1460183 h 6858001"/>
              <a:gd name="connsiteX232" fmla="*/ 3401938 w 8009775"/>
              <a:gd name="connsiteY232" fmla="*/ 1454468 h 6858001"/>
              <a:gd name="connsiteX233" fmla="*/ 3403120 w 8009775"/>
              <a:gd name="connsiteY233" fmla="*/ 1448754 h 6858001"/>
              <a:gd name="connsiteX234" fmla="*/ 3404598 w 8009775"/>
              <a:gd name="connsiteY234" fmla="*/ 1443039 h 6858001"/>
              <a:gd name="connsiteX235" fmla="*/ 3406371 w 8009775"/>
              <a:gd name="connsiteY235" fmla="*/ 1437324 h 6858001"/>
              <a:gd name="connsiteX236" fmla="*/ 3408736 w 8009775"/>
              <a:gd name="connsiteY236" fmla="*/ 1431609 h 6858001"/>
              <a:gd name="connsiteX237" fmla="*/ 3411100 w 8009775"/>
              <a:gd name="connsiteY237" fmla="*/ 1426211 h 6858001"/>
              <a:gd name="connsiteX238" fmla="*/ 3413760 w 8009775"/>
              <a:gd name="connsiteY238" fmla="*/ 1420814 h 6858001"/>
              <a:gd name="connsiteX239" fmla="*/ 3417012 w 8009775"/>
              <a:gd name="connsiteY239" fmla="*/ 1415416 h 6858001"/>
              <a:gd name="connsiteX240" fmla="*/ 3420262 w 8009775"/>
              <a:gd name="connsiteY240" fmla="*/ 1410336 h 6858001"/>
              <a:gd name="connsiteX241" fmla="*/ 3423218 w 8009775"/>
              <a:gd name="connsiteY241" fmla="*/ 1405256 h 6858001"/>
              <a:gd name="connsiteX242" fmla="*/ 3427356 w 8009775"/>
              <a:gd name="connsiteY242" fmla="*/ 1400175 h 6858001"/>
              <a:gd name="connsiteX243" fmla="*/ 3431198 w 8009775"/>
              <a:gd name="connsiteY243" fmla="*/ 1395731 h 6858001"/>
              <a:gd name="connsiteX244" fmla="*/ 3435928 w 8009775"/>
              <a:gd name="connsiteY244" fmla="*/ 1390969 h 6858001"/>
              <a:gd name="connsiteX245" fmla="*/ 3440361 w 8009775"/>
              <a:gd name="connsiteY245" fmla="*/ 1386524 h 6858001"/>
              <a:gd name="connsiteX246" fmla="*/ 3445386 w 8009775"/>
              <a:gd name="connsiteY246" fmla="*/ 1382396 h 6858001"/>
              <a:gd name="connsiteX247" fmla="*/ 3449819 w 8009775"/>
              <a:gd name="connsiteY247" fmla="*/ 1378585 h 6858001"/>
              <a:gd name="connsiteX248" fmla="*/ 3454844 w 8009775"/>
              <a:gd name="connsiteY248" fmla="*/ 1375094 h 6858001"/>
              <a:gd name="connsiteX249" fmla="*/ 3460459 w 8009775"/>
              <a:gd name="connsiteY249" fmla="*/ 1371919 h 6858001"/>
              <a:gd name="connsiteX250" fmla="*/ 3465780 w 8009775"/>
              <a:gd name="connsiteY250" fmla="*/ 1369061 h 6858001"/>
              <a:gd name="connsiteX251" fmla="*/ 3471100 w 8009775"/>
              <a:gd name="connsiteY251" fmla="*/ 1366204 h 6858001"/>
              <a:gd name="connsiteX252" fmla="*/ 3476420 w 8009775"/>
              <a:gd name="connsiteY252" fmla="*/ 1363980 h 6858001"/>
              <a:gd name="connsiteX253" fmla="*/ 3482331 w 8009775"/>
              <a:gd name="connsiteY253" fmla="*/ 1361759 h 6858001"/>
              <a:gd name="connsiteX254" fmla="*/ 3487947 w 8009775"/>
              <a:gd name="connsiteY254" fmla="*/ 1360170 h 6858001"/>
              <a:gd name="connsiteX255" fmla="*/ 3493858 w 8009775"/>
              <a:gd name="connsiteY255" fmla="*/ 1358265 h 6858001"/>
              <a:gd name="connsiteX256" fmla="*/ 3499474 w 8009775"/>
              <a:gd name="connsiteY256" fmla="*/ 1357314 h 6858001"/>
              <a:gd name="connsiteX257" fmla="*/ 3505385 w 8009775"/>
              <a:gd name="connsiteY257" fmla="*/ 1356043 h 6858001"/>
              <a:gd name="connsiteX258" fmla="*/ 3511001 w 8009775"/>
              <a:gd name="connsiteY258" fmla="*/ 1355409 h 6858001"/>
              <a:gd name="connsiteX259" fmla="*/ 3517208 w 8009775"/>
              <a:gd name="connsiteY259" fmla="*/ 1355090 h 6858001"/>
              <a:gd name="connsiteX260" fmla="*/ 3522823 w 8009775"/>
              <a:gd name="connsiteY260" fmla="*/ 1354773 h 6858001"/>
              <a:gd name="connsiteX261" fmla="*/ 3529030 w 8009775"/>
              <a:gd name="connsiteY261" fmla="*/ 1355090 h 6858001"/>
              <a:gd name="connsiteX262" fmla="*/ 3534646 w 8009775"/>
              <a:gd name="connsiteY262" fmla="*/ 1355409 h 6858001"/>
              <a:gd name="connsiteX263" fmla="*/ 3540557 w 8009775"/>
              <a:gd name="connsiteY263" fmla="*/ 1356043 h 6858001"/>
              <a:gd name="connsiteX264" fmla="*/ 3546468 w 8009775"/>
              <a:gd name="connsiteY264" fmla="*/ 1357314 h 6858001"/>
              <a:gd name="connsiteX265" fmla="*/ 3552380 w 8009775"/>
              <a:gd name="connsiteY265" fmla="*/ 1358265 h 6858001"/>
              <a:gd name="connsiteX266" fmla="*/ 3557995 w 8009775"/>
              <a:gd name="connsiteY266" fmla="*/ 1360170 h 6858001"/>
              <a:gd name="connsiteX267" fmla="*/ 3563906 w 8009775"/>
              <a:gd name="connsiteY267" fmla="*/ 1361759 h 6858001"/>
              <a:gd name="connsiteX268" fmla="*/ 3569227 w 8009775"/>
              <a:gd name="connsiteY268" fmla="*/ 1363980 h 6858001"/>
              <a:gd name="connsiteX269" fmla="*/ 3574842 w 8009775"/>
              <a:gd name="connsiteY269" fmla="*/ 1366204 h 6858001"/>
              <a:gd name="connsiteX270" fmla="*/ 3580458 w 8009775"/>
              <a:gd name="connsiteY270" fmla="*/ 1369061 h 6858001"/>
              <a:gd name="connsiteX271" fmla="*/ 3585778 w 8009775"/>
              <a:gd name="connsiteY271" fmla="*/ 1371919 h 6858001"/>
              <a:gd name="connsiteX272" fmla="*/ 3590803 w 8009775"/>
              <a:gd name="connsiteY272" fmla="*/ 1375094 h 6858001"/>
              <a:gd name="connsiteX273" fmla="*/ 3595828 w 8009775"/>
              <a:gd name="connsiteY273" fmla="*/ 1378585 h 6858001"/>
              <a:gd name="connsiteX274" fmla="*/ 3600852 w 8009775"/>
              <a:gd name="connsiteY274" fmla="*/ 1382396 h 6858001"/>
              <a:gd name="connsiteX275" fmla="*/ 3605581 w 8009775"/>
              <a:gd name="connsiteY275" fmla="*/ 1386524 h 6858001"/>
              <a:gd name="connsiteX276" fmla="*/ 3610014 w 8009775"/>
              <a:gd name="connsiteY276" fmla="*/ 1390969 h 6858001"/>
              <a:gd name="connsiteX277" fmla="*/ 3817500 w 8009775"/>
              <a:gd name="connsiteY277" fmla="*/ 1598296 h 6858001"/>
              <a:gd name="connsiteX278" fmla="*/ 3821934 w 8009775"/>
              <a:gd name="connsiteY278" fmla="*/ 1602423 h 6858001"/>
              <a:gd name="connsiteX279" fmla="*/ 3826663 w 8009775"/>
              <a:gd name="connsiteY279" fmla="*/ 1606869 h 6858001"/>
              <a:gd name="connsiteX280" fmla="*/ 3831687 w 8009775"/>
              <a:gd name="connsiteY280" fmla="*/ 1610361 h 6858001"/>
              <a:gd name="connsiteX281" fmla="*/ 3836712 w 8009775"/>
              <a:gd name="connsiteY281" fmla="*/ 1613854 h 6858001"/>
              <a:gd name="connsiteX282" fmla="*/ 3841736 w 8009775"/>
              <a:gd name="connsiteY282" fmla="*/ 1617345 h 6858001"/>
              <a:gd name="connsiteX283" fmla="*/ 3847352 w 8009775"/>
              <a:gd name="connsiteY283" fmla="*/ 1620204 h 6858001"/>
              <a:gd name="connsiteX284" fmla="*/ 3852672 w 8009775"/>
              <a:gd name="connsiteY284" fmla="*/ 1623061 h 6858001"/>
              <a:gd name="connsiteX285" fmla="*/ 3857992 w 8009775"/>
              <a:gd name="connsiteY285" fmla="*/ 1625283 h 6858001"/>
              <a:gd name="connsiteX286" fmla="*/ 3863608 w 8009775"/>
              <a:gd name="connsiteY286" fmla="*/ 1627189 h 6858001"/>
              <a:gd name="connsiteX287" fmla="*/ 3869519 w 8009775"/>
              <a:gd name="connsiteY287" fmla="*/ 1629094 h 6858001"/>
              <a:gd name="connsiteX288" fmla="*/ 3875135 w 8009775"/>
              <a:gd name="connsiteY288" fmla="*/ 1630998 h 6858001"/>
              <a:gd name="connsiteX289" fmla="*/ 3881046 w 8009775"/>
              <a:gd name="connsiteY289" fmla="*/ 1631950 h 6858001"/>
              <a:gd name="connsiteX290" fmla="*/ 3886662 w 8009775"/>
              <a:gd name="connsiteY290" fmla="*/ 1632904 h 6858001"/>
              <a:gd name="connsiteX291" fmla="*/ 3892869 w 8009775"/>
              <a:gd name="connsiteY291" fmla="*/ 1633856 h 6858001"/>
              <a:gd name="connsiteX292" fmla="*/ 3898485 w 8009775"/>
              <a:gd name="connsiteY292" fmla="*/ 1634174 h 6858001"/>
              <a:gd name="connsiteX293" fmla="*/ 3904396 w 8009775"/>
              <a:gd name="connsiteY293" fmla="*/ 1634174 h 6858001"/>
              <a:gd name="connsiteX294" fmla="*/ 3910307 w 8009775"/>
              <a:gd name="connsiteY294" fmla="*/ 1634174 h 6858001"/>
              <a:gd name="connsiteX295" fmla="*/ 3916219 w 8009775"/>
              <a:gd name="connsiteY295" fmla="*/ 1633856 h 6858001"/>
              <a:gd name="connsiteX296" fmla="*/ 3922425 w 8009775"/>
              <a:gd name="connsiteY296" fmla="*/ 1632904 h 6858001"/>
              <a:gd name="connsiteX297" fmla="*/ 3928041 w 8009775"/>
              <a:gd name="connsiteY297" fmla="*/ 1631950 h 6858001"/>
              <a:gd name="connsiteX298" fmla="*/ 3933657 w 8009775"/>
              <a:gd name="connsiteY298" fmla="*/ 1630998 h 6858001"/>
              <a:gd name="connsiteX299" fmla="*/ 3939568 w 8009775"/>
              <a:gd name="connsiteY299" fmla="*/ 1629094 h 6858001"/>
              <a:gd name="connsiteX300" fmla="*/ 3945184 w 8009775"/>
              <a:gd name="connsiteY300" fmla="*/ 1627189 h 6858001"/>
              <a:gd name="connsiteX301" fmla="*/ 3950799 w 8009775"/>
              <a:gd name="connsiteY301" fmla="*/ 1625283 h 6858001"/>
              <a:gd name="connsiteX302" fmla="*/ 3956415 w 8009775"/>
              <a:gd name="connsiteY302" fmla="*/ 1623061 h 6858001"/>
              <a:gd name="connsiteX303" fmla="*/ 3961735 w 8009775"/>
              <a:gd name="connsiteY303" fmla="*/ 1620204 h 6858001"/>
              <a:gd name="connsiteX304" fmla="*/ 3967055 w 8009775"/>
              <a:gd name="connsiteY304" fmla="*/ 1617345 h 6858001"/>
              <a:gd name="connsiteX305" fmla="*/ 3972376 w 8009775"/>
              <a:gd name="connsiteY305" fmla="*/ 1613854 h 6858001"/>
              <a:gd name="connsiteX306" fmla="*/ 3977400 w 8009775"/>
              <a:gd name="connsiteY306" fmla="*/ 1610361 h 6858001"/>
              <a:gd name="connsiteX307" fmla="*/ 3982425 w 8009775"/>
              <a:gd name="connsiteY307" fmla="*/ 1606869 h 6858001"/>
              <a:gd name="connsiteX308" fmla="*/ 3986858 w 8009775"/>
              <a:gd name="connsiteY308" fmla="*/ 1602423 h 6858001"/>
              <a:gd name="connsiteX309" fmla="*/ 3991587 w 8009775"/>
              <a:gd name="connsiteY309" fmla="*/ 1598296 h 6858001"/>
              <a:gd name="connsiteX310" fmla="*/ 3996021 w 8009775"/>
              <a:gd name="connsiteY310" fmla="*/ 1593533 h 6858001"/>
              <a:gd name="connsiteX311" fmla="*/ 4000159 w 8009775"/>
              <a:gd name="connsiteY311" fmla="*/ 1588771 h 6858001"/>
              <a:gd name="connsiteX312" fmla="*/ 4003705 w 8009775"/>
              <a:gd name="connsiteY312" fmla="*/ 1583691 h 6858001"/>
              <a:gd name="connsiteX313" fmla="*/ 4007548 w 8009775"/>
              <a:gd name="connsiteY313" fmla="*/ 1578928 h 6858001"/>
              <a:gd name="connsiteX314" fmla="*/ 4010799 w 8009775"/>
              <a:gd name="connsiteY314" fmla="*/ 1573849 h 6858001"/>
              <a:gd name="connsiteX315" fmla="*/ 4013459 w 8009775"/>
              <a:gd name="connsiteY315" fmla="*/ 1568451 h 6858001"/>
              <a:gd name="connsiteX316" fmla="*/ 4016415 w 8009775"/>
              <a:gd name="connsiteY316" fmla="*/ 1563054 h 6858001"/>
              <a:gd name="connsiteX317" fmla="*/ 4018484 w 8009775"/>
              <a:gd name="connsiteY317" fmla="*/ 1557339 h 6858001"/>
              <a:gd name="connsiteX318" fmla="*/ 4020848 w 8009775"/>
              <a:gd name="connsiteY318" fmla="*/ 1551941 h 6858001"/>
              <a:gd name="connsiteX319" fmla="*/ 4022621 w 8009775"/>
              <a:gd name="connsiteY319" fmla="*/ 1546226 h 6858001"/>
              <a:gd name="connsiteX320" fmla="*/ 4024395 w 8009775"/>
              <a:gd name="connsiteY320" fmla="*/ 1540511 h 6858001"/>
              <a:gd name="connsiteX321" fmla="*/ 4025282 w 8009775"/>
              <a:gd name="connsiteY321" fmla="*/ 1534478 h 6858001"/>
              <a:gd name="connsiteX322" fmla="*/ 4026464 w 8009775"/>
              <a:gd name="connsiteY322" fmla="*/ 1528763 h 6858001"/>
              <a:gd name="connsiteX323" fmla="*/ 4027055 w 8009775"/>
              <a:gd name="connsiteY323" fmla="*/ 1522731 h 6858001"/>
              <a:gd name="connsiteX324" fmla="*/ 4027646 w 8009775"/>
              <a:gd name="connsiteY324" fmla="*/ 1517016 h 6858001"/>
              <a:gd name="connsiteX325" fmla="*/ 4027646 w 8009775"/>
              <a:gd name="connsiteY325" fmla="*/ 1510984 h 6858001"/>
              <a:gd name="connsiteX326" fmla="*/ 4027646 w 8009775"/>
              <a:gd name="connsiteY326" fmla="*/ 1505268 h 6858001"/>
              <a:gd name="connsiteX327" fmla="*/ 4027055 w 8009775"/>
              <a:gd name="connsiteY327" fmla="*/ 1499553 h 6858001"/>
              <a:gd name="connsiteX328" fmla="*/ 4026464 w 8009775"/>
              <a:gd name="connsiteY328" fmla="*/ 1493204 h 6858001"/>
              <a:gd name="connsiteX329" fmla="*/ 4025282 w 8009775"/>
              <a:gd name="connsiteY329" fmla="*/ 1487489 h 6858001"/>
              <a:gd name="connsiteX330" fmla="*/ 4024395 w 8009775"/>
              <a:gd name="connsiteY330" fmla="*/ 1481773 h 6858001"/>
              <a:gd name="connsiteX331" fmla="*/ 4022621 w 8009775"/>
              <a:gd name="connsiteY331" fmla="*/ 1476058 h 6858001"/>
              <a:gd name="connsiteX332" fmla="*/ 4020848 w 8009775"/>
              <a:gd name="connsiteY332" fmla="*/ 1470343 h 6858001"/>
              <a:gd name="connsiteX333" fmla="*/ 4018484 w 8009775"/>
              <a:gd name="connsiteY333" fmla="*/ 1464629 h 6858001"/>
              <a:gd name="connsiteX334" fmla="*/ 4016415 w 8009775"/>
              <a:gd name="connsiteY334" fmla="*/ 1459231 h 6858001"/>
              <a:gd name="connsiteX335" fmla="*/ 4013459 w 8009775"/>
              <a:gd name="connsiteY335" fmla="*/ 1453834 h 6858001"/>
              <a:gd name="connsiteX336" fmla="*/ 4010799 w 8009775"/>
              <a:gd name="connsiteY336" fmla="*/ 1448436 h 6858001"/>
              <a:gd name="connsiteX337" fmla="*/ 4007548 w 8009775"/>
              <a:gd name="connsiteY337" fmla="*/ 1443356 h 6858001"/>
              <a:gd name="connsiteX338" fmla="*/ 4003705 w 8009775"/>
              <a:gd name="connsiteY338" fmla="*/ 1438275 h 6858001"/>
              <a:gd name="connsiteX339" fmla="*/ 4000159 w 8009775"/>
              <a:gd name="connsiteY339" fmla="*/ 1433195 h 6858001"/>
              <a:gd name="connsiteX340" fmla="*/ 3996021 w 8009775"/>
              <a:gd name="connsiteY340" fmla="*/ 1428751 h 6858001"/>
              <a:gd name="connsiteX341" fmla="*/ 3991587 w 8009775"/>
              <a:gd name="connsiteY341" fmla="*/ 1423988 h 6858001"/>
              <a:gd name="connsiteX342" fmla="*/ 3323022 w 8009775"/>
              <a:gd name="connsiteY342" fmla="*/ 755333 h 6858001"/>
              <a:gd name="connsiteX343" fmla="*/ 3316815 w 8009775"/>
              <a:gd name="connsiteY343" fmla="*/ 748348 h 6858001"/>
              <a:gd name="connsiteX344" fmla="*/ 3310904 w 8009775"/>
              <a:gd name="connsiteY344" fmla="*/ 741045 h 6858001"/>
              <a:gd name="connsiteX345" fmla="*/ 3305584 w 8009775"/>
              <a:gd name="connsiteY345" fmla="*/ 733108 h 6858001"/>
              <a:gd name="connsiteX346" fmla="*/ 3300855 w 8009775"/>
              <a:gd name="connsiteY346" fmla="*/ 725170 h 6858001"/>
              <a:gd name="connsiteX347" fmla="*/ 3297308 w 8009775"/>
              <a:gd name="connsiteY347" fmla="*/ 716915 h 6858001"/>
              <a:gd name="connsiteX348" fmla="*/ 3293761 w 8009775"/>
              <a:gd name="connsiteY348" fmla="*/ 708660 h 6858001"/>
              <a:gd name="connsiteX349" fmla="*/ 3291101 w 8009775"/>
              <a:gd name="connsiteY349" fmla="*/ 699770 h 6858001"/>
              <a:gd name="connsiteX350" fmla="*/ 3289328 w 8009775"/>
              <a:gd name="connsiteY350" fmla="*/ 691198 h 6858001"/>
              <a:gd name="connsiteX351" fmla="*/ 2596527 w 8009775"/>
              <a:gd name="connsiteY351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507651 w 8009775"/>
              <a:gd name="connsiteY73" fmla="*/ 6858001 h 6858001"/>
              <a:gd name="connsiteX74" fmla="*/ 8009775 w 8009775"/>
              <a:gd name="connsiteY74" fmla="*/ 6858000 h 6858001"/>
              <a:gd name="connsiteX75" fmla="*/ 3996316 w 8009775"/>
              <a:gd name="connsiteY75" fmla="*/ 2818448 h 6858001"/>
              <a:gd name="connsiteX76" fmla="*/ 3980947 w 8009775"/>
              <a:gd name="connsiteY76" fmla="*/ 2804795 h 6858001"/>
              <a:gd name="connsiteX77" fmla="*/ 3965282 w 8009775"/>
              <a:gd name="connsiteY77" fmla="*/ 2791144 h 6858001"/>
              <a:gd name="connsiteX78" fmla="*/ 3950799 w 8009775"/>
              <a:gd name="connsiteY78" fmla="*/ 2776856 h 6858001"/>
              <a:gd name="connsiteX79" fmla="*/ 3936021 w 8009775"/>
              <a:gd name="connsiteY79" fmla="*/ 2762568 h 6858001"/>
              <a:gd name="connsiteX80" fmla="*/ 3001744 w 8009775"/>
              <a:gd name="connsiteY80" fmla="*/ 1828166 h 6858001"/>
              <a:gd name="connsiteX81" fmla="*/ 2997311 w 8009775"/>
              <a:gd name="connsiteY81" fmla="*/ 1823404 h 6858001"/>
              <a:gd name="connsiteX82" fmla="*/ 2992878 w 8009775"/>
              <a:gd name="connsiteY82" fmla="*/ 1818640 h 6858001"/>
              <a:gd name="connsiteX83" fmla="*/ 2989331 w 8009775"/>
              <a:gd name="connsiteY83" fmla="*/ 1814195 h 6858001"/>
              <a:gd name="connsiteX84" fmla="*/ 2985784 w 8009775"/>
              <a:gd name="connsiteY84" fmla="*/ 1808799 h 6858001"/>
              <a:gd name="connsiteX85" fmla="*/ 2982533 w 8009775"/>
              <a:gd name="connsiteY85" fmla="*/ 1803718 h 6858001"/>
              <a:gd name="connsiteX86" fmla="*/ 2979873 w 8009775"/>
              <a:gd name="connsiteY86" fmla="*/ 1798321 h 6858001"/>
              <a:gd name="connsiteX87" fmla="*/ 2976917 w 8009775"/>
              <a:gd name="connsiteY87" fmla="*/ 1792924 h 6858001"/>
              <a:gd name="connsiteX88" fmla="*/ 2974552 w 8009775"/>
              <a:gd name="connsiteY88" fmla="*/ 1787526 h 6858001"/>
              <a:gd name="connsiteX89" fmla="*/ 2972484 w 8009775"/>
              <a:gd name="connsiteY89" fmla="*/ 1781811 h 6858001"/>
              <a:gd name="connsiteX90" fmla="*/ 2970710 w 8009775"/>
              <a:gd name="connsiteY90" fmla="*/ 1776095 h 6858001"/>
              <a:gd name="connsiteX91" fmla="*/ 2968937 w 8009775"/>
              <a:gd name="connsiteY91" fmla="*/ 1770380 h 6858001"/>
              <a:gd name="connsiteX92" fmla="*/ 2967755 w 8009775"/>
              <a:gd name="connsiteY92" fmla="*/ 1764665 h 6858001"/>
              <a:gd name="connsiteX93" fmla="*/ 2966868 w 8009775"/>
              <a:gd name="connsiteY93" fmla="*/ 1758634 h 6858001"/>
              <a:gd name="connsiteX94" fmla="*/ 2965981 w 8009775"/>
              <a:gd name="connsiteY94" fmla="*/ 1752919 h 6858001"/>
              <a:gd name="connsiteX95" fmla="*/ 2965686 w 8009775"/>
              <a:gd name="connsiteY95" fmla="*/ 1746885 h 6858001"/>
              <a:gd name="connsiteX96" fmla="*/ 2965686 w 8009775"/>
              <a:gd name="connsiteY96" fmla="*/ 1741170 h 6858001"/>
              <a:gd name="connsiteX97" fmla="*/ 2965686 w 8009775"/>
              <a:gd name="connsiteY97" fmla="*/ 1735139 h 6858001"/>
              <a:gd name="connsiteX98" fmla="*/ 2965981 w 8009775"/>
              <a:gd name="connsiteY98" fmla="*/ 1729424 h 6858001"/>
              <a:gd name="connsiteX99" fmla="*/ 2966868 w 8009775"/>
              <a:gd name="connsiteY99" fmla="*/ 1723074 h 6858001"/>
              <a:gd name="connsiteX100" fmla="*/ 2967755 w 8009775"/>
              <a:gd name="connsiteY100" fmla="*/ 1717358 h 6858001"/>
              <a:gd name="connsiteX101" fmla="*/ 2968937 w 8009775"/>
              <a:gd name="connsiteY101" fmla="*/ 1711643 h 6858001"/>
              <a:gd name="connsiteX102" fmla="*/ 2970710 w 8009775"/>
              <a:gd name="connsiteY102" fmla="*/ 1705929 h 6858001"/>
              <a:gd name="connsiteX103" fmla="*/ 2972484 w 8009775"/>
              <a:gd name="connsiteY103" fmla="*/ 1700214 h 6858001"/>
              <a:gd name="connsiteX104" fmla="*/ 2974552 w 8009775"/>
              <a:gd name="connsiteY104" fmla="*/ 1694816 h 6858001"/>
              <a:gd name="connsiteX105" fmla="*/ 2976917 w 8009775"/>
              <a:gd name="connsiteY105" fmla="*/ 1689101 h 6858001"/>
              <a:gd name="connsiteX106" fmla="*/ 2979873 w 8009775"/>
              <a:gd name="connsiteY106" fmla="*/ 1683703 h 6858001"/>
              <a:gd name="connsiteX107" fmla="*/ 2982533 w 8009775"/>
              <a:gd name="connsiteY107" fmla="*/ 1678305 h 6858001"/>
              <a:gd name="connsiteX108" fmla="*/ 2985784 w 8009775"/>
              <a:gd name="connsiteY108" fmla="*/ 1673226 h 6858001"/>
              <a:gd name="connsiteX109" fmla="*/ 2989331 w 8009775"/>
              <a:gd name="connsiteY109" fmla="*/ 1668145 h 6858001"/>
              <a:gd name="connsiteX110" fmla="*/ 2992878 w 8009775"/>
              <a:gd name="connsiteY110" fmla="*/ 1663066 h 6858001"/>
              <a:gd name="connsiteX111" fmla="*/ 2997311 w 8009775"/>
              <a:gd name="connsiteY111" fmla="*/ 1658621 h 6858001"/>
              <a:gd name="connsiteX112" fmla="*/ 3001744 w 8009775"/>
              <a:gd name="connsiteY112" fmla="*/ 1653859 h 6858001"/>
              <a:gd name="connsiteX113" fmla="*/ 3006178 w 8009775"/>
              <a:gd name="connsiteY113" fmla="*/ 1649414 h 6858001"/>
              <a:gd name="connsiteX114" fmla="*/ 3010907 w 8009775"/>
              <a:gd name="connsiteY114" fmla="*/ 1645603 h 6858001"/>
              <a:gd name="connsiteX115" fmla="*/ 3015932 w 8009775"/>
              <a:gd name="connsiteY115" fmla="*/ 1641794 h 6858001"/>
              <a:gd name="connsiteX116" fmla="*/ 3020956 w 8009775"/>
              <a:gd name="connsiteY116" fmla="*/ 1637984 h 6858001"/>
              <a:gd name="connsiteX117" fmla="*/ 3025981 w 8009775"/>
              <a:gd name="connsiteY117" fmla="*/ 1634809 h 6858001"/>
              <a:gd name="connsiteX118" fmla="*/ 3031596 w 8009775"/>
              <a:gd name="connsiteY118" fmla="*/ 1631950 h 6858001"/>
              <a:gd name="connsiteX119" fmla="*/ 3036916 w 8009775"/>
              <a:gd name="connsiteY119" fmla="*/ 1629094 h 6858001"/>
              <a:gd name="connsiteX120" fmla="*/ 3042532 w 8009775"/>
              <a:gd name="connsiteY120" fmla="*/ 1626871 h 6858001"/>
              <a:gd name="connsiteX121" fmla="*/ 3047852 w 8009775"/>
              <a:gd name="connsiteY121" fmla="*/ 1624649 h 6858001"/>
              <a:gd name="connsiteX122" fmla="*/ 3053764 w 8009775"/>
              <a:gd name="connsiteY122" fmla="*/ 1623061 h 6858001"/>
              <a:gd name="connsiteX123" fmla="*/ 3059379 w 8009775"/>
              <a:gd name="connsiteY123" fmla="*/ 1621155 h 6858001"/>
              <a:gd name="connsiteX124" fmla="*/ 3065291 w 8009775"/>
              <a:gd name="connsiteY124" fmla="*/ 1620204 h 6858001"/>
              <a:gd name="connsiteX125" fmla="*/ 3070906 w 8009775"/>
              <a:gd name="connsiteY125" fmla="*/ 1618934 h 6858001"/>
              <a:gd name="connsiteX126" fmla="*/ 3077113 w 8009775"/>
              <a:gd name="connsiteY126" fmla="*/ 1618299 h 6858001"/>
              <a:gd name="connsiteX127" fmla="*/ 3082729 w 8009775"/>
              <a:gd name="connsiteY127" fmla="*/ 1617981 h 6858001"/>
              <a:gd name="connsiteX128" fmla="*/ 3088936 w 8009775"/>
              <a:gd name="connsiteY128" fmla="*/ 1617981 h 6858001"/>
              <a:gd name="connsiteX129" fmla="*/ 3094552 w 8009775"/>
              <a:gd name="connsiteY129" fmla="*/ 1617981 h 6858001"/>
              <a:gd name="connsiteX130" fmla="*/ 3100758 w 8009775"/>
              <a:gd name="connsiteY130" fmla="*/ 1618299 h 6858001"/>
              <a:gd name="connsiteX131" fmla="*/ 3106670 w 8009775"/>
              <a:gd name="connsiteY131" fmla="*/ 1618934 h 6858001"/>
              <a:gd name="connsiteX132" fmla="*/ 3112285 w 8009775"/>
              <a:gd name="connsiteY132" fmla="*/ 1620204 h 6858001"/>
              <a:gd name="connsiteX133" fmla="*/ 3117901 w 8009775"/>
              <a:gd name="connsiteY133" fmla="*/ 1621155 h 6858001"/>
              <a:gd name="connsiteX134" fmla="*/ 3123812 w 8009775"/>
              <a:gd name="connsiteY134" fmla="*/ 1623061 h 6858001"/>
              <a:gd name="connsiteX135" fmla="*/ 3129428 w 8009775"/>
              <a:gd name="connsiteY135" fmla="*/ 1624649 h 6858001"/>
              <a:gd name="connsiteX136" fmla="*/ 3135339 w 8009775"/>
              <a:gd name="connsiteY136" fmla="*/ 1626871 h 6858001"/>
              <a:gd name="connsiteX137" fmla="*/ 3140660 w 8009775"/>
              <a:gd name="connsiteY137" fmla="*/ 1629094 h 6858001"/>
              <a:gd name="connsiteX138" fmla="*/ 3145980 w 8009775"/>
              <a:gd name="connsiteY138" fmla="*/ 1631950 h 6858001"/>
              <a:gd name="connsiteX139" fmla="*/ 3151300 w 8009775"/>
              <a:gd name="connsiteY139" fmla="*/ 1634809 h 6858001"/>
              <a:gd name="connsiteX140" fmla="*/ 3156324 w 8009775"/>
              <a:gd name="connsiteY140" fmla="*/ 1637984 h 6858001"/>
              <a:gd name="connsiteX141" fmla="*/ 3161349 w 8009775"/>
              <a:gd name="connsiteY141" fmla="*/ 1641794 h 6858001"/>
              <a:gd name="connsiteX142" fmla="*/ 3166374 w 8009775"/>
              <a:gd name="connsiteY142" fmla="*/ 1645603 h 6858001"/>
              <a:gd name="connsiteX143" fmla="*/ 3171102 w 8009775"/>
              <a:gd name="connsiteY143" fmla="*/ 1649414 h 6858001"/>
              <a:gd name="connsiteX144" fmla="*/ 3175832 w 8009775"/>
              <a:gd name="connsiteY144" fmla="*/ 1653859 h 6858001"/>
              <a:gd name="connsiteX145" fmla="*/ 3844692 w 8009775"/>
              <a:gd name="connsiteY145" fmla="*/ 2322830 h 6858001"/>
              <a:gd name="connsiteX146" fmla="*/ 3849421 w 8009775"/>
              <a:gd name="connsiteY146" fmla="*/ 2326958 h 6858001"/>
              <a:gd name="connsiteX147" fmla="*/ 3854150 w 8009775"/>
              <a:gd name="connsiteY147" fmla="*/ 2331085 h 6858001"/>
              <a:gd name="connsiteX148" fmla="*/ 3859175 w 8009775"/>
              <a:gd name="connsiteY148" fmla="*/ 2334895 h 6858001"/>
              <a:gd name="connsiteX149" fmla="*/ 3864199 w 8009775"/>
              <a:gd name="connsiteY149" fmla="*/ 2338705 h 6858001"/>
              <a:gd name="connsiteX150" fmla="*/ 3869224 w 8009775"/>
              <a:gd name="connsiteY150" fmla="*/ 2341880 h 6858001"/>
              <a:gd name="connsiteX151" fmla="*/ 3874544 w 8009775"/>
              <a:gd name="connsiteY151" fmla="*/ 2344738 h 6858001"/>
              <a:gd name="connsiteX152" fmla="*/ 3879864 w 8009775"/>
              <a:gd name="connsiteY152" fmla="*/ 2347595 h 6858001"/>
              <a:gd name="connsiteX153" fmla="*/ 3885775 w 8009775"/>
              <a:gd name="connsiteY153" fmla="*/ 2349818 h 6858001"/>
              <a:gd name="connsiteX154" fmla="*/ 3891096 w 8009775"/>
              <a:gd name="connsiteY154" fmla="*/ 2351723 h 6858001"/>
              <a:gd name="connsiteX155" fmla="*/ 3896711 w 8009775"/>
              <a:gd name="connsiteY155" fmla="*/ 2353628 h 6858001"/>
              <a:gd name="connsiteX156" fmla="*/ 3902623 w 8009775"/>
              <a:gd name="connsiteY156" fmla="*/ 2355534 h 6858001"/>
              <a:gd name="connsiteX157" fmla="*/ 3908238 w 8009775"/>
              <a:gd name="connsiteY157" fmla="*/ 2356485 h 6858001"/>
              <a:gd name="connsiteX158" fmla="*/ 3914150 w 8009775"/>
              <a:gd name="connsiteY158" fmla="*/ 2357755 h 6858001"/>
              <a:gd name="connsiteX159" fmla="*/ 3920061 w 8009775"/>
              <a:gd name="connsiteY159" fmla="*/ 2358391 h 6858001"/>
              <a:gd name="connsiteX160" fmla="*/ 3925972 w 8009775"/>
              <a:gd name="connsiteY160" fmla="*/ 2358708 h 6858001"/>
              <a:gd name="connsiteX161" fmla="*/ 3931883 w 8009775"/>
              <a:gd name="connsiteY161" fmla="*/ 2358708 h 6858001"/>
              <a:gd name="connsiteX162" fmla="*/ 3937795 w 8009775"/>
              <a:gd name="connsiteY162" fmla="*/ 2358708 h 6858001"/>
              <a:gd name="connsiteX163" fmla="*/ 3943706 w 8009775"/>
              <a:gd name="connsiteY163" fmla="*/ 2358391 h 6858001"/>
              <a:gd name="connsiteX164" fmla="*/ 3949617 w 8009775"/>
              <a:gd name="connsiteY164" fmla="*/ 2357755 h 6858001"/>
              <a:gd name="connsiteX165" fmla="*/ 3955233 w 8009775"/>
              <a:gd name="connsiteY165" fmla="*/ 2356485 h 6858001"/>
              <a:gd name="connsiteX166" fmla="*/ 3961144 w 8009775"/>
              <a:gd name="connsiteY166" fmla="*/ 2355534 h 6858001"/>
              <a:gd name="connsiteX167" fmla="*/ 3966760 w 8009775"/>
              <a:gd name="connsiteY167" fmla="*/ 2353628 h 6858001"/>
              <a:gd name="connsiteX168" fmla="*/ 3972671 w 8009775"/>
              <a:gd name="connsiteY168" fmla="*/ 2351723 h 6858001"/>
              <a:gd name="connsiteX169" fmla="*/ 3978287 w 8009775"/>
              <a:gd name="connsiteY169" fmla="*/ 2349818 h 6858001"/>
              <a:gd name="connsiteX170" fmla="*/ 3983607 w 8009775"/>
              <a:gd name="connsiteY170" fmla="*/ 2347595 h 6858001"/>
              <a:gd name="connsiteX171" fmla="*/ 3989223 w 8009775"/>
              <a:gd name="connsiteY171" fmla="*/ 2344738 h 6858001"/>
              <a:gd name="connsiteX172" fmla="*/ 3994543 w 8009775"/>
              <a:gd name="connsiteY172" fmla="*/ 2341880 h 6858001"/>
              <a:gd name="connsiteX173" fmla="*/ 3999567 w 8009775"/>
              <a:gd name="connsiteY173" fmla="*/ 2338705 h 6858001"/>
              <a:gd name="connsiteX174" fmla="*/ 4004888 w 8009775"/>
              <a:gd name="connsiteY174" fmla="*/ 2334895 h 6858001"/>
              <a:gd name="connsiteX175" fmla="*/ 4009617 w 8009775"/>
              <a:gd name="connsiteY175" fmla="*/ 2331085 h 6858001"/>
              <a:gd name="connsiteX176" fmla="*/ 4014346 w 8009775"/>
              <a:gd name="connsiteY176" fmla="*/ 2326958 h 6858001"/>
              <a:gd name="connsiteX177" fmla="*/ 4018779 w 8009775"/>
              <a:gd name="connsiteY177" fmla="*/ 2322830 h 6858001"/>
              <a:gd name="connsiteX178" fmla="*/ 4023213 w 8009775"/>
              <a:gd name="connsiteY178" fmla="*/ 2318068 h 6858001"/>
              <a:gd name="connsiteX179" fmla="*/ 4027646 w 8009775"/>
              <a:gd name="connsiteY179" fmla="*/ 2313306 h 6858001"/>
              <a:gd name="connsiteX180" fmla="*/ 4031193 w 8009775"/>
              <a:gd name="connsiteY180" fmla="*/ 2308544 h 6858001"/>
              <a:gd name="connsiteX181" fmla="*/ 4034740 w 8009775"/>
              <a:gd name="connsiteY181" fmla="*/ 2303463 h 6858001"/>
              <a:gd name="connsiteX182" fmla="*/ 4037991 w 8009775"/>
              <a:gd name="connsiteY182" fmla="*/ 2298384 h 6858001"/>
              <a:gd name="connsiteX183" fmla="*/ 4040946 w 8009775"/>
              <a:gd name="connsiteY183" fmla="*/ 2292985 h 6858001"/>
              <a:gd name="connsiteX184" fmla="*/ 4043606 w 8009775"/>
              <a:gd name="connsiteY184" fmla="*/ 2287588 h 6858001"/>
              <a:gd name="connsiteX185" fmla="*/ 4046267 w 8009775"/>
              <a:gd name="connsiteY185" fmla="*/ 2281873 h 6858001"/>
              <a:gd name="connsiteX186" fmla="*/ 4048040 w 8009775"/>
              <a:gd name="connsiteY186" fmla="*/ 2276476 h 6858001"/>
              <a:gd name="connsiteX187" fmla="*/ 4050109 w 8009775"/>
              <a:gd name="connsiteY187" fmla="*/ 2270761 h 6858001"/>
              <a:gd name="connsiteX188" fmla="*/ 4051587 w 8009775"/>
              <a:gd name="connsiteY188" fmla="*/ 2265046 h 6858001"/>
              <a:gd name="connsiteX189" fmla="*/ 4052769 w 8009775"/>
              <a:gd name="connsiteY189" fmla="*/ 2259331 h 6858001"/>
              <a:gd name="connsiteX190" fmla="*/ 4053656 w 8009775"/>
              <a:gd name="connsiteY190" fmla="*/ 2253298 h 6858001"/>
              <a:gd name="connsiteX191" fmla="*/ 4054542 w 8009775"/>
              <a:gd name="connsiteY191" fmla="*/ 2247266 h 6858001"/>
              <a:gd name="connsiteX192" fmla="*/ 4054838 w 8009775"/>
              <a:gd name="connsiteY192" fmla="*/ 2241551 h 6858001"/>
              <a:gd name="connsiteX193" fmla="*/ 4055133 w 8009775"/>
              <a:gd name="connsiteY193" fmla="*/ 2235519 h 6858001"/>
              <a:gd name="connsiteX194" fmla="*/ 4054838 w 8009775"/>
              <a:gd name="connsiteY194" fmla="*/ 2229804 h 6858001"/>
              <a:gd name="connsiteX195" fmla="*/ 4054542 w 8009775"/>
              <a:gd name="connsiteY195" fmla="*/ 2223770 h 6858001"/>
              <a:gd name="connsiteX196" fmla="*/ 4053656 w 8009775"/>
              <a:gd name="connsiteY196" fmla="*/ 2217739 h 6858001"/>
              <a:gd name="connsiteX197" fmla="*/ 4052769 w 8009775"/>
              <a:gd name="connsiteY197" fmla="*/ 2212024 h 6858001"/>
              <a:gd name="connsiteX198" fmla="*/ 4051587 w 8009775"/>
              <a:gd name="connsiteY198" fmla="*/ 2206309 h 6858001"/>
              <a:gd name="connsiteX199" fmla="*/ 4050109 w 8009775"/>
              <a:gd name="connsiteY199" fmla="*/ 2200593 h 6858001"/>
              <a:gd name="connsiteX200" fmla="*/ 4048040 w 8009775"/>
              <a:gd name="connsiteY200" fmla="*/ 2194878 h 6858001"/>
              <a:gd name="connsiteX201" fmla="*/ 4046267 w 8009775"/>
              <a:gd name="connsiteY201" fmla="*/ 2189163 h 6858001"/>
              <a:gd name="connsiteX202" fmla="*/ 4043606 w 8009775"/>
              <a:gd name="connsiteY202" fmla="*/ 2183765 h 6858001"/>
              <a:gd name="connsiteX203" fmla="*/ 4040946 w 8009775"/>
              <a:gd name="connsiteY203" fmla="*/ 2178368 h 6858001"/>
              <a:gd name="connsiteX204" fmla="*/ 4037991 w 8009775"/>
              <a:gd name="connsiteY204" fmla="*/ 2172970 h 6858001"/>
              <a:gd name="connsiteX205" fmla="*/ 4034740 w 8009775"/>
              <a:gd name="connsiteY205" fmla="*/ 2167890 h 6858001"/>
              <a:gd name="connsiteX206" fmla="*/ 4031193 w 8009775"/>
              <a:gd name="connsiteY206" fmla="*/ 2162494 h 6858001"/>
              <a:gd name="connsiteX207" fmla="*/ 4027646 w 8009775"/>
              <a:gd name="connsiteY207" fmla="*/ 2157730 h 6858001"/>
              <a:gd name="connsiteX208" fmla="*/ 4023213 w 8009775"/>
              <a:gd name="connsiteY208" fmla="*/ 2153285 h 6858001"/>
              <a:gd name="connsiteX209" fmla="*/ 4018779 w 8009775"/>
              <a:gd name="connsiteY209" fmla="*/ 2148523 h 6858001"/>
              <a:gd name="connsiteX210" fmla="*/ 3632182 w 8009775"/>
              <a:gd name="connsiteY210" fmla="*/ 1761490 h 6858001"/>
              <a:gd name="connsiteX211" fmla="*/ 3435928 w 8009775"/>
              <a:gd name="connsiteY211" fmla="*/ 1565276 h 6858001"/>
              <a:gd name="connsiteX212" fmla="*/ 3431198 w 8009775"/>
              <a:gd name="connsiteY212" fmla="*/ 1560514 h 6858001"/>
              <a:gd name="connsiteX213" fmla="*/ 3427356 w 8009775"/>
              <a:gd name="connsiteY213" fmla="*/ 1555751 h 6858001"/>
              <a:gd name="connsiteX214" fmla="*/ 3423218 w 8009775"/>
              <a:gd name="connsiteY214" fmla="*/ 1550671 h 6858001"/>
              <a:gd name="connsiteX215" fmla="*/ 3420262 w 8009775"/>
              <a:gd name="connsiteY215" fmla="*/ 1545909 h 6858001"/>
              <a:gd name="connsiteX216" fmla="*/ 3417012 w 8009775"/>
              <a:gd name="connsiteY216" fmla="*/ 1540829 h 6858001"/>
              <a:gd name="connsiteX217" fmla="*/ 3413760 w 8009775"/>
              <a:gd name="connsiteY217" fmla="*/ 1535430 h 6858001"/>
              <a:gd name="connsiteX218" fmla="*/ 3411100 w 8009775"/>
              <a:gd name="connsiteY218" fmla="*/ 1530034 h 6858001"/>
              <a:gd name="connsiteX219" fmla="*/ 3408736 w 8009775"/>
              <a:gd name="connsiteY219" fmla="*/ 1524635 h 6858001"/>
              <a:gd name="connsiteX220" fmla="*/ 3406371 w 8009775"/>
              <a:gd name="connsiteY220" fmla="*/ 1518920 h 6858001"/>
              <a:gd name="connsiteX221" fmla="*/ 3404598 w 8009775"/>
              <a:gd name="connsiteY221" fmla="*/ 1513205 h 6858001"/>
              <a:gd name="connsiteX222" fmla="*/ 3403120 w 8009775"/>
              <a:gd name="connsiteY222" fmla="*/ 1507174 h 6858001"/>
              <a:gd name="connsiteX223" fmla="*/ 3401938 w 8009775"/>
              <a:gd name="connsiteY223" fmla="*/ 1501459 h 6858001"/>
              <a:gd name="connsiteX224" fmla="*/ 3401051 w 8009775"/>
              <a:gd name="connsiteY224" fmla="*/ 1495744 h 6858001"/>
              <a:gd name="connsiteX225" fmla="*/ 3400460 w 8009775"/>
              <a:gd name="connsiteY225" fmla="*/ 1489710 h 6858001"/>
              <a:gd name="connsiteX226" fmla="*/ 3399869 w 8009775"/>
              <a:gd name="connsiteY226" fmla="*/ 1483995 h 6858001"/>
              <a:gd name="connsiteX227" fmla="*/ 3399573 w 8009775"/>
              <a:gd name="connsiteY227" fmla="*/ 1478281 h 6858001"/>
              <a:gd name="connsiteX228" fmla="*/ 3399869 w 8009775"/>
              <a:gd name="connsiteY228" fmla="*/ 1472249 h 6858001"/>
              <a:gd name="connsiteX229" fmla="*/ 3400460 w 8009775"/>
              <a:gd name="connsiteY229" fmla="*/ 1466215 h 6858001"/>
              <a:gd name="connsiteX230" fmla="*/ 3401051 w 8009775"/>
              <a:gd name="connsiteY230" fmla="*/ 1460183 h 6858001"/>
              <a:gd name="connsiteX231" fmla="*/ 3401938 w 8009775"/>
              <a:gd name="connsiteY231" fmla="*/ 1454468 h 6858001"/>
              <a:gd name="connsiteX232" fmla="*/ 3403120 w 8009775"/>
              <a:gd name="connsiteY232" fmla="*/ 1448754 h 6858001"/>
              <a:gd name="connsiteX233" fmla="*/ 3404598 w 8009775"/>
              <a:gd name="connsiteY233" fmla="*/ 1443039 h 6858001"/>
              <a:gd name="connsiteX234" fmla="*/ 3406371 w 8009775"/>
              <a:gd name="connsiteY234" fmla="*/ 1437324 h 6858001"/>
              <a:gd name="connsiteX235" fmla="*/ 3408736 w 8009775"/>
              <a:gd name="connsiteY235" fmla="*/ 1431609 h 6858001"/>
              <a:gd name="connsiteX236" fmla="*/ 3411100 w 8009775"/>
              <a:gd name="connsiteY236" fmla="*/ 1426211 h 6858001"/>
              <a:gd name="connsiteX237" fmla="*/ 3413760 w 8009775"/>
              <a:gd name="connsiteY237" fmla="*/ 1420814 h 6858001"/>
              <a:gd name="connsiteX238" fmla="*/ 3417012 w 8009775"/>
              <a:gd name="connsiteY238" fmla="*/ 1415416 h 6858001"/>
              <a:gd name="connsiteX239" fmla="*/ 3420262 w 8009775"/>
              <a:gd name="connsiteY239" fmla="*/ 1410336 h 6858001"/>
              <a:gd name="connsiteX240" fmla="*/ 3423218 w 8009775"/>
              <a:gd name="connsiteY240" fmla="*/ 1405256 h 6858001"/>
              <a:gd name="connsiteX241" fmla="*/ 3427356 w 8009775"/>
              <a:gd name="connsiteY241" fmla="*/ 1400175 h 6858001"/>
              <a:gd name="connsiteX242" fmla="*/ 3431198 w 8009775"/>
              <a:gd name="connsiteY242" fmla="*/ 1395731 h 6858001"/>
              <a:gd name="connsiteX243" fmla="*/ 3435928 w 8009775"/>
              <a:gd name="connsiteY243" fmla="*/ 1390969 h 6858001"/>
              <a:gd name="connsiteX244" fmla="*/ 3440361 w 8009775"/>
              <a:gd name="connsiteY244" fmla="*/ 1386524 h 6858001"/>
              <a:gd name="connsiteX245" fmla="*/ 3445386 w 8009775"/>
              <a:gd name="connsiteY245" fmla="*/ 1382396 h 6858001"/>
              <a:gd name="connsiteX246" fmla="*/ 3449819 w 8009775"/>
              <a:gd name="connsiteY246" fmla="*/ 1378585 h 6858001"/>
              <a:gd name="connsiteX247" fmla="*/ 3454844 w 8009775"/>
              <a:gd name="connsiteY247" fmla="*/ 1375094 h 6858001"/>
              <a:gd name="connsiteX248" fmla="*/ 3460459 w 8009775"/>
              <a:gd name="connsiteY248" fmla="*/ 1371919 h 6858001"/>
              <a:gd name="connsiteX249" fmla="*/ 3465780 w 8009775"/>
              <a:gd name="connsiteY249" fmla="*/ 1369061 h 6858001"/>
              <a:gd name="connsiteX250" fmla="*/ 3471100 w 8009775"/>
              <a:gd name="connsiteY250" fmla="*/ 1366204 h 6858001"/>
              <a:gd name="connsiteX251" fmla="*/ 3476420 w 8009775"/>
              <a:gd name="connsiteY251" fmla="*/ 1363980 h 6858001"/>
              <a:gd name="connsiteX252" fmla="*/ 3482331 w 8009775"/>
              <a:gd name="connsiteY252" fmla="*/ 1361759 h 6858001"/>
              <a:gd name="connsiteX253" fmla="*/ 3487947 w 8009775"/>
              <a:gd name="connsiteY253" fmla="*/ 1360170 h 6858001"/>
              <a:gd name="connsiteX254" fmla="*/ 3493858 w 8009775"/>
              <a:gd name="connsiteY254" fmla="*/ 1358265 h 6858001"/>
              <a:gd name="connsiteX255" fmla="*/ 3499474 w 8009775"/>
              <a:gd name="connsiteY255" fmla="*/ 1357314 h 6858001"/>
              <a:gd name="connsiteX256" fmla="*/ 3505385 w 8009775"/>
              <a:gd name="connsiteY256" fmla="*/ 1356043 h 6858001"/>
              <a:gd name="connsiteX257" fmla="*/ 3511001 w 8009775"/>
              <a:gd name="connsiteY257" fmla="*/ 1355409 h 6858001"/>
              <a:gd name="connsiteX258" fmla="*/ 3517208 w 8009775"/>
              <a:gd name="connsiteY258" fmla="*/ 1355090 h 6858001"/>
              <a:gd name="connsiteX259" fmla="*/ 3522823 w 8009775"/>
              <a:gd name="connsiteY259" fmla="*/ 1354773 h 6858001"/>
              <a:gd name="connsiteX260" fmla="*/ 3529030 w 8009775"/>
              <a:gd name="connsiteY260" fmla="*/ 1355090 h 6858001"/>
              <a:gd name="connsiteX261" fmla="*/ 3534646 w 8009775"/>
              <a:gd name="connsiteY261" fmla="*/ 1355409 h 6858001"/>
              <a:gd name="connsiteX262" fmla="*/ 3540557 w 8009775"/>
              <a:gd name="connsiteY262" fmla="*/ 1356043 h 6858001"/>
              <a:gd name="connsiteX263" fmla="*/ 3546468 w 8009775"/>
              <a:gd name="connsiteY263" fmla="*/ 1357314 h 6858001"/>
              <a:gd name="connsiteX264" fmla="*/ 3552380 w 8009775"/>
              <a:gd name="connsiteY264" fmla="*/ 1358265 h 6858001"/>
              <a:gd name="connsiteX265" fmla="*/ 3557995 w 8009775"/>
              <a:gd name="connsiteY265" fmla="*/ 1360170 h 6858001"/>
              <a:gd name="connsiteX266" fmla="*/ 3563906 w 8009775"/>
              <a:gd name="connsiteY266" fmla="*/ 1361759 h 6858001"/>
              <a:gd name="connsiteX267" fmla="*/ 3569227 w 8009775"/>
              <a:gd name="connsiteY267" fmla="*/ 1363980 h 6858001"/>
              <a:gd name="connsiteX268" fmla="*/ 3574842 w 8009775"/>
              <a:gd name="connsiteY268" fmla="*/ 1366204 h 6858001"/>
              <a:gd name="connsiteX269" fmla="*/ 3580458 w 8009775"/>
              <a:gd name="connsiteY269" fmla="*/ 1369061 h 6858001"/>
              <a:gd name="connsiteX270" fmla="*/ 3585778 w 8009775"/>
              <a:gd name="connsiteY270" fmla="*/ 1371919 h 6858001"/>
              <a:gd name="connsiteX271" fmla="*/ 3590803 w 8009775"/>
              <a:gd name="connsiteY271" fmla="*/ 1375094 h 6858001"/>
              <a:gd name="connsiteX272" fmla="*/ 3595828 w 8009775"/>
              <a:gd name="connsiteY272" fmla="*/ 1378585 h 6858001"/>
              <a:gd name="connsiteX273" fmla="*/ 3600852 w 8009775"/>
              <a:gd name="connsiteY273" fmla="*/ 1382396 h 6858001"/>
              <a:gd name="connsiteX274" fmla="*/ 3605581 w 8009775"/>
              <a:gd name="connsiteY274" fmla="*/ 1386524 h 6858001"/>
              <a:gd name="connsiteX275" fmla="*/ 3610014 w 8009775"/>
              <a:gd name="connsiteY275" fmla="*/ 1390969 h 6858001"/>
              <a:gd name="connsiteX276" fmla="*/ 3817500 w 8009775"/>
              <a:gd name="connsiteY276" fmla="*/ 1598296 h 6858001"/>
              <a:gd name="connsiteX277" fmla="*/ 3821934 w 8009775"/>
              <a:gd name="connsiteY277" fmla="*/ 1602423 h 6858001"/>
              <a:gd name="connsiteX278" fmla="*/ 3826663 w 8009775"/>
              <a:gd name="connsiteY278" fmla="*/ 1606869 h 6858001"/>
              <a:gd name="connsiteX279" fmla="*/ 3831687 w 8009775"/>
              <a:gd name="connsiteY279" fmla="*/ 1610361 h 6858001"/>
              <a:gd name="connsiteX280" fmla="*/ 3836712 w 8009775"/>
              <a:gd name="connsiteY280" fmla="*/ 1613854 h 6858001"/>
              <a:gd name="connsiteX281" fmla="*/ 3841736 w 8009775"/>
              <a:gd name="connsiteY281" fmla="*/ 1617345 h 6858001"/>
              <a:gd name="connsiteX282" fmla="*/ 3847352 w 8009775"/>
              <a:gd name="connsiteY282" fmla="*/ 1620204 h 6858001"/>
              <a:gd name="connsiteX283" fmla="*/ 3852672 w 8009775"/>
              <a:gd name="connsiteY283" fmla="*/ 1623061 h 6858001"/>
              <a:gd name="connsiteX284" fmla="*/ 3857992 w 8009775"/>
              <a:gd name="connsiteY284" fmla="*/ 1625283 h 6858001"/>
              <a:gd name="connsiteX285" fmla="*/ 3863608 w 8009775"/>
              <a:gd name="connsiteY285" fmla="*/ 1627189 h 6858001"/>
              <a:gd name="connsiteX286" fmla="*/ 3869519 w 8009775"/>
              <a:gd name="connsiteY286" fmla="*/ 1629094 h 6858001"/>
              <a:gd name="connsiteX287" fmla="*/ 3875135 w 8009775"/>
              <a:gd name="connsiteY287" fmla="*/ 1630998 h 6858001"/>
              <a:gd name="connsiteX288" fmla="*/ 3881046 w 8009775"/>
              <a:gd name="connsiteY288" fmla="*/ 1631950 h 6858001"/>
              <a:gd name="connsiteX289" fmla="*/ 3886662 w 8009775"/>
              <a:gd name="connsiteY289" fmla="*/ 1632904 h 6858001"/>
              <a:gd name="connsiteX290" fmla="*/ 3892869 w 8009775"/>
              <a:gd name="connsiteY290" fmla="*/ 1633856 h 6858001"/>
              <a:gd name="connsiteX291" fmla="*/ 3898485 w 8009775"/>
              <a:gd name="connsiteY291" fmla="*/ 1634174 h 6858001"/>
              <a:gd name="connsiteX292" fmla="*/ 3904396 w 8009775"/>
              <a:gd name="connsiteY292" fmla="*/ 1634174 h 6858001"/>
              <a:gd name="connsiteX293" fmla="*/ 3910307 w 8009775"/>
              <a:gd name="connsiteY293" fmla="*/ 1634174 h 6858001"/>
              <a:gd name="connsiteX294" fmla="*/ 3916219 w 8009775"/>
              <a:gd name="connsiteY294" fmla="*/ 1633856 h 6858001"/>
              <a:gd name="connsiteX295" fmla="*/ 3922425 w 8009775"/>
              <a:gd name="connsiteY295" fmla="*/ 1632904 h 6858001"/>
              <a:gd name="connsiteX296" fmla="*/ 3928041 w 8009775"/>
              <a:gd name="connsiteY296" fmla="*/ 1631950 h 6858001"/>
              <a:gd name="connsiteX297" fmla="*/ 3933657 w 8009775"/>
              <a:gd name="connsiteY297" fmla="*/ 1630998 h 6858001"/>
              <a:gd name="connsiteX298" fmla="*/ 3939568 w 8009775"/>
              <a:gd name="connsiteY298" fmla="*/ 1629094 h 6858001"/>
              <a:gd name="connsiteX299" fmla="*/ 3945184 w 8009775"/>
              <a:gd name="connsiteY299" fmla="*/ 1627189 h 6858001"/>
              <a:gd name="connsiteX300" fmla="*/ 3950799 w 8009775"/>
              <a:gd name="connsiteY300" fmla="*/ 1625283 h 6858001"/>
              <a:gd name="connsiteX301" fmla="*/ 3956415 w 8009775"/>
              <a:gd name="connsiteY301" fmla="*/ 1623061 h 6858001"/>
              <a:gd name="connsiteX302" fmla="*/ 3961735 w 8009775"/>
              <a:gd name="connsiteY302" fmla="*/ 1620204 h 6858001"/>
              <a:gd name="connsiteX303" fmla="*/ 3967055 w 8009775"/>
              <a:gd name="connsiteY303" fmla="*/ 1617345 h 6858001"/>
              <a:gd name="connsiteX304" fmla="*/ 3972376 w 8009775"/>
              <a:gd name="connsiteY304" fmla="*/ 1613854 h 6858001"/>
              <a:gd name="connsiteX305" fmla="*/ 3977400 w 8009775"/>
              <a:gd name="connsiteY305" fmla="*/ 1610361 h 6858001"/>
              <a:gd name="connsiteX306" fmla="*/ 3982425 w 8009775"/>
              <a:gd name="connsiteY306" fmla="*/ 1606869 h 6858001"/>
              <a:gd name="connsiteX307" fmla="*/ 3986858 w 8009775"/>
              <a:gd name="connsiteY307" fmla="*/ 1602423 h 6858001"/>
              <a:gd name="connsiteX308" fmla="*/ 3991587 w 8009775"/>
              <a:gd name="connsiteY308" fmla="*/ 1598296 h 6858001"/>
              <a:gd name="connsiteX309" fmla="*/ 3996021 w 8009775"/>
              <a:gd name="connsiteY309" fmla="*/ 1593533 h 6858001"/>
              <a:gd name="connsiteX310" fmla="*/ 4000159 w 8009775"/>
              <a:gd name="connsiteY310" fmla="*/ 1588771 h 6858001"/>
              <a:gd name="connsiteX311" fmla="*/ 4003705 w 8009775"/>
              <a:gd name="connsiteY311" fmla="*/ 1583691 h 6858001"/>
              <a:gd name="connsiteX312" fmla="*/ 4007548 w 8009775"/>
              <a:gd name="connsiteY312" fmla="*/ 1578928 h 6858001"/>
              <a:gd name="connsiteX313" fmla="*/ 4010799 w 8009775"/>
              <a:gd name="connsiteY313" fmla="*/ 1573849 h 6858001"/>
              <a:gd name="connsiteX314" fmla="*/ 4013459 w 8009775"/>
              <a:gd name="connsiteY314" fmla="*/ 1568451 h 6858001"/>
              <a:gd name="connsiteX315" fmla="*/ 4016415 w 8009775"/>
              <a:gd name="connsiteY315" fmla="*/ 1563054 h 6858001"/>
              <a:gd name="connsiteX316" fmla="*/ 4018484 w 8009775"/>
              <a:gd name="connsiteY316" fmla="*/ 1557339 h 6858001"/>
              <a:gd name="connsiteX317" fmla="*/ 4020848 w 8009775"/>
              <a:gd name="connsiteY317" fmla="*/ 1551941 h 6858001"/>
              <a:gd name="connsiteX318" fmla="*/ 4022621 w 8009775"/>
              <a:gd name="connsiteY318" fmla="*/ 1546226 h 6858001"/>
              <a:gd name="connsiteX319" fmla="*/ 4024395 w 8009775"/>
              <a:gd name="connsiteY319" fmla="*/ 1540511 h 6858001"/>
              <a:gd name="connsiteX320" fmla="*/ 4025282 w 8009775"/>
              <a:gd name="connsiteY320" fmla="*/ 1534478 h 6858001"/>
              <a:gd name="connsiteX321" fmla="*/ 4026464 w 8009775"/>
              <a:gd name="connsiteY321" fmla="*/ 1528763 h 6858001"/>
              <a:gd name="connsiteX322" fmla="*/ 4027055 w 8009775"/>
              <a:gd name="connsiteY322" fmla="*/ 1522731 h 6858001"/>
              <a:gd name="connsiteX323" fmla="*/ 4027646 w 8009775"/>
              <a:gd name="connsiteY323" fmla="*/ 1517016 h 6858001"/>
              <a:gd name="connsiteX324" fmla="*/ 4027646 w 8009775"/>
              <a:gd name="connsiteY324" fmla="*/ 1510984 h 6858001"/>
              <a:gd name="connsiteX325" fmla="*/ 4027646 w 8009775"/>
              <a:gd name="connsiteY325" fmla="*/ 1505268 h 6858001"/>
              <a:gd name="connsiteX326" fmla="*/ 4027055 w 8009775"/>
              <a:gd name="connsiteY326" fmla="*/ 1499553 h 6858001"/>
              <a:gd name="connsiteX327" fmla="*/ 4026464 w 8009775"/>
              <a:gd name="connsiteY327" fmla="*/ 1493204 h 6858001"/>
              <a:gd name="connsiteX328" fmla="*/ 4025282 w 8009775"/>
              <a:gd name="connsiteY328" fmla="*/ 1487489 h 6858001"/>
              <a:gd name="connsiteX329" fmla="*/ 4024395 w 8009775"/>
              <a:gd name="connsiteY329" fmla="*/ 1481773 h 6858001"/>
              <a:gd name="connsiteX330" fmla="*/ 4022621 w 8009775"/>
              <a:gd name="connsiteY330" fmla="*/ 1476058 h 6858001"/>
              <a:gd name="connsiteX331" fmla="*/ 4020848 w 8009775"/>
              <a:gd name="connsiteY331" fmla="*/ 1470343 h 6858001"/>
              <a:gd name="connsiteX332" fmla="*/ 4018484 w 8009775"/>
              <a:gd name="connsiteY332" fmla="*/ 1464629 h 6858001"/>
              <a:gd name="connsiteX333" fmla="*/ 4016415 w 8009775"/>
              <a:gd name="connsiteY333" fmla="*/ 1459231 h 6858001"/>
              <a:gd name="connsiteX334" fmla="*/ 4013459 w 8009775"/>
              <a:gd name="connsiteY334" fmla="*/ 1453834 h 6858001"/>
              <a:gd name="connsiteX335" fmla="*/ 4010799 w 8009775"/>
              <a:gd name="connsiteY335" fmla="*/ 1448436 h 6858001"/>
              <a:gd name="connsiteX336" fmla="*/ 4007548 w 8009775"/>
              <a:gd name="connsiteY336" fmla="*/ 1443356 h 6858001"/>
              <a:gd name="connsiteX337" fmla="*/ 4003705 w 8009775"/>
              <a:gd name="connsiteY337" fmla="*/ 1438275 h 6858001"/>
              <a:gd name="connsiteX338" fmla="*/ 4000159 w 8009775"/>
              <a:gd name="connsiteY338" fmla="*/ 1433195 h 6858001"/>
              <a:gd name="connsiteX339" fmla="*/ 3996021 w 8009775"/>
              <a:gd name="connsiteY339" fmla="*/ 1428751 h 6858001"/>
              <a:gd name="connsiteX340" fmla="*/ 3991587 w 8009775"/>
              <a:gd name="connsiteY340" fmla="*/ 1423988 h 6858001"/>
              <a:gd name="connsiteX341" fmla="*/ 3323022 w 8009775"/>
              <a:gd name="connsiteY341" fmla="*/ 755333 h 6858001"/>
              <a:gd name="connsiteX342" fmla="*/ 3316815 w 8009775"/>
              <a:gd name="connsiteY342" fmla="*/ 748348 h 6858001"/>
              <a:gd name="connsiteX343" fmla="*/ 3310904 w 8009775"/>
              <a:gd name="connsiteY343" fmla="*/ 741045 h 6858001"/>
              <a:gd name="connsiteX344" fmla="*/ 3305584 w 8009775"/>
              <a:gd name="connsiteY344" fmla="*/ 733108 h 6858001"/>
              <a:gd name="connsiteX345" fmla="*/ 3300855 w 8009775"/>
              <a:gd name="connsiteY345" fmla="*/ 725170 h 6858001"/>
              <a:gd name="connsiteX346" fmla="*/ 3297308 w 8009775"/>
              <a:gd name="connsiteY346" fmla="*/ 716915 h 6858001"/>
              <a:gd name="connsiteX347" fmla="*/ 3293761 w 8009775"/>
              <a:gd name="connsiteY347" fmla="*/ 708660 h 6858001"/>
              <a:gd name="connsiteX348" fmla="*/ 3291101 w 8009775"/>
              <a:gd name="connsiteY348" fmla="*/ 699770 h 6858001"/>
              <a:gd name="connsiteX349" fmla="*/ 3289328 w 8009775"/>
              <a:gd name="connsiteY349" fmla="*/ 691198 h 6858001"/>
              <a:gd name="connsiteX350" fmla="*/ 2596527 w 8009775"/>
              <a:gd name="connsiteY350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55488 w 8009775"/>
              <a:gd name="connsiteY69" fmla="*/ 0 h 6858001"/>
              <a:gd name="connsiteX70" fmla="*/ 0 w 8009775"/>
              <a:gd name="connsiteY70" fmla="*/ 0 h 6858001"/>
              <a:gd name="connsiteX71" fmla="*/ 0 w 8009775"/>
              <a:gd name="connsiteY71" fmla="*/ 6858000 h 6858001"/>
              <a:gd name="connsiteX72" fmla="*/ 7507651 w 8009775"/>
              <a:gd name="connsiteY72" fmla="*/ 6858001 h 6858001"/>
              <a:gd name="connsiteX73" fmla="*/ 8009775 w 8009775"/>
              <a:gd name="connsiteY73" fmla="*/ 6858000 h 6858001"/>
              <a:gd name="connsiteX74" fmla="*/ 3996316 w 8009775"/>
              <a:gd name="connsiteY74" fmla="*/ 2818448 h 6858001"/>
              <a:gd name="connsiteX75" fmla="*/ 3980947 w 8009775"/>
              <a:gd name="connsiteY75" fmla="*/ 2804795 h 6858001"/>
              <a:gd name="connsiteX76" fmla="*/ 3965282 w 8009775"/>
              <a:gd name="connsiteY76" fmla="*/ 2791144 h 6858001"/>
              <a:gd name="connsiteX77" fmla="*/ 3950799 w 8009775"/>
              <a:gd name="connsiteY77" fmla="*/ 2776856 h 6858001"/>
              <a:gd name="connsiteX78" fmla="*/ 3936021 w 8009775"/>
              <a:gd name="connsiteY78" fmla="*/ 2762568 h 6858001"/>
              <a:gd name="connsiteX79" fmla="*/ 3001744 w 8009775"/>
              <a:gd name="connsiteY79" fmla="*/ 1828166 h 6858001"/>
              <a:gd name="connsiteX80" fmla="*/ 2997311 w 8009775"/>
              <a:gd name="connsiteY80" fmla="*/ 1823404 h 6858001"/>
              <a:gd name="connsiteX81" fmla="*/ 2992878 w 8009775"/>
              <a:gd name="connsiteY81" fmla="*/ 1818640 h 6858001"/>
              <a:gd name="connsiteX82" fmla="*/ 2989331 w 8009775"/>
              <a:gd name="connsiteY82" fmla="*/ 1814195 h 6858001"/>
              <a:gd name="connsiteX83" fmla="*/ 2985784 w 8009775"/>
              <a:gd name="connsiteY83" fmla="*/ 1808799 h 6858001"/>
              <a:gd name="connsiteX84" fmla="*/ 2982533 w 8009775"/>
              <a:gd name="connsiteY84" fmla="*/ 1803718 h 6858001"/>
              <a:gd name="connsiteX85" fmla="*/ 2979873 w 8009775"/>
              <a:gd name="connsiteY85" fmla="*/ 1798321 h 6858001"/>
              <a:gd name="connsiteX86" fmla="*/ 2976917 w 8009775"/>
              <a:gd name="connsiteY86" fmla="*/ 1792924 h 6858001"/>
              <a:gd name="connsiteX87" fmla="*/ 2974552 w 8009775"/>
              <a:gd name="connsiteY87" fmla="*/ 1787526 h 6858001"/>
              <a:gd name="connsiteX88" fmla="*/ 2972484 w 8009775"/>
              <a:gd name="connsiteY88" fmla="*/ 1781811 h 6858001"/>
              <a:gd name="connsiteX89" fmla="*/ 2970710 w 8009775"/>
              <a:gd name="connsiteY89" fmla="*/ 1776095 h 6858001"/>
              <a:gd name="connsiteX90" fmla="*/ 2968937 w 8009775"/>
              <a:gd name="connsiteY90" fmla="*/ 1770380 h 6858001"/>
              <a:gd name="connsiteX91" fmla="*/ 2967755 w 8009775"/>
              <a:gd name="connsiteY91" fmla="*/ 1764665 h 6858001"/>
              <a:gd name="connsiteX92" fmla="*/ 2966868 w 8009775"/>
              <a:gd name="connsiteY92" fmla="*/ 1758634 h 6858001"/>
              <a:gd name="connsiteX93" fmla="*/ 2965981 w 8009775"/>
              <a:gd name="connsiteY93" fmla="*/ 1752919 h 6858001"/>
              <a:gd name="connsiteX94" fmla="*/ 2965686 w 8009775"/>
              <a:gd name="connsiteY94" fmla="*/ 1746885 h 6858001"/>
              <a:gd name="connsiteX95" fmla="*/ 2965686 w 8009775"/>
              <a:gd name="connsiteY95" fmla="*/ 1741170 h 6858001"/>
              <a:gd name="connsiteX96" fmla="*/ 2965686 w 8009775"/>
              <a:gd name="connsiteY96" fmla="*/ 1735139 h 6858001"/>
              <a:gd name="connsiteX97" fmla="*/ 2965981 w 8009775"/>
              <a:gd name="connsiteY97" fmla="*/ 1729424 h 6858001"/>
              <a:gd name="connsiteX98" fmla="*/ 2966868 w 8009775"/>
              <a:gd name="connsiteY98" fmla="*/ 1723074 h 6858001"/>
              <a:gd name="connsiteX99" fmla="*/ 2967755 w 8009775"/>
              <a:gd name="connsiteY99" fmla="*/ 1717358 h 6858001"/>
              <a:gd name="connsiteX100" fmla="*/ 2968937 w 8009775"/>
              <a:gd name="connsiteY100" fmla="*/ 1711643 h 6858001"/>
              <a:gd name="connsiteX101" fmla="*/ 2970710 w 8009775"/>
              <a:gd name="connsiteY101" fmla="*/ 1705929 h 6858001"/>
              <a:gd name="connsiteX102" fmla="*/ 2972484 w 8009775"/>
              <a:gd name="connsiteY102" fmla="*/ 1700214 h 6858001"/>
              <a:gd name="connsiteX103" fmla="*/ 2974552 w 8009775"/>
              <a:gd name="connsiteY103" fmla="*/ 1694816 h 6858001"/>
              <a:gd name="connsiteX104" fmla="*/ 2976917 w 8009775"/>
              <a:gd name="connsiteY104" fmla="*/ 1689101 h 6858001"/>
              <a:gd name="connsiteX105" fmla="*/ 2979873 w 8009775"/>
              <a:gd name="connsiteY105" fmla="*/ 1683703 h 6858001"/>
              <a:gd name="connsiteX106" fmla="*/ 2982533 w 8009775"/>
              <a:gd name="connsiteY106" fmla="*/ 1678305 h 6858001"/>
              <a:gd name="connsiteX107" fmla="*/ 2985784 w 8009775"/>
              <a:gd name="connsiteY107" fmla="*/ 1673226 h 6858001"/>
              <a:gd name="connsiteX108" fmla="*/ 2989331 w 8009775"/>
              <a:gd name="connsiteY108" fmla="*/ 1668145 h 6858001"/>
              <a:gd name="connsiteX109" fmla="*/ 2992878 w 8009775"/>
              <a:gd name="connsiteY109" fmla="*/ 1663066 h 6858001"/>
              <a:gd name="connsiteX110" fmla="*/ 2997311 w 8009775"/>
              <a:gd name="connsiteY110" fmla="*/ 1658621 h 6858001"/>
              <a:gd name="connsiteX111" fmla="*/ 3001744 w 8009775"/>
              <a:gd name="connsiteY111" fmla="*/ 1653859 h 6858001"/>
              <a:gd name="connsiteX112" fmla="*/ 3006178 w 8009775"/>
              <a:gd name="connsiteY112" fmla="*/ 1649414 h 6858001"/>
              <a:gd name="connsiteX113" fmla="*/ 3010907 w 8009775"/>
              <a:gd name="connsiteY113" fmla="*/ 1645603 h 6858001"/>
              <a:gd name="connsiteX114" fmla="*/ 3015932 w 8009775"/>
              <a:gd name="connsiteY114" fmla="*/ 1641794 h 6858001"/>
              <a:gd name="connsiteX115" fmla="*/ 3020956 w 8009775"/>
              <a:gd name="connsiteY115" fmla="*/ 1637984 h 6858001"/>
              <a:gd name="connsiteX116" fmla="*/ 3025981 w 8009775"/>
              <a:gd name="connsiteY116" fmla="*/ 1634809 h 6858001"/>
              <a:gd name="connsiteX117" fmla="*/ 3031596 w 8009775"/>
              <a:gd name="connsiteY117" fmla="*/ 1631950 h 6858001"/>
              <a:gd name="connsiteX118" fmla="*/ 3036916 w 8009775"/>
              <a:gd name="connsiteY118" fmla="*/ 1629094 h 6858001"/>
              <a:gd name="connsiteX119" fmla="*/ 3042532 w 8009775"/>
              <a:gd name="connsiteY119" fmla="*/ 1626871 h 6858001"/>
              <a:gd name="connsiteX120" fmla="*/ 3047852 w 8009775"/>
              <a:gd name="connsiteY120" fmla="*/ 1624649 h 6858001"/>
              <a:gd name="connsiteX121" fmla="*/ 3053764 w 8009775"/>
              <a:gd name="connsiteY121" fmla="*/ 1623061 h 6858001"/>
              <a:gd name="connsiteX122" fmla="*/ 3059379 w 8009775"/>
              <a:gd name="connsiteY122" fmla="*/ 1621155 h 6858001"/>
              <a:gd name="connsiteX123" fmla="*/ 3065291 w 8009775"/>
              <a:gd name="connsiteY123" fmla="*/ 1620204 h 6858001"/>
              <a:gd name="connsiteX124" fmla="*/ 3070906 w 8009775"/>
              <a:gd name="connsiteY124" fmla="*/ 1618934 h 6858001"/>
              <a:gd name="connsiteX125" fmla="*/ 3077113 w 8009775"/>
              <a:gd name="connsiteY125" fmla="*/ 1618299 h 6858001"/>
              <a:gd name="connsiteX126" fmla="*/ 3082729 w 8009775"/>
              <a:gd name="connsiteY126" fmla="*/ 1617981 h 6858001"/>
              <a:gd name="connsiteX127" fmla="*/ 3088936 w 8009775"/>
              <a:gd name="connsiteY127" fmla="*/ 1617981 h 6858001"/>
              <a:gd name="connsiteX128" fmla="*/ 3094552 w 8009775"/>
              <a:gd name="connsiteY128" fmla="*/ 1617981 h 6858001"/>
              <a:gd name="connsiteX129" fmla="*/ 3100758 w 8009775"/>
              <a:gd name="connsiteY129" fmla="*/ 1618299 h 6858001"/>
              <a:gd name="connsiteX130" fmla="*/ 3106670 w 8009775"/>
              <a:gd name="connsiteY130" fmla="*/ 1618934 h 6858001"/>
              <a:gd name="connsiteX131" fmla="*/ 3112285 w 8009775"/>
              <a:gd name="connsiteY131" fmla="*/ 1620204 h 6858001"/>
              <a:gd name="connsiteX132" fmla="*/ 3117901 w 8009775"/>
              <a:gd name="connsiteY132" fmla="*/ 1621155 h 6858001"/>
              <a:gd name="connsiteX133" fmla="*/ 3123812 w 8009775"/>
              <a:gd name="connsiteY133" fmla="*/ 1623061 h 6858001"/>
              <a:gd name="connsiteX134" fmla="*/ 3129428 w 8009775"/>
              <a:gd name="connsiteY134" fmla="*/ 1624649 h 6858001"/>
              <a:gd name="connsiteX135" fmla="*/ 3135339 w 8009775"/>
              <a:gd name="connsiteY135" fmla="*/ 1626871 h 6858001"/>
              <a:gd name="connsiteX136" fmla="*/ 3140660 w 8009775"/>
              <a:gd name="connsiteY136" fmla="*/ 1629094 h 6858001"/>
              <a:gd name="connsiteX137" fmla="*/ 3145980 w 8009775"/>
              <a:gd name="connsiteY137" fmla="*/ 1631950 h 6858001"/>
              <a:gd name="connsiteX138" fmla="*/ 3151300 w 8009775"/>
              <a:gd name="connsiteY138" fmla="*/ 1634809 h 6858001"/>
              <a:gd name="connsiteX139" fmla="*/ 3156324 w 8009775"/>
              <a:gd name="connsiteY139" fmla="*/ 1637984 h 6858001"/>
              <a:gd name="connsiteX140" fmla="*/ 3161349 w 8009775"/>
              <a:gd name="connsiteY140" fmla="*/ 1641794 h 6858001"/>
              <a:gd name="connsiteX141" fmla="*/ 3166374 w 8009775"/>
              <a:gd name="connsiteY141" fmla="*/ 1645603 h 6858001"/>
              <a:gd name="connsiteX142" fmla="*/ 3171102 w 8009775"/>
              <a:gd name="connsiteY142" fmla="*/ 1649414 h 6858001"/>
              <a:gd name="connsiteX143" fmla="*/ 3175832 w 8009775"/>
              <a:gd name="connsiteY143" fmla="*/ 1653859 h 6858001"/>
              <a:gd name="connsiteX144" fmla="*/ 3844692 w 8009775"/>
              <a:gd name="connsiteY144" fmla="*/ 2322830 h 6858001"/>
              <a:gd name="connsiteX145" fmla="*/ 3849421 w 8009775"/>
              <a:gd name="connsiteY145" fmla="*/ 2326958 h 6858001"/>
              <a:gd name="connsiteX146" fmla="*/ 3854150 w 8009775"/>
              <a:gd name="connsiteY146" fmla="*/ 2331085 h 6858001"/>
              <a:gd name="connsiteX147" fmla="*/ 3859175 w 8009775"/>
              <a:gd name="connsiteY147" fmla="*/ 2334895 h 6858001"/>
              <a:gd name="connsiteX148" fmla="*/ 3864199 w 8009775"/>
              <a:gd name="connsiteY148" fmla="*/ 2338705 h 6858001"/>
              <a:gd name="connsiteX149" fmla="*/ 3869224 w 8009775"/>
              <a:gd name="connsiteY149" fmla="*/ 2341880 h 6858001"/>
              <a:gd name="connsiteX150" fmla="*/ 3874544 w 8009775"/>
              <a:gd name="connsiteY150" fmla="*/ 2344738 h 6858001"/>
              <a:gd name="connsiteX151" fmla="*/ 3879864 w 8009775"/>
              <a:gd name="connsiteY151" fmla="*/ 2347595 h 6858001"/>
              <a:gd name="connsiteX152" fmla="*/ 3885775 w 8009775"/>
              <a:gd name="connsiteY152" fmla="*/ 2349818 h 6858001"/>
              <a:gd name="connsiteX153" fmla="*/ 3891096 w 8009775"/>
              <a:gd name="connsiteY153" fmla="*/ 2351723 h 6858001"/>
              <a:gd name="connsiteX154" fmla="*/ 3896711 w 8009775"/>
              <a:gd name="connsiteY154" fmla="*/ 2353628 h 6858001"/>
              <a:gd name="connsiteX155" fmla="*/ 3902623 w 8009775"/>
              <a:gd name="connsiteY155" fmla="*/ 2355534 h 6858001"/>
              <a:gd name="connsiteX156" fmla="*/ 3908238 w 8009775"/>
              <a:gd name="connsiteY156" fmla="*/ 2356485 h 6858001"/>
              <a:gd name="connsiteX157" fmla="*/ 3914150 w 8009775"/>
              <a:gd name="connsiteY157" fmla="*/ 2357755 h 6858001"/>
              <a:gd name="connsiteX158" fmla="*/ 3920061 w 8009775"/>
              <a:gd name="connsiteY158" fmla="*/ 2358391 h 6858001"/>
              <a:gd name="connsiteX159" fmla="*/ 3925972 w 8009775"/>
              <a:gd name="connsiteY159" fmla="*/ 2358708 h 6858001"/>
              <a:gd name="connsiteX160" fmla="*/ 3931883 w 8009775"/>
              <a:gd name="connsiteY160" fmla="*/ 2358708 h 6858001"/>
              <a:gd name="connsiteX161" fmla="*/ 3937795 w 8009775"/>
              <a:gd name="connsiteY161" fmla="*/ 2358708 h 6858001"/>
              <a:gd name="connsiteX162" fmla="*/ 3943706 w 8009775"/>
              <a:gd name="connsiteY162" fmla="*/ 2358391 h 6858001"/>
              <a:gd name="connsiteX163" fmla="*/ 3949617 w 8009775"/>
              <a:gd name="connsiteY163" fmla="*/ 2357755 h 6858001"/>
              <a:gd name="connsiteX164" fmla="*/ 3955233 w 8009775"/>
              <a:gd name="connsiteY164" fmla="*/ 2356485 h 6858001"/>
              <a:gd name="connsiteX165" fmla="*/ 3961144 w 8009775"/>
              <a:gd name="connsiteY165" fmla="*/ 2355534 h 6858001"/>
              <a:gd name="connsiteX166" fmla="*/ 3966760 w 8009775"/>
              <a:gd name="connsiteY166" fmla="*/ 2353628 h 6858001"/>
              <a:gd name="connsiteX167" fmla="*/ 3972671 w 8009775"/>
              <a:gd name="connsiteY167" fmla="*/ 2351723 h 6858001"/>
              <a:gd name="connsiteX168" fmla="*/ 3978287 w 8009775"/>
              <a:gd name="connsiteY168" fmla="*/ 2349818 h 6858001"/>
              <a:gd name="connsiteX169" fmla="*/ 3983607 w 8009775"/>
              <a:gd name="connsiteY169" fmla="*/ 2347595 h 6858001"/>
              <a:gd name="connsiteX170" fmla="*/ 3989223 w 8009775"/>
              <a:gd name="connsiteY170" fmla="*/ 2344738 h 6858001"/>
              <a:gd name="connsiteX171" fmla="*/ 3994543 w 8009775"/>
              <a:gd name="connsiteY171" fmla="*/ 2341880 h 6858001"/>
              <a:gd name="connsiteX172" fmla="*/ 3999567 w 8009775"/>
              <a:gd name="connsiteY172" fmla="*/ 2338705 h 6858001"/>
              <a:gd name="connsiteX173" fmla="*/ 4004888 w 8009775"/>
              <a:gd name="connsiteY173" fmla="*/ 2334895 h 6858001"/>
              <a:gd name="connsiteX174" fmla="*/ 4009617 w 8009775"/>
              <a:gd name="connsiteY174" fmla="*/ 2331085 h 6858001"/>
              <a:gd name="connsiteX175" fmla="*/ 4014346 w 8009775"/>
              <a:gd name="connsiteY175" fmla="*/ 2326958 h 6858001"/>
              <a:gd name="connsiteX176" fmla="*/ 4018779 w 8009775"/>
              <a:gd name="connsiteY176" fmla="*/ 2322830 h 6858001"/>
              <a:gd name="connsiteX177" fmla="*/ 4023213 w 8009775"/>
              <a:gd name="connsiteY177" fmla="*/ 2318068 h 6858001"/>
              <a:gd name="connsiteX178" fmla="*/ 4027646 w 8009775"/>
              <a:gd name="connsiteY178" fmla="*/ 2313306 h 6858001"/>
              <a:gd name="connsiteX179" fmla="*/ 4031193 w 8009775"/>
              <a:gd name="connsiteY179" fmla="*/ 2308544 h 6858001"/>
              <a:gd name="connsiteX180" fmla="*/ 4034740 w 8009775"/>
              <a:gd name="connsiteY180" fmla="*/ 2303463 h 6858001"/>
              <a:gd name="connsiteX181" fmla="*/ 4037991 w 8009775"/>
              <a:gd name="connsiteY181" fmla="*/ 2298384 h 6858001"/>
              <a:gd name="connsiteX182" fmla="*/ 4040946 w 8009775"/>
              <a:gd name="connsiteY182" fmla="*/ 2292985 h 6858001"/>
              <a:gd name="connsiteX183" fmla="*/ 4043606 w 8009775"/>
              <a:gd name="connsiteY183" fmla="*/ 2287588 h 6858001"/>
              <a:gd name="connsiteX184" fmla="*/ 4046267 w 8009775"/>
              <a:gd name="connsiteY184" fmla="*/ 2281873 h 6858001"/>
              <a:gd name="connsiteX185" fmla="*/ 4048040 w 8009775"/>
              <a:gd name="connsiteY185" fmla="*/ 2276476 h 6858001"/>
              <a:gd name="connsiteX186" fmla="*/ 4050109 w 8009775"/>
              <a:gd name="connsiteY186" fmla="*/ 2270761 h 6858001"/>
              <a:gd name="connsiteX187" fmla="*/ 4051587 w 8009775"/>
              <a:gd name="connsiteY187" fmla="*/ 2265046 h 6858001"/>
              <a:gd name="connsiteX188" fmla="*/ 4052769 w 8009775"/>
              <a:gd name="connsiteY188" fmla="*/ 2259331 h 6858001"/>
              <a:gd name="connsiteX189" fmla="*/ 4053656 w 8009775"/>
              <a:gd name="connsiteY189" fmla="*/ 2253298 h 6858001"/>
              <a:gd name="connsiteX190" fmla="*/ 4054542 w 8009775"/>
              <a:gd name="connsiteY190" fmla="*/ 2247266 h 6858001"/>
              <a:gd name="connsiteX191" fmla="*/ 4054838 w 8009775"/>
              <a:gd name="connsiteY191" fmla="*/ 2241551 h 6858001"/>
              <a:gd name="connsiteX192" fmla="*/ 4055133 w 8009775"/>
              <a:gd name="connsiteY192" fmla="*/ 2235519 h 6858001"/>
              <a:gd name="connsiteX193" fmla="*/ 4054838 w 8009775"/>
              <a:gd name="connsiteY193" fmla="*/ 2229804 h 6858001"/>
              <a:gd name="connsiteX194" fmla="*/ 4054542 w 8009775"/>
              <a:gd name="connsiteY194" fmla="*/ 2223770 h 6858001"/>
              <a:gd name="connsiteX195" fmla="*/ 4053656 w 8009775"/>
              <a:gd name="connsiteY195" fmla="*/ 2217739 h 6858001"/>
              <a:gd name="connsiteX196" fmla="*/ 4052769 w 8009775"/>
              <a:gd name="connsiteY196" fmla="*/ 2212024 h 6858001"/>
              <a:gd name="connsiteX197" fmla="*/ 4051587 w 8009775"/>
              <a:gd name="connsiteY197" fmla="*/ 2206309 h 6858001"/>
              <a:gd name="connsiteX198" fmla="*/ 4050109 w 8009775"/>
              <a:gd name="connsiteY198" fmla="*/ 2200593 h 6858001"/>
              <a:gd name="connsiteX199" fmla="*/ 4048040 w 8009775"/>
              <a:gd name="connsiteY199" fmla="*/ 2194878 h 6858001"/>
              <a:gd name="connsiteX200" fmla="*/ 4046267 w 8009775"/>
              <a:gd name="connsiteY200" fmla="*/ 2189163 h 6858001"/>
              <a:gd name="connsiteX201" fmla="*/ 4043606 w 8009775"/>
              <a:gd name="connsiteY201" fmla="*/ 2183765 h 6858001"/>
              <a:gd name="connsiteX202" fmla="*/ 4040946 w 8009775"/>
              <a:gd name="connsiteY202" fmla="*/ 2178368 h 6858001"/>
              <a:gd name="connsiteX203" fmla="*/ 4037991 w 8009775"/>
              <a:gd name="connsiteY203" fmla="*/ 2172970 h 6858001"/>
              <a:gd name="connsiteX204" fmla="*/ 4034740 w 8009775"/>
              <a:gd name="connsiteY204" fmla="*/ 2167890 h 6858001"/>
              <a:gd name="connsiteX205" fmla="*/ 4031193 w 8009775"/>
              <a:gd name="connsiteY205" fmla="*/ 2162494 h 6858001"/>
              <a:gd name="connsiteX206" fmla="*/ 4027646 w 8009775"/>
              <a:gd name="connsiteY206" fmla="*/ 2157730 h 6858001"/>
              <a:gd name="connsiteX207" fmla="*/ 4023213 w 8009775"/>
              <a:gd name="connsiteY207" fmla="*/ 2153285 h 6858001"/>
              <a:gd name="connsiteX208" fmla="*/ 4018779 w 8009775"/>
              <a:gd name="connsiteY208" fmla="*/ 2148523 h 6858001"/>
              <a:gd name="connsiteX209" fmla="*/ 3632182 w 8009775"/>
              <a:gd name="connsiteY209" fmla="*/ 1761490 h 6858001"/>
              <a:gd name="connsiteX210" fmla="*/ 3435928 w 8009775"/>
              <a:gd name="connsiteY210" fmla="*/ 1565276 h 6858001"/>
              <a:gd name="connsiteX211" fmla="*/ 3431198 w 8009775"/>
              <a:gd name="connsiteY211" fmla="*/ 1560514 h 6858001"/>
              <a:gd name="connsiteX212" fmla="*/ 3427356 w 8009775"/>
              <a:gd name="connsiteY212" fmla="*/ 1555751 h 6858001"/>
              <a:gd name="connsiteX213" fmla="*/ 3423218 w 8009775"/>
              <a:gd name="connsiteY213" fmla="*/ 1550671 h 6858001"/>
              <a:gd name="connsiteX214" fmla="*/ 3420262 w 8009775"/>
              <a:gd name="connsiteY214" fmla="*/ 1545909 h 6858001"/>
              <a:gd name="connsiteX215" fmla="*/ 3417012 w 8009775"/>
              <a:gd name="connsiteY215" fmla="*/ 1540829 h 6858001"/>
              <a:gd name="connsiteX216" fmla="*/ 3413760 w 8009775"/>
              <a:gd name="connsiteY216" fmla="*/ 1535430 h 6858001"/>
              <a:gd name="connsiteX217" fmla="*/ 3411100 w 8009775"/>
              <a:gd name="connsiteY217" fmla="*/ 1530034 h 6858001"/>
              <a:gd name="connsiteX218" fmla="*/ 3408736 w 8009775"/>
              <a:gd name="connsiteY218" fmla="*/ 1524635 h 6858001"/>
              <a:gd name="connsiteX219" fmla="*/ 3406371 w 8009775"/>
              <a:gd name="connsiteY219" fmla="*/ 1518920 h 6858001"/>
              <a:gd name="connsiteX220" fmla="*/ 3404598 w 8009775"/>
              <a:gd name="connsiteY220" fmla="*/ 1513205 h 6858001"/>
              <a:gd name="connsiteX221" fmla="*/ 3403120 w 8009775"/>
              <a:gd name="connsiteY221" fmla="*/ 1507174 h 6858001"/>
              <a:gd name="connsiteX222" fmla="*/ 3401938 w 8009775"/>
              <a:gd name="connsiteY222" fmla="*/ 1501459 h 6858001"/>
              <a:gd name="connsiteX223" fmla="*/ 3401051 w 8009775"/>
              <a:gd name="connsiteY223" fmla="*/ 1495744 h 6858001"/>
              <a:gd name="connsiteX224" fmla="*/ 3400460 w 8009775"/>
              <a:gd name="connsiteY224" fmla="*/ 1489710 h 6858001"/>
              <a:gd name="connsiteX225" fmla="*/ 3399869 w 8009775"/>
              <a:gd name="connsiteY225" fmla="*/ 1483995 h 6858001"/>
              <a:gd name="connsiteX226" fmla="*/ 3399573 w 8009775"/>
              <a:gd name="connsiteY226" fmla="*/ 1478281 h 6858001"/>
              <a:gd name="connsiteX227" fmla="*/ 3399869 w 8009775"/>
              <a:gd name="connsiteY227" fmla="*/ 1472249 h 6858001"/>
              <a:gd name="connsiteX228" fmla="*/ 3400460 w 8009775"/>
              <a:gd name="connsiteY228" fmla="*/ 1466215 h 6858001"/>
              <a:gd name="connsiteX229" fmla="*/ 3401051 w 8009775"/>
              <a:gd name="connsiteY229" fmla="*/ 1460183 h 6858001"/>
              <a:gd name="connsiteX230" fmla="*/ 3401938 w 8009775"/>
              <a:gd name="connsiteY230" fmla="*/ 1454468 h 6858001"/>
              <a:gd name="connsiteX231" fmla="*/ 3403120 w 8009775"/>
              <a:gd name="connsiteY231" fmla="*/ 1448754 h 6858001"/>
              <a:gd name="connsiteX232" fmla="*/ 3404598 w 8009775"/>
              <a:gd name="connsiteY232" fmla="*/ 1443039 h 6858001"/>
              <a:gd name="connsiteX233" fmla="*/ 3406371 w 8009775"/>
              <a:gd name="connsiteY233" fmla="*/ 1437324 h 6858001"/>
              <a:gd name="connsiteX234" fmla="*/ 3408736 w 8009775"/>
              <a:gd name="connsiteY234" fmla="*/ 1431609 h 6858001"/>
              <a:gd name="connsiteX235" fmla="*/ 3411100 w 8009775"/>
              <a:gd name="connsiteY235" fmla="*/ 1426211 h 6858001"/>
              <a:gd name="connsiteX236" fmla="*/ 3413760 w 8009775"/>
              <a:gd name="connsiteY236" fmla="*/ 1420814 h 6858001"/>
              <a:gd name="connsiteX237" fmla="*/ 3417012 w 8009775"/>
              <a:gd name="connsiteY237" fmla="*/ 1415416 h 6858001"/>
              <a:gd name="connsiteX238" fmla="*/ 3420262 w 8009775"/>
              <a:gd name="connsiteY238" fmla="*/ 1410336 h 6858001"/>
              <a:gd name="connsiteX239" fmla="*/ 3423218 w 8009775"/>
              <a:gd name="connsiteY239" fmla="*/ 1405256 h 6858001"/>
              <a:gd name="connsiteX240" fmla="*/ 3427356 w 8009775"/>
              <a:gd name="connsiteY240" fmla="*/ 1400175 h 6858001"/>
              <a:gd name="connsiteX241" fmla="*/ 3431198 w 8009775"/>
              <a:gd name="connsiteY241" fmla="*/ 1395731 h 6858001"/>
              <a:gd name="connsiteX242" fmla="*/ 3435928 w 8009775"/>
              <a:gd name="connsiteY242" fmla="*/ 1390969 h 6858001"/>
              <a:gd name="connsiteX243" fmla="*/ 3440361 w 8009775"/>
              <a:gd name="connsiteY243" fmla="*/ 1386524 h 6858001"/>
              <a:gd name="connsiteX244" fmla="*/ 3445386 w 8009775"/>
              <a:gd name="connsiteY244" fmla="*/ 1382396 h 6858001"/>
              <a:gd name="connsiteX245" fmla="*/ 3449819 w 8009775"/>
              <a:gd name="connsiteY245" fmla="*/ 1378585 h 6858001"/>
              <a:gd name="connsiteX246" fmla="*/ 3454844 w 8009775"/>
              <a:gd name="connsiteY246" fmla="*/ 1375094 h 6858001"/>
              <a:gd name="connsiteX247" fmla="*/ 3460459 w 8009775"/>
              <a:gd name="connsiteY247" fmla="*/ 1371919 h 6858001"/>
              <a:gd name="connsiteX248" fmla="*/ 3465780 w 8009775"/>
              <a:gd name="connsiteY248" fmla="*/ 1369061 h 6858001"/>
              <a:gd name="connsiteX249" fmla="*/ 3471100 w 8009775"/>
              <a:gd name="connsiteY249" fmla="*/ 1366204 h 6858001"/>
              <a:gd name="connsiteX250" fmla="*/ 3476420 w 8009775"/>
              <a:gd name="connsiteY250" fmla="*/ 1363980 h 6858001"/>
              <a:gd name="connsiteX251" fmla="*/ 3482331 w 8009775"/>
              <a:gd name="connsiteY251" fmla="*/ 1361759 h 6858001"/>
              <a:gd name="connsiteX252" fmla="*/ 3487947 w 8009775"/>
              <a:gd name="connsiteY252" fmla="*/ 1360170 h 6858001"/>
              <a:gd name="connsiteX253" fmla="*/ 3493858 w 8009775"/>
              <a:gd name="connsiteY253" fmla="*/ 1358265 h 6858001"/>
              <a:gd name="connsiteX254" fmla="*/ 3499474 w 8009775"/>
              <a:gd name="connsiteY254" fmla="*/ 1357314 h 6858001"/>
              <a:gd name="connsiteX255" fmla="*/ 3505385 w 8009775"/>
              <a:gd name="connsiteY255" fmla="*/ 1356043 h 6858001"/>
              <a:gd name="connsiteX256" fmla="*/ 3511001 w 8009775"/>
              <a:gd name="connsiteY256" fmla="*/ 1355409 h 6858001"/>
              <a:gd name="connsiteX257" fmla="*/ 3517208 w 8009775"/>
              <a:gd name="connsiteY257" fmla="*/ 1355090 h 6858001"/>
              <a:gd name="connsiteX258" fmla="*/ 3522823 w 8009775"/>
              <a:gd name="connsiteY258" fmla="*/ 1354773 h 6858001"/>
              <a:gd name="connsiteX259" fmla="*/ 3529030 w 8009775"/>
              <a:gd name="connsiteY259" fmla="*/ 1355090 h 6858001"/>
              <a:gd name="connsiteX260" fmla="*/ 3534646 w 8009775"/>
              <a:gd name="connsiteY260" fmla="*/ 1355409 h 6858001"/>
              <a:gd name="connsiteX261" fmla="*/ 3540557 w 8009775"/>
              <a:gd name="connsiteY261" fmla="*/ 1356043 h 6858001"/>
              <a:gd name="connsiteX262" fmla="*/ 3546468 w 8009775"/>
              <a:gd name="connsiteY262" fmla="*/ 1357314 h 6858001"/>
              <a:gd name="connsiteX263" fmla="*/ 3552380 w 8009775"/>
              <a:gd name="connsiteY263" fmla="*/ 1358265 h 6858001"/>
              <a:gd name="connsiteX264" fmla="*/ 3557995 w 8009775"/>
              <a:gd name="connsiteY264" fmla="*/ 1360170 h 6858001"/>
              <a:gd name="connsiteX265" fmla="*/ 3563906 w 8009775"/>
              <a:gd name="connsiteY265" fmla="*/ 1361759 h 6858001"/>
              <a:gd name="connsiteX266" fmla="*/ 3569227 w 8009775"/>
              <a:gd name="connsiteY266" fmla="*/ 1363980 h 6858001"/>
              <a:gd name="connsiteX267" fmla="*/ 3574842 w 8009775"/>
              <a:gd name="connsiteY267" fmla="*/ 1366204 h 6858001"/>
              <a:gd name="connsiteX268" fmla="*/ 3580458 w 8009775"/>
              <a:gd name="connsiteY268" fmla="*/ 1369061 h 6858001"/>
              <a:gd name="connsiteX269" fmla="*/ 3585778 w 8009775"/>
              <a:gd name="connsiteY269" fmla="*/ 1371919 h 6858001"/>
              <a:gd name="connsiteX270" fmla="*/ 3590803 w 8009775"/>
              <a:gd name="connsiteY270" fmla="*/ 1375094 h 6858001"/>
              <a:gd name="connsiteX271" fmla="*/ 3595828 w 8009775"/>
              <a:gd name="connsiteY271" fmla="*/ 1378585 h 6858001"/>
              <a:gd name="connsiteX272" fmla="*/ 3600852 w 8009775"/>
              <a:gd name="connsiteY272" fmla="*/ 1382396 h 6858001"/>
              <a:gd name="connsiteX273" fmla="*/ 3605581 w 8009775"/>
              <a:gd name="connsiteY273" fmla="*/ 1386524 h 6858001"/>
              <a:gd name="connsiteX274" fmla="*/ 3610014 w 8009775"/>
              <a:gd name="connsiteY274" fmla="*/ 1390969 h 6858001"/>
              <a:gd name="connsiteX275" fmla="*/ 3817500 w 8009775"/>
              <a:gd name="connsiteY275" fmla="*/ 1598296 h 6858001"/>
              <a:gd name="connsiteX276" fmla="*/ 3821934 w 8009775"/>
              <a:gd name="connsiteY276" fmla="*/ 1602423 h 6858001"/>
              <a:gd name="connsiteX277" fmla="*/ 3826663 w 8009775"/>
              <a:gd name="connsiteY277" fmla="*/ 1606869 h 6858001"/>
              <a:gd name="connsiteX278" fmla="*/ 3831687 w 8009775"/>
              <a:gd name="connsiteY278" fmla="*/ 1610361 h 6858001"/>
              <a:gd name="connsiteX279" fmla="*/ 3836712 w 8009775"/>
              <a:gd name="connsiteY279" fmla="*/ 1613854 h 6858001"/>
              <a:gd name="connsiteX280" fmla="*/ 3841736 w 8009775"/>
              <a:gd name="connsiteY280" fmla="*/ 1617345 h 6858001"/>
              <a:gd name="connsiteX281" fmla="*/ 3847352 w 8009775"/>
              <a:gd name="connsiteY281" fmla="*/ 1620204 h 6858001"/>
              <a:gd name="connsiteX282" fmla="*/ 3852672 w 8009775"/>
              <a:gd name="connsiteY282" fmla="*/ 1623061 h 6858001"/>
              <a:gd name="connsiteX283" fmla="*/ 3857992 w 8009775"/>
              <a:gd name="connsiteY283" fmla="*/ 1625283 h 6858001"/>
              <a:gd name="connsiteX284" fmla="*/ 3863608 w 8009775"/>
              <a:gd name="connsiteY284" fmla="*/ 1627189 h 6858001"/>
              <a:gd name="connsiteX285" fmla="*/ 3869519 w 8009775"/>
              <a:gd name="connsiteY285" fmla="*/ 1629094 h 6858001"/>
              <a:gd name="connsiteX286" fmla="*/ 3875135 w 8009775"/>
              <a:gd name="connsiteY286" fmla="*/ 1630998 h 6858001"/>
              <a:gd name="connsiteX287" fmla="*/ 3881046 w 8009775"/>
              <a:gd name="connsiteY287" fmla="*/ 1631950 h 6858001"/>
              <a:gd name="connsiteX288" fmla="*/ 3886662 w 8009775"/>
              <a:gd name="connsiteY288" fmla="*/ 1632904 h 6858001"/>
              <a:gd name="connsiteX289" fmla="*/ 3892869 w 8009775"/>
              <a:gd name="connsiteY289" fmla="*/ 1633856 h 6858001"/>
              <a:gd name="connsiteX290" fmla="*/ 3898485 w 8009775"/>
              <a:gd name="connsiteY290" fmla="*/ 1634174 h 6858001"/>
              <a:gd name="connsiteX291" fmla="*/ 3904396 w 8009775"/>
              <a:gd name="connsiteY291" fmla="*/ 1634174 h 6858001"/>
              <a:gd name="connsiteX292" fmla="*/ 3910307 w 8009775"/>
              <a:gd name="connsiteY292" fmla="*/ 1634174 h 6858001"/>
              <a:gd name="connsiteX293" fmla="*/ 3916219 w 8009775"/>
              <a:gd name="connsiteY293" fmla="*/ 1633856 h 6858001"/>
              <a:gd name="connsiteX294" fmla="*/ 3922425 w 8009775"/>
              <a:gd name="connsiteY294" fmla="*/ 1632904 h 6858001"/>
              <a:gd name="connsiteX295" fmla="*/ 3928041 w 8009775"/>
              <a:gd name="connsiteY295" fmla="*/ 1631950 h 6858001"/>
              <a:gd name="connsiteX296" fmla="*/ 3933657 w 8009775"/>
              <a:gd name="connsiteY296" fmla="*/ 1630998 h 6858001"/>
              <a:gd name="connsiteX297" fmla="*/ 3939568 w 8009775"/>
              <a:gd name="connsiteY297" fmla="*/ 1629094 h 6858001"/>
              <a:gd name="connsiteX298" fmla="*/ 3945184 w 8009775"/>
              <a:gd name="connsiteY298" fmla="*/ 1627189 h 6858001"/>
              <a:gd name="connsiteX299" fmla="*/ 3950799 w 8009775"/>
              <a:gd name="connsiteY299" fmla="*/ 1625283 h 6858001"/>
              <a:gd name="connsiteX300" fmla="*/ 3956415 w 8009775"/>
              <a:gd name="connsiteY300" fmla="*/ 1623061 h 6858001"/>
              <a:gd name="connsiteX301" fmla="*/ 3961735 w 8009775"/>
              <a:gd name="connsiteY301" fmla="*/ 1620204 h 6858001"/>
              <a:gd name="connsiteX302" fmla="*/ 3967055 w 8009775"/>
              <a:gd name="connsiteY302" fmla="*/ 1617345 h 6858001"/>
              <a:gd name="connsiteX303" fmla="*/ 3972376 w 8009775"/>
              <a:gd name="connsiteY303" fmla="*/ 1613854 h 6858001"/>
              <a:gd name="connsiteX304" fmla="*/ 3977400 w 8009775"/>
              <a:gd name="connsiteY304" fmla="*/ 1610361 h 6858001"/>
              <a:gd name="connsiteX305" fmla="*/ 3982425 w 8009775"/>
              <a:gd name="connsiteY305" fmla="*/ 1606869 h 6858001"/>
              <a:gd name="connsiteX306" fmla="*/ 3986858 w 8009775"/>
              <a:gd name="connsiteY306" fmla="*/ 1602423 h 6858001"/>
              <a:gd name="connsiteX307" fmla="*/ 3991587 w 8009775"/>
              <a:gd name="connsiteY307" fmla="*/ 1598296 h 6858001"/>
              <a:gd name="connsiteX308" fmla="*/ 3996021 w 8009775"/>
              <a:gd name="connsiteY308" fmla="*/ 1593533 h 6858001"/>
              <a:gd name="connsiteX309" fmla="*/ 4000159 w 8009775"/>
              <a:gd name="connsiteY309" fmla="*/ 1588771 h 6858001"/>
              <a:gd name="connsiteX310" fmla="*/ 4003705 w 8009775"/>
              <a:gd name="connsiteY310" fmla="*/ 1583691 h 6858001"/>
              <a:gd name="connsiteX311" fmla="*/ 4007548 w 8009775"/>
              <a:gd name="connsiteY311" fmla="*/ 1578928 h 6858001"/>
              <a:gd name="connsiteX312" fmla="*/ 4010799 w 8009775"/>
              <a:gd name="connsiteY312" fmla="*/ 1573849 h 6858001"/>
              <a:gd name="connsiteX313" fmla="*/ 4013459 w 8009775"/>
              <a:gd name="connsiteY313" fmla="*/ 1568451 h 6858001"/>
              <a:gd name="connsiteX314" fmla="*/ 4016415 w 8009775"/>
              <a:gd name="connsiteY314" fmla="*/ 1563054 h 6858001"/>
              <a:gd name="connsiteX315" fmla="*/ 4018484 w 8009775"/>
              <a:gd name="connsiteY315" fmla="*/ 1557339 h 6858001"/>
              <a:gd name="connsiteX316" fmla="*/ 4020848 w 8009775"/>
              <a:gd name="connsiteY316" fmla="*/ 1551941 h 6858001"/>
              <a:gd name="connsiteX317" fmla="*/ 4022621 w 8009775"/>
              <a:gd name="connsiteY317" fmla="*/ 1546226 h 6858001"/>
              <a:gd name="connsiteX318" fmla="*/ 4024395 w 8009775"/>
              <a:gd name="connsiteY318" fmla="*/ 1540511 h 6858001"/>
              <a:gd name="connsiteX319" fmla="*/ 4025282 w 8009775"/>
              <a:gd name="connsiteY319" fmla="*/ 1534478 h 6858001"/>
              <a:gd name="connsiteX320" fmla="*/ 4026464 w 8009775"/>
              <a:gd name="connsiteY320" fmla="*/ 1528763 h 6858001"/>
              <a:gd name="connsiteX321" fmla="*/ 4027055 w 8009775"/>
              <a:gd name="connsiteY321" fmla="*/ 1522731 h 6858001"/>
              <a:gd name="connsiteX322" fmla="*/ 4027646 w 8009775"/>
              <a:gd name="connsiteY322" fmla="*/ 1517016 h 6858001"/>
              <a:gd name="connsiteX323" fmla="*/ 4027646 w 8009775"/>
              <a:gd name="connsiteY323" fmla="*/ 1510984 h 6858001"/>
              <a:gd name="connsiteX324" fmla="*/ 4027646 w 8009775"/>
              <a:gd name="connsiteY324" fmla="*/ 1505268 h 6858001"/>
              <a:gd name="connsiteX325" fmla="*/ 4027055 w 8009775"/>
              <a:gd name="connsiteY325" fmla="*/ 1499553 h 6858001"/>
              <a:gd name="connsiteX326" fmla="*/ 4026464 w 8009775"/>
              <a:gd name="connsiteY326" fmla="*/ 1493204 h 6858001"/>
              <a:gd name="connsiteX327" fmla="*/ 4025282 w 8009775"/>
              <a:gd name="connsiteY327" fmla="*/ 1487489 h 6858001"/>
              <a:gd name="connsiteX328" fmla="*/ 4024395 w 8009775"/>
              <a:gd name="connsiteY328" fmla="*/ 1481773 h 6858001"/>
              <a:gd name="connsiteX329" fmla="*/ 4022621 w 8009775"/>
              <a:gd name="connsiteY329" fmla="*/ 1476058 h 6858001"/>
              <a:gd name="connsiteX330" fmla="*/ 4020848 w 8009775"/>
              <a:gd name="connsiteY330" fmla="*/ 1470343 h 6858001"/>
              <a:gd name="connsiteX331" fmla="*/ 4018484 w 8009775"/>
              <a:gd name="connsiteY331" fmla="*/ 1464629 h 6858001"/>
              <a:gd name="connsiteX332" fmla="*/ 4016415 w 8009775"/>
              <a:gd name="connsiteY332" fmla="*/ 1459231 h 6858001"/>
              <a:gd name="connsiteX333" fmla="*/ 4013459 w 8009775"/>
              <a:gd name="connsiteY333" fmla="*/ 1453834 h 6858001"/>
              <a:gd name="connsiteX334" fmla="*/ 4010799 w 8009775"/>
              <a:gd name="connsiteY334" fmla="*/ 1448436 h 6858001"/>
              <a:gd name="connsiteX335" fmla="*/ 4007548 w 8009775"/>
              <a:gd name="connsiteY335" fmla="*/ 1443356 h 6858001"/>
              <a:gd name="connsiteX336" fmla="*/ 4003705 w 8009775"/>
              <a:gd name="connsiteY336" fmla="*/ 1438275 h 6858001"/>
              <a:gd name="connsiteX337" fmla="*/ 4000159 w 8009775"/>
              <a:gd name="connsiteY337" fmla="*/ 1433195 h 6858001"/>
              <a:gd name="connsiteX338" fmla="*/ 3996021 w 8009775"/>
              <a:gd name="connsiteY338" fmla="*/ 1428751 h 6858001"/>
              <a:gd name="connsiteX339" fmla="*/ 3991587 w 8009775"/>
              <a:gd name="connsiteY339" fmla="*/ 1423988 h 6858001"/>
              <a:gd name="connsiteX340" fmla="*/ 3323022 w 8009775"/>
              <a:gd name="connsiteY340" fmla="*/ 755333 h 6858001"/>
              <a:gd name="connsiteX341" fmla="*/ 3316815 w 8009775"/>
              <a:gd name="connsiteY341" fmla="*/ 748348 h 6858001"/>
              <a:gd name="connsiteX342" fmla="*/ 3310904 w 8009775"/>
              <a:gd name="connsiteY342" fmla="*/ 741045 h 6858001"/>
              <a:gd name="connsiteX343" fmla="*/ 3305584 w 8009775"/>
              <a:gd name="connsiteY343" fmla="*/ 733108 h 6858001"/>
              <a:gd name="connsiteX344" fmla="*/ 3300855 w 8009775"/>
              <a:gd name="connsiteY344" fmla="*/ 725170 h 6858001"/>
              <a:gd name="connsiteX345" fmla="*/ 3297308 w 8009775"/>
              <a:gd name="connsiteY345" fmla="*/ 716915 h 6858001"/>
              <a:gd name="connsiteX346" fmla="*/ 3293761 w 8009775"/>
              <a:gd name="connsiteY346" fmla="*/ 708660 h 6858001"/>
              <a:gd name="connsiteX347" fmla="*/ 3291101 w 8009775"/>
              <a:gd name="connsiteY347" fmla="*/ 699770 h 6858001"/>
              <a:gd name="connsiteX348" fmla="*/ 3289328 w 8009775"/>
              <a:gd name="connsiteY348" fmla="*/ 691198 h 6858001"/>
              <a:gd name="connsiteX349" fmla="*/ 2596527 w 8009775"/>
              <a:gd name="connsiteY349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488 w 8009775"/>
              <a:gd name="connsiteY68" fmla="*/ 0 h 6858001"/>
              <a:gd name="connsiteX69" fmla="*/ 0 w 8009775"/>
              <a:gd name="connsiteY69" fmla="*/ 0 h 6858001"/>
              <a:gd name="connsiteX70" fmla="*/ 0 w 8009775"/>
              <a:gd name="connsiteY70" fmla="*/ 6858000 h 6858001"/>
              <a:gd name="connsiteX71" fmla="*/ 7507651 w 8009775"/>
              <a:gd name="connsiteY71" fmla="*/ 6858001 h 6858001"/>
              <a:gd name="connsiteX72" fmla="*/ 8009775 w 8009775"/>
              <a:gd name="connsiteY72" fmla="*/ 6858000 h 6858001"/>
              <a:gd name="connsiteX73" fmla="*/ 3996316 w 8009775"/>
              <a:gd name="connsiteY73" fmla="*/ 2818448 h 6858001"/>
              <a:gd name="connsiteX74" fmla="*/ 3980947 w 8009775"/>
              <a:gd name="connsiteY74" fmla="*/ 2804795 h 6858001"/>
              <a:gd name="connsiteX75" fmla="*/ 3965282 w 8009775"/>
              <a:gd name="connsiteY75" fmla="*/ 2791144 h 6858001"/>
              <a:gd name="connsiteX76" fmla="*/ 3950799 w 8009775"/>
              <a:gd name="connsiteY76" fmla="*/ 2776856 h 6858001"/>
              <a:gd name="connsiteX77" fmla="*/ 3936021 w 8009775"/>
              <a:gd name="connsiteY77" fmla="*/ 2762568 h 6858001"/>
              <a:gd name="connsiteX78" fmla="*/ 3001744 w 8009775"/>
              <a:gd name="connsiteY78" fmla="*/ 1828166 h 6858001"/>
              <a:gd name="connsiteX79" fmla="*/ 2997311 w 8009775"/>
              <a:gd name="connsiteY79" fmla="*/ 1823404 h 6858001"/>
              <a:gd name="connsiteX80" fmla="*/ 2992878 w 8009775"/>
              <a:gd name="connsiteY80" fmla="*/ 1818640 h 6858001"/>
              <a:gd name="connsiteX81" fmla="*/ 2989331 w 8009775"/>
              <a:gd name="connsiteY81" fmla="*/ 1814195 h 6858001"/>
              <a:gd name="connsiteX82" fmla="*/ 2985784 w 8009775"/>
              <a:gd name="connsiteY82" fmla="*/ 1808799 h 6858001"/>
              <a:gd name="connsiteX83" fmla="*/ 2982533 w 8009775"/>
              <a:gd name="connsiteY83" fmla="*/ 1803718 h 6858001"/>
              <a:gd name="connsiteX84" fmla="*/ 2979873 w 8009775"/>
              <a:gd name="connsiteY84" fmla="*/ 1798321 h 6858001"/>
              <a:gd name="connsiteX85" fmla="*/ 2976917 w 8009775"/>
              <a:gd name="connsiteY85" fmla="*/ 1792924 h 6858001"/>
              <a:gd name="connsiteX86" fmla="*/ 2974552 w 8009775"/>
              <a:gd name="connsiteY86" fmla="*/ 1787526 h 6858001"/>
              <a:gd name="connsiteX87" fmla="*/ 2972484 w 8009775"/>
              <a:gd name="connsiteY87" fmla="*/ 1781811 h 6858001"/>
              <a:gd name="connsiteX88" fmla="*/ 2970710 w 8009775"/>
              <a:gd name="connsiteY88" fmla="*/ 1776095 h 6858001"/>
              <a:gd name="connsiteX89" fmla="*/ 2968937 w 8009775"/>
              <a:gd name="connsiteY89" fmla="*/ 1770380 h 6858001"/>
              <a:gd name="connsiteX90" fmla="*/ 2967755 w 8009775"/>
              <a:gd name="connsiteY90" fmla="*/ 1764665 h 6858001"/>
              <a:gd name="connsiteX91" fmla="*/ 2966868 w 8009775"/>
              <a:gd name="connsiteY91" fmla="*/ 1758634 h 6858001"/>
              <a:gd name="connsiteX92" fmla="*/ 2965981 w 8009775"/>
              <a:gd name="connsiteY92" fmla="*/ 1752919 h 6858001"/>
              <a:gd name="connsiteX93" fmla="*/ 2965686 w 8009775"/>
              <a:gd name="connsiteY93" fmla="*/ 1746885 h 6858001"/>
              <a:gd name="connsiteX94" fmla="*/ 2965686 w 8009775"/>
              <a:gd name="connsiteY94" fmla="*/ 1741170 h 6858001"/>
              <a:gd name="connsiteX95" fmla="*/ 2965686 w 8009775"/>
              <a:gd name="connsiteY95" fmla="*/ 1735139 h 6858001"/>
              <a:gd name="connsiteX96" fmla="*/ 2965981 w 8009775"/>
              <a:gd name="connsiteY96" fmla="*/ 1729424 h 6858001"/>
              <a:gd name="connsiteX97" fmla="*/ 2966868 w 8009775"/>
              <a:gd name="connsiteY97" fmla="*/ 1723074 h 6858001"/>
              <a:gd name="connsiteX98" fmla="*/ 2967755 w 8009775"/>
              <a:gd name="connsiteY98" fmla="*/ 1717358 h 6858001"/>
              <a:gd name="connsiteX99" fmla="*/ 2968937 w 8009775"/>
              <a:gd name="connsiteY99" fmla="*/ 1711643 h 6858001"/>
              <a:gd name="connsiteX100" fmla="*/ 2970710 w 8009775"/>
              <a:gd name="connsiteY100" fmla="*/ 1705929 h 6858001"/>
              <a:gd name="connsiteX101" fmla="*/ 2972484 w 8009775"/>
              <a:gd name="connsiteY101" fmla="*/ 1700214 h 6858001"/>
              <a:gd name="connsiteX102" fmla="*/ 2974552 w 8009775"/>
              <a:gd name="connsiteY102" fmla="*/ 1694816 h 6858001"/>
              <a:gd name="connsiteX103" fmla="*/ 2976917 w 8009775"/>
              <a:gd name="connsiteY103" fmla="*/ 1689101 h 6858001"/>
              <a:gd name="connsiteX104" fmla="*/ 2979873 w 8009775"/>
              <a:gd name="connsiteY104" fmla="*/ 1683703 h 6858001"/>
              <a:gd name="connsiteX105" fmla="*/ 2982533 w 8009775"/>
              <a:gd name="connsiteY105" fmla="*/ 1678305 h 6858001"/>
              <a:gd name="connsiteX106" fmla="*/ 2985784 w 8009775"/>
              <a:gd name="connsiteY106" fmla="*/ 1673226 h 6858001"/>
              <a:gd name="connsiteX107" fmla="*/ 2989331 w 8009775"/>
              <a:gd name="connsiteY107" fmla="*/ 1668145 h 6858001"/>
              <a:gd name="connsiteX108" fmla="*/ 2992878 w 8009775"/>
              <a:gd name="connsiteY108" fmla="*/ 1663066 h 6858001"/>
              <a:gd name="connsiteX109" fmla="*/ 2997311 w 8009775"/>
              <a:gd name="connsiteY109" fmla="*/ 1658621 h 6858001"/>
              <a:gd name="connsiteX110" fmla="*/ 3001744 w 8009775"/>
              <a:gd name="connsiteY110" fmla="*/ 1653859 h 6858001"/>
              <a:gd name="connsiteX111" fmla="*/ 3006178 w 8009775"/>
              <a:gd name="connsiteY111" fmla="*/ 1649414 h 6858001"/>
              <a:gd name="connsiteX112" fmla="*/ 3010907 w 8009775"/>
              <a:gd name="connsiteY112" fmla="*/ 1645603 h 6858001"/>
              <a:gd name="connsiteX113" fmla="*/ 3015932 w 8009775"/>
              <a:gd name="connsiteY113" fmla="*/ 1641794 h 6858001"/>
              <a:gd name="connsiteX114" fmla="*/ 3020956 w 8009775"/>
              <a:gd name="connsiteY114" fmla="*/ 1637984 h 6858001"/>
              <a:gd name="connsiteX115" fmla="*/ 3025981 w 8009775"/>
              <a:gd name="connsiteY115" fmla="*/ 1634809 h 6858001"/>
              <a:gd name="connsiteX116" fmla="*/ 3031596 w 8009775"/>
              <a:gd name="connsiteY116" fmla="*/ 1631950 h 6858001"/>
              <a:gd name="connsiteX117" fmla="*/ 3036916 w 8009775"/>
              <a:gd name="connsiteY117" fmla="*/ 1629094 h 6858001"/>
              <a:gd name="connsiteX118" fmla="*/ 3042532 w 8009775"/>
              <a:gd name="connsiteY118" fmla="*/ 1626871 h 6858001"/>
              <a:gd name="connsiteX119" fmla="*/ 3047852 w 8009775"/>
              <a:gd name="connsiteY119" fmla="*/ 1624649 h 6858001"/>
              <a:gd name="connsiteX120" fmla="*/ 3053764 w 8009775"/>
              <a:gd name="connsiteY120" fmla="*/ 1623061 h 6858001"/>
              <a:gd name="connsiteX121" fmla="*/ 3059379 w 8009775"/>
              <a:gd name="connsiteY121" fmla="*/ 1621155 h 6858001"/>
              <a:gd name="connsiteX122" fmla="*/ 3065291 w 8009775"/>
              <a:gd name="connsiteY122" fmla="*/ 1620204 h 6858001"/>
              <a:gd name="connsiteX123" fmla="*/ 3070906 w 8009775"/>
              <a:gd name="connsiteY123" fmla="*/ 1618934 h 6858001"/>
              <a:gd name="connsiteX124" fmla="*/ 3077113 w 8009775"/>
              <a:gd name="connsiteY124" fmla="*/ 1618299 h 6858001"/>
              <a:gd name="connsiteX125" fmla="*/ 3082729 w 8009775"/>
              <a:gd name="connsiteY125" fmla="*/ 1617981 h 6858001"/>
              <a:gd name="connsiteX126" fmla="*/ 3088936 w 8009775"/>
              <a:gd name="connsiteY126" fmla="*/ 1617981 h 6858001"/>
              <a:gd name="connsiteX127" fmla="*/ 3094552 w 8009775"/>
              <a:gd name="connsiteY127" fmla="*/ 1617981 h 6858001"/>
              <a:gd name="connsiteX128" fmla="*/ 3100758 w 8009775"/>
              <a:gd name="connsiteY128" fmla="*/ 1618299 h 6858001"/>
              <a:gd name="connsiteX129" fmla="*/ 3106670 w 8009775"/>
              <a:gd name="connsiteY129" fmla="*/ 1618934 h 6858001"/>
              <a:gd name="connsiteX130" fmla="*/ 3112285 w 8009775"/>
              <a:gd name="connsiteY130" fmla="*/ 1620204 h 6858001"/>
              <a:gd name="connsiteX131" fmla="*/ 3117901 w 8009775"/>
              <a:gd name="connsiteY131" fmla="*/ 1621155 h 6858001"/>
              <a:gd name="connsiteX132" fmla="*/ 3123812 w 8009775"/>
              <a:gd name="connsiteY132" fmla="*/ 1623061 h 6858001"/>
              <a:gd name="connsiteX133" fmla="*/ 3129428 w 8009775"/>
              <a:gd name="connsiteY133" fmla="*/ 1624649 h 6858001"/>
              <a:gd name="connsiteX134" fmla="*/ 3135339 w 8009775"/>
              <a:gd name="connsiteY134" fmla="*/ 1626871 h 6858001"/>
              <a:gd name="connsiteX135" fmla="*/ 3140660 w 8009775"/>
              <a:gd name="connsiteY135" fmla="*/ 1629094 h 6858001"/>
              <a:gd name="connsiteX136" fmla="*/ 3145980 w 8009775"/>
              <a:gd name="connsiteY136" fmla="*/ 1631950 h 6858001"/>
              <a:gd name="connsiteX137" fmla="*/ 3151300 w 8009775"/>
              <a:gd name="connsiteY137" fmla="*/ 1634809 h 6858001"/>
              <a:gd name="connsiteX138" fmla="*/ 3156324 w 8009775"/>
              <a:gd name="connsiteY138" fmla="*/ 1637984 h 6858001"/>
              <a:gd name="connsiteX139" fmla="*/ 3161349 w 8009775"/>
              <a:gd name="connsiteY139" fmla="*/ 1641794 h 6858001"/>
              <a:gd name="connsiteX140" fmla="*/ 3166374 w 8009775"/>
              <a:gd name="connsiteY140" fmla="*/ 1645603 h 6858001"/>
              <a:gd name="connsiteX141" fmla="*/ 3171102 w 8009775"/>
              <a:gd name="connsiteY141" fmla="*/ 1649414 h 6858001"/>
              <a:gd name="connsiteX142" fmla="*/ 3175832 w 8009775"/>
              <a:gd name="connsiteY142" fmla="*/ 1653859 h 6858001"/>
              <a:gd name="connsiteX143" fmla="*/ 3844692 w 8009775"/>
              <a:gd name="connsiteY143" fmla="*/ 2322830 h 6858001"/>
              <a:gd name="connsiteX144" fmla="*/ 3849421 w 8009775"/>
              <a:gd name="connsiteY144" fmla="*/ 2326958 h 6858001"/>
              <a:gd name="connsiteX145" fmla="*/ 3854150 w 8009775"/>
              <a:gd name="connsiteY145" fmla="*/ 2331085 h 6858001"/>
              <a:gd name="connsiteX146" fmla="*/ 3859175 w 8009775"/>
              <a:gd name="connsiteY146" fmla="*/ 2334895 h 6858001"/>
              <a:gd name="connsiteX147" fmla="*/ 3864199 w 8009775"/>
              <a:gd name="connsiteY147" fmla="*/ 2338705 h 6858001"/>
              <a:gd name="connsiteX148" fmla="*/ 3869224 w 8009775"/>
              <a:gd name="connsiteY148" fmla="*/ 2341880 h 6858001"/>
              <a:gd name="connsiteX149" fmla="*/ 3874544 w 8009775"/>
              <a:gd name="connsiteY149" fmla="*/ 2344738 h 6858001"/>
              <a:gd name="connsiteX150" fmla="*/ 3879864 w 8009775"/>
              <a:gd name="connsiteY150" fmla="*/ 2347595 h 6858001"/>
              <a:gd name="connsiteX151" fmla="*/ 3885775 w 8009775"/>
              <a:gd name="connsiteY151" fmla="*/ 2349818 h 6858001"/>
              <a:gd name="connsiteX152" fmla="*/ 3891096 w 8009775"/>
              <a:gd name="connsiteY152" fmla="*/ 2351723 h 6858001"/>
              <a:gd name="connsiteX153" fmla="*/ 3896711 w 8009775"/>
              <a:gd name="connsiteY153" fmla="*/ 2353628 h 6858001"/>
              <a:gd name="connsiteX154" fmla="*/ 3902623 w 8009775"/>
              <a:gd name="connsiteY154" fmla="*/ 2355534 h 6858001"/>
              <a:gd name="connsiteX155" fmla="*/ 3908238 w 8009775"/>
              <a:gd name="connsiteY155" fmla="*/ 2356485 h 6858001"/>
              <a:gd name="connsiteX156" fmla="*/ 3914150 w 8009775"/>
              <a:gd name="connsiteY156" fmla="*/ 2357755 h 6858001"/>
              <a:gd name="connsiteX157" fmla="*/ 3920061 w 8009775"/>
              <a:gd name="connsiteY157" fmla="*/ 2358391 h 6858001"/>
              <a:gd name="connsiteX158" fmla="*/ 3925972 w 8009775"/>
              <a:gd name="connsiteY158" fmla="*/ 2358708 h 6858001"/>
              <a:gd name="connsiteX159" fmla="*/ 3931883 w 8009775"/>
              <a:gd name="connsiteY159" fmla="*/ 2358708 h 6858001"/>
              <a:gd name="connsiteX160" fmla="*/ 3937795 w 8009775"/>
              <a:gd name="connsiteY160" fmla="*/ 2358708 h 6858001"/>
              <a:gd name="connsiteX161" fmla="*/ 3943706 w 8009775"/>
              <a:gd name="connsiteY161" fmla="*/ 2358391 h 6858001"/>
              <a:gd name="connsiteX162" fmla="*/ 3949617 w 8009775"/>
              <a:gd name="connsiteY162" fmla="*/ 2357755 h 6858001"/>
              <a:gd name="connsiteX163" fmla="*/ 3955233 w 8009775"/>
              <a:gd name="connsiteY163" fmla="*/ 2356485 h 6858001"/>
              <a:gd name="connsiteX164" fmla="*/ 3961144 w 8009775"/>
              <a:gd name="connsiteY164" fmla="*/ 2355534 h 6858001"/>
              <a:gd name="connsiteX165" fmla="*/ 3966760 w 8009775"/>
              <a:gd name="connsiteY165" fmla="*/ 2353628 h 6858001"/>
              <a:gd name="connsiteX166" fmla="*/ 3972671 w 8009775"/>
              <a:gd name="connsiteY166" fmla="*/ 2351723 h 6858001"/>
              <a:gd name="connsiteX167" fmla="*/ 3978287 w 8009775"/>
              <a:gd name="connsiteY167" fmla="*/ 2349818 h 6858001"/>
              <a:gd name="connsiteX168" fmla="*/ 3983607 w 8009775"/>
              <a:gd name="connsiteY168" fmla="*/ 2347595 h 6858001"/>
              <a:gd name="connsiteX169" fmla="*/ 3989223 w 8009775"/>
              <a:gd name="connsiteY169" fmla="*/ 2344738 h 6858001"/>
              <a:gd name="connsiteX170" fmla="*/ 3994543 w 8009775"/>
              <a:gd name="connsiteY170" fmla="*/ 2341880 h 6858001"/>
              <a:gd name="connsiteX171" fmla="*/ 3999567 w 8009775"/>
              <a:gd name="connsiteY171" fmla="*/ 2338705 h 6858001"/>
              <a:gd name="connsiteX172" fmla="*/ 4004888 w 8009775"/>
              <a:gd name="connsiteY172" fmla="*/ 2334895 h 6858001"/>
              <a:gd name="connsiteX173" fmla="*/ 4009617 w 8009775"/>
              <a:gd name="connsiteY173" fmla="*/ 2331085 h 6858001"/>
              <a:gd name="connsiteX174" fmla="*/ 4014346 w 8009775"/>
              <a:gd name="connsiteY174" fmla="*/ 2326958 h 6858001"/>
              <a:gd name="connsiteX175" fmla="*/ 4018779 w 8009775"/>
              <a:gd name="connsiteY175" fmla="*/ 2322830 h 6858001"/>
              <a:gd name="connsiteX176" fmla="*/ 4023213 w 8009775"/>
              <a:gd name="connsiteY176" fmla="*/ 2318068 h 6858001"/>
              <a:gd name="connsiteX177" fmla="*/ 4027646 w 8009775"/>
              <a:gd name="connsiteY177" fmla="*/ 2313306 h 6858001"/>
              <a:gd name="connsiteX178" fmla="*/ 4031193 w 8009775"/>
              <a:gd name="connsiteY178" fmla="*/ 2308544 h 6858001"/>
              <a:gd name="connsiteX179" fmla="*/ 4034740 w 8009775"/>
              <a:gd name="connsiteY179" fmla="*/ 2303463 h 6858001"/>
              <a:gd name="connsiteX180" fmla="*/ 4037991 w 8009775"/>
              <a:gd name="connsiteY180" fmla="*/ 2298384 h 6858001"/>
              <a:gd name="connsiteX181" fmla="*/ 4040946 w 8009775"/>
              <a:gd name="connsiteY181" fmla="*/ 2292985 h 6858001"/>
              <a:gd name="connsiteX182" fmla="*/ 4043606 w 8009775"/>
              <a:gd name="connsiteY182" fmla="*/ 2287588 h 6858001"/>
              <a:gd name="connsiteX183" fmla="*/ 4046267 w 8009775"/>
              <a:gd name="connsiteY183" fmla="*/ 2281873 h 6858001"/>
              <a:gd name="connsiteX184" fmla="*/ 4048040 w 8009775"/>
              <a:gd name="connsiteY184" fmla="*/ 2276476 h 6858001"/>
              <a:gd name="connsiteX185" fmla="*/ 4050109 w 8009775"/>
              <a:gd name="connsiteY185" fmla="*/ 2270761 h 6858001"/>
              <a:gd name="connsiteX186" fmla="*/ 4051587 w 8009775"/>
              <a:gd name="connsiteY186" fmla="*/ 2265046 h 6858001"/>
              <a:gd name="connsiteX187" fmla="*/ 4052769 w 8009775"/>
              <a:gd name="connsiteY187" fmla="*/ 2259331 h 6858001"/>
              <a:gd name="connsiteX188" fmla="*/ 4053656 w 8009775"/>
              <a:gd name="connsiteY188" fmla="*/ 2253298 h 6858001"/>
              <a:gd name="connsiteX189" fmla="*/ 4054542 w 8009775"/>
              <a:gd name="connsiteY189" fmla="*/ 2247266 h 6858001"/>
              <a:gd name="connsiteX190" fmla="*/ 4054838 w 8009775"/>
              <a:gd name="connsiteY190" fmla="*/ 2241551 h 6858001"/>
              <a:gd name="connsiteX191" fmla="*/ 4055133 w 8009775"/>
              <a:gd name="connsiteY191" fmla="*/ 2235519 h 6858001"/>
              <a:gd name="connsiteX192" fmla="*/ 4054838 w 8009775"/>
              <a:gd name="connsiteY192" fmla="*/ 2229804 h 6858001"/>
              <a:gd name="connsiteX193" fmla="*/ 4054542 w 8009775"/>
              <a:gd name="connsiteY193" fmla="*/ 2223770 h 6858001"/>
              <a:gd name="connsiteX194" fmla="*/ 4053656 w 8009775"/>
              <a:gd name="connsiteY194" fmla="*/ 2217739 h 6858001"/>
              <a:gd name="connsiteX195" fmla="*/ 4052769 w 8009775"/>
              <a:gd name="connsiteY195" fmla="*/ 2212024 h 6858001"/>
              <a:gd name="connsiteX196" fmla="*/ 4051587 w 8009775"/>
              <a:gd name="connsiteY196" fmla="*/ 2206309 h 6858001"/>
              <a:gd name="connsiteX197" fmla="*/ 4050109 w 8009775"/>
              <a:gd name="connsiteY197" fmla="*/ 2200593 h 6858001"/>
              <a:gd name="connsiteX198" fmla="*/ 4048040 w 8009775"/>
              <a:gd name="connsiteY198" fmla="*/ 2194878 h 6858001"/>
              <a:gd name="connsiteX199" fmla="*/ 4046267 w 8009775"/>
              <a:gd name="connsiteY199" fmla="*/ 2189163 h 6858001"/>
              <a:gd name="connsiteX200" fmla="*/ 4043606 w 8009775"/>
              <a:gd name="connsiteY200" fmla="*/ 2183765 h 6858001"/>
              <a:gd name="connsiteX201" fmla="*/ 4040946 w 8009775"/>
              <a:gd name="connsiteY201" fmla="*/ 2178368 h 6858001"/>
              <a:gd name="connsiteX202" fmla="*/ 4037991 w 8009775"/>
              <a:gd name="connsiteY202" fmla="*/ 2172970 h 6858001"/>
              <a:gd name="connsiteX203" fmla="*/ 4034740 w 8009775"/>
              <a:gd name="connsiteY203" fmla="*/ 2167890 h 6858001"/>
              <a:gd name="connsiteX204" fmla="*/ 4031193 w 8009775"/>
              <a:gd name="connsiteY204" fmla="*/ 2162494 h 6858001"/>
              <a:gd name="connsiteX205" fmla="*/ 4027646 w 8009775"/>
              <a:gd name="connsiteY205" fmla="*/ 2157730 h 6858001"/>
              <a:gd name="connsiteX206" fmla="*/ 4023213 w 8009775"/>
              <a:gd name="connsiteY206" fmla="*/ 2153285 h 6858001"/>
              <a:gd name="connsiteX207" fmla="*/ 4018779 w 8009775"/>
              <a:gd name="connsiteY207" fmla="*/ 2148523 h 6858001"/>
              <a:gd name="connsiteX208" fmla="*/ 3632182 w 8009775"/>
              <a:gd name="connsiteY208" fmla="*/ 1761490 h 6858001"/>
              <a:gd name="connsiteX209" fmla="*/ 3435928 w 8009775"/>
              <a:gd name="connsiteY209" fmla="*/ 1565276 h 6858001"/>
              <a:gd name="connsiteX210" fmla="*/ 3431198 w 8009775"/>
              <a:gd name="connsiteY210" fmla="*/ 1560514 h 6858001"/>
              <a:gd name="connsiteX211" fmla="*/ 3427356 w 8009775"/>
              <a:gd name="connsiteY211" fmla="*/ 1555751 h 6858001"/>
              <a:gd name="connsiteX212" fmla="*/ 3423218 w 8009775"/>
              <a:gd name="connsiteY212" fmla="*/ 1550671 h 6858001"/>
              <a:gd name="connsiteX213" fmla="*/ 3420262 w 8009775"/>
              <a:gd name="connsiteY213" fmla="*/ 1545909 h 6858001"/>
              <a:gd name="connsiteX214" fmla="*/ 3417012 w 8009775"/>
              <a:gd name="connsiteY214" fmla="*/ 1540829 h 6858001"/>
              <a:gd name="connsiteX215" fmla="*/ 3413760 w 8009775"/>
              <a:gd name="connsiteY215" fmla="*/ 1535430 h 6858001"/>
              <a:gd name="connsiteX216" fmla="*/ 3411100 w 8009775"/>
              <a:gd name="connsiteY216" fmla="*/ 1530034 h 6858001"/>
              <a:gd name="connsiteX217" fmla="*/ 3408736 w 8009775"/>
              <a:gd name="connsiteY217" fmla="*/ 1524635 h 6858001"/>
              <a:gd name="connsiteX218" fmla="*/ 3406371 w 8009775"/>
              <a:gd name="connsiteY218" fmla="*/ 1518920 h 6858001"/>
              <a:gd name="connsiteX219" fmla="*/ 3404598 w 8009775"/>
              <a:gd name="connsiteY219" fmla="*/ 1513205 h 6858001"/>
              <a:gd name="connsiteX220" fmla="*/ 3403120 w 8009775"/>
              <a:gd name="connsiteY220" fmla="*/ 1507174 h 6858001"/>
              <a:gd name="connsiteX221" fmla="*/ 3401938 w 8009775"/>
              <a:gd name="connsiteY221" fmla="*/ 1501459 h 6858001"/>
              <a:gd name="connsiteX222" fmla="*/ 3401051 w 8009775"/>
              <a:gd name="connsiteY222" fmla="*/ 1495744 h 6858001"/>
              <a:gd name="connsiteX223" fmla="*/ 3400460 w 8009775"/>
              <a:gd name="connsiteY223" fmla="*/ 1489710 h 6858001"/>
              <a:gd name="connsiteX224" fmla="*/ 3399869 w 8009775"/>
              <a:gd name="connsiteY224" fmla="*/ 1483995 h 6858001"/>
              <a:gd name="connsiteX225" fmla="*/ 3399573 w 8009775"/>
              <a:gd name="connsiteY225" fmla="*/ 1478281 h 6858001"/>
              <a:gd name="connsiteX226" fmla="*/ 3399869 w 8009775"/>
              <a:gd name="connsiteY226" fmla="*/ 1472249 h 6858001"/>
              <a:gd name="connsiteX227" fmla="*/ 3400460 w 8009775"/>
              <a:gd name="connsiteY227" fmla="*/ 1466215 h 6858001"/>
              <a:gd name="connsiteX228" fmla="*/ 3401051 w 8009775"/>
              <a:gd name="connsiteY228" fmla="*/ 1460183 h 6858001"/>
              <a:gd name="connsiteX229" fmla="*/ 3401938 w 8009775"/>
              <a:gd name="connsiteY229" fmla="*/ 1454468 h 6858001"/>
              <a:gd name="connsiteX230" fmla="*/ 3403120 w 8009775"/>
              <a:gd name="connsiteY230" fmla="*/ 1448754 h 6858001"/>
              <a:gd name="connsiteX231" fmla="*/ 3404598 w 8009775"/>
              <a:gd name="connsiteY231" fmla="*/ 1443039 h 6858001"/>
              <a:gd name="connsiteX232" fmla="*/ 3406371 w 8009775"/>
              <a:gd name="connsiteY232" fmla="*/ 1437324 h 6858001"/>
              <a:gd name="connsiteX233" fmla="*/ 3408736 w 8009775"/>
              <a:gd name="connsiteY233" fmla="*/ 1431609 h 6858001"/>
              <a:gd name="connsiteX234" fmla="*/ 3411100 w 8009775"/>
              <a:gd name="connsiteY234" fmla="*/ 1426211 h 6858001"/>
              <a:gd name="connsiteX235" fmla="*/ 3413760 w 8009775"/>
              <a:gd name="connsiteY235" fmla="*/ 1420814 h 6858001"/>
              <a:gd name="connsiteX236" fmla="*/ 3417012 w 8009775"/>
              <a:gd name="connsiteY236" fmla="*/ 1415416 h 6858001"/>
              <a:gd name="connsiteX237" fmla="*/ 3420262 w 8009775"/>
              <a:gd name="connsiteY237" fmla="*/ 1410336 h 6858001"/>
              <a:gd name="connsiteX238" fmla="*/ 3423218 w 8009775"/>
              <a:gd name="connsiteY238" fmla="*/ 1405256 h 6858001"/>
              <a:gd name="connsiteX239" fmla="*/ 3427356 w 8009775"/>
              <a:gd name="connsiteY239" fmla="*/ 1400175 h 6858001"/>
              <a:gd name="connsiteX240" fmla="*/ 3431198 w 8009775"/>
              <a:gd name="connsiteY240" fmla="*/ 1395731 h 6858001"/>
              <a:gd name="connsiteX241" fmla="*/ 3435928 w 8009775"/>
              <a:gd name="connsiteY241" fmla="*/ 1390969 h 6858001"/>
              <a:gd name="connsiteX242" fmla="*/ 3440361 w 8009775"/>
              <a:gd name="connsiteY242" fmla="*/ 1386524 h 6858001"/>
              <a:gd name="connsiteX243" fmla="*/ 3445386 w 8009775"/>
              <a:gd name="connsiteY243" fmla="*/ 1382396 h 6858001"/>
              <a:gd name="connsiteX244" fmla="*/ 3449819 w 8009775"/>
              <a:gd name="connsiteY244" fmla="*/ 1378585 h 6858001"/>
              <a:gd name="connsiteX245" fmla="*/ 3454844 w 8009775"/>
              <a:gd name="connsiteY245" fmla="*/ 1375094 h 6858001"/>
              <a:gd name="connsiteX246" fmla="*/ 3460459 w 8009775"/>
              <a:gd name="connsiteY246" fmla="*/ 1371919 h 6858001"/>
              <a:gd name="connsiteX247" fmla="*/ 3465780 w 8009775"/>
              <a:gd name="connsiteY247" fmla="*/ 1369061 h 6858001"/>
              <a:gd name="connsiteX248" fmla="*/ 3471100 w 8009775"/>
              <a:gd name="connsiteY248" fmla="*/ 1366204 h 6858001"/>
              <a:gd name="connsiteX249" fmla="*/ 3476420 w 8009775"/>
              <a:gd name="connsiteY249" fmla="*/ 1363980 h 6858001"/>
              <a:gd name="connsiteX250" fmla="*/ 3482331 w 8009775"/>
              <a:gd name="connsiteY250" fmla="*/ 1361759 h 6858001"/>
              <a:gd name="connsiteX251" fmla="*/ 3487947 w 8009775"/>
              <a:gd name="connsiteY251" fmla="*/ 1360170 h 6858001"/>
              <a:gd name="connsiteX252" fmla="*/ 3493858 w 8009775"/>
              <a:gd name="connsiteY252" fmla="*/ 1358265 h 6858001"/>
              <a:gd name="connsiteX253" fmla="*/ 3499474 w 8009775"/>
              <a:gd name="connsiteY253" fmla="*/ 1357314 h 6858001"/>
              <a:gd name="connsiteX254" fmla="*/ 3505385 w 8009775"/>
              <a:gd name="connsiteY254" fmla="*/ 1356043 h 6858001"/>
              <a:gd name="connsiteX255" fmla="*/ 3511001 w 8009775"/>
              <a:gd name="connsiteY255" fmla="*/ 1355409 h 6858001"/>
              <a:gd name="connsiteX256" fmla="*/ 3517208 w 8009775"/>
              <a:gd name="connsiteY256" fmla="*/ 1355090 h 6858001"/>
              <a:gd name="connsiteX257" fmla="*/ 3522823 w 8009775"/>
              <a:gd name="connsiteY257" fmla="*/ 1354773 h 6858001"/>
              <a:gd name="connsiteX258" fmla="*/ 3529030 w 8009775"/>
              <a:gd name="connsiteY258" fmla="*/ 1355090 h 6858001"/>
              <a:gd name="connsiteX259" fmla="*/ 3534646 w 8009775"/>
              <a:gd name="connsiteY259" fmla="*/ 1355409 h 6858001"/>
              <a:gd name="connsiteX260" fmla="*/ 3540557 w 8009775"/>
              <a:gd name="connsiteY260" fmla="*/ 1356043 h 6858001"/>
              <a:gd name="connsiteX261" fmla="*/ 3546468 w 8009775"/>
              <a:gd name="connsiteY261" fmla="*/ 1357314 h 6858001"/>
              <a:gd name="connsiteX262" fmla="*/ 3552380 w 8009775"/>
              <a:gd name="connsiteY262" fmla="*/ 1358265 h 6858001"/>
              <a:gd name="connsiteX263" fmla="*/ 3557995 w 8009775"/>
              <a:gd name="connsiteY263" fmla="*/ 1360170 h 6858001"/>
              <a:gd name="connsiteX264" fmla="*/ 3563906 w 8009775"/>
              <a:gd name="connsiteY264" fmla="*/ 1361759 h 6858001"/>
              <a:gd name="connsiteX265" fmla="*/ 3569227 w 8009775"/>
              <a:gd name="connsiteY265" fmla="*/ 1363980 h 6858001"/>
              <a:gd name="connsiteX266" fmla="*/ 3574842 w 8009775"/>
              <a:gd name="connsiteY266" fmla="*/ 1366204 h 6858001"/>
              <a:gd name="connsiteX267" fmla="*/ 3580458 w 8009775"/>
              <a:gd name="connsiteY267" fmla="*/ 1369061 h 6858001"/>
              <a:gd name="connsiteX268" fmla="*/ 3585778 w 8009775"/>
              <a:gd name="connsiteY268" fmla="*/ 1371919 h 6858001"/>
              <a:gd name="connsiteX269" fmla="*/ 3590803 w 8009775"/>
              <a:gd name="connsiteY269" fmla="*/ 1375094 h 6858001"/>
              <a:gd name="connsiteX270" fmla="*/ 3595828 w 8009775"/>
              <a:gd name="connsiteY270" fmla="*/ 1378585 h 6858001"/>
              <a:gd name="connsiteX271" fmla="*/ 3600852 w 8009775"/>
              <a:gd name="connsiteY271" fmla="*/ 1382396 h 6858001"/>
              <a:gd name="connsiteX272" fmla="*/ 3605581 w 8009775"/>
              <a:gd name="connsiteY272" fmla="*/ 1386524 h 6858001"/>
              <a:gd name="connsiteX273" fmla="*/ 3610014 w 8009775"/>
              <a:gd name="connsiteY273" fmla="*/ 1390969 h 6858001"/>
              <a:gd name="connsiteX274" fmla="*/ 3817500 w 8009775"/>
              <a:gd name="connsiteY274" fmla="*/ 1598296 h 6858001"/>
              <a:gd name="connsiteX275" fmla="*/ 3821934 w 8009775"/>
              <a:gd name="connsiteY275" fmla="*/ 1602423 h 6858001"/>
              <a:gd name="connsiteX276" fmla="*/ 3826663 w 8009775"/>
              <a:gd name="connsiteY276" fmla="*/ 1606869 h 6858001"/>
              <a:gd name="connsiteX277" fmla="*/ 3831687 w 8009775"/>
              <a:gd name="connsiteY277" fmla="*/ 1610361 h 6858001"/>
              <a:gd name="connsiteX278" fmla="*/ 3836712 w 8009775"/>
              <a:gd name="connsiteY278" fmla="*/ 1613854 h 6858001"/>
              <a:gd name="connsiteX279" fmla="*/ 3841736 w 8009775"/>
              <a:gd name="connsiteY279" fmla="*/ 1617345 h 6858001"/>
              <a:gd name="connsiteX280" fmla="*/ 3847352 w 8009775"/>
              <a:gd name="connsiteY280" fmla="*/ 1620204 h 6858001"/>
              <a:gd name="connsiteX281" fmla="*/ 3852672 w 8009775"/>
              <a:gd name="connsiteY281" fmla="*/ 1623061 h 6858001"/>
              <a:gd name="connsiteX282" fmla="*/ 3857992 w 8009775"/>
              <a:gd name="connsiteY282" fmla="*/ 1625283 h 6858001"/>
              <a:gd name="connsiteX283" fmla="*/ 3863608 w 8009775"/>
              <a:gd name="connsiteY283" fmla="*/ 1627189 h 6858001"/>
              <a:gd name="connsiteX284" fmla="*/ 3869519 w 8009775"/>
              <a:gd name="connsiteY284" fmla="*/ 1629094 h 6858001"/>
              <a:gd name="connsiteX285" fmla="*/ 3875135 w 8009775"/>
              <a:gd name="connsiteY285" fmla="*/ 1630998 h 6858001"/>
              <a:gd name="connsiteX286" fmla="*/ 3881046 w 8009775"/>
              <a:gd name="connsiteY286" fmla="*/ 1631950 h 6858001"/>
              <a:gd name="connsiteX287" fmla="*/ 3886662 w 8009775"/>
              <a:gd name="connsiteY287" fmla="*/ 1632904 h 6858001"/>
              <a:gd name="connsiteX288" fmla="*/ 3892869 w 8009775"/>
              <a:gd name="connsiteY288" fmla="*/ 1633856 h 6858001"/>
              <a:gd name="connsiteX289" fmla="*/ 3898485 w 8009775"/>
              <a:gd name="connsiteY289" fmla="*/ 1634174 h 6858001"/>
              <a:gd name="connsiteX290" fmla="*/ 3904396 w 8009775"/>
              <a:gd name="connsiteY290" fmla="*/ 1634174 h 6858001"/>
              <a:gd name="connsiteX291" fmla="*/ 3910307 w 8009775"/>
              <a:gd name="connsiteY291" fmla="*/ 1634174 h 6858001"/>
              <a:gd name="connsiteX292" fmla="*/ 3916219 w 8009775"/>
              <a:gd name="connsiteY292" fmla="*/ 1633856 h 6858001"/>
              <a:gd name="connsiteX293" fmla="*/ 3922425 w 8009775"/>
              <a:gd name="connsiteY293" fmla="*/ 1632904 h 6858001"/>
              <a:gd name="connsiteX294" fmla="*/ 3928041 w 8009775"/>
              <a:gd name="connsiteY294" fmla="*/ 1631950 h 6858001"/>
              <a:gd name="connsiteX295" fmla="*/ 3933657 w 8009775"/>
              <a:gd name="connsiteY295" fmla="*/ 1630998 h 6858001"/>
              <a:gd name="connsiteX296" fmla="*/ 3939568 w 8009775"/>
              <a:gd name="connsiteY296" fmla="*/ 1629094 h 6858001"/>
              <a:gd name="connsiteX297" fmla="*/ 3945184 w 8009775"/>
              <a:gd name="connsiteY297" fmla="*/ 1627189 h 6858001"/>
              <a:gd name="connsiteX298" fmla="*/ 3950799 w 8009775"/>
              <a:gd name="connsiteY298" fmla="*/ 1625283 h 6858001"/>
              <a:gd name="connsiteX299" fmla="*/ 3956415 w 8009775"/>
              <a:gd name="connsiteY299" fmla="*/ 1623061 h 6858001"/>
              <a:gd name="connsiteX300" fmla="*/ 3961735 w 8009775"/>
              <a:gd name="connsiteY300" fmla="*/ 1620204 h 6858001"/>
              <a:gd name="connsiteX301" fmla="*/ 3967055 w 8009775"/>
              <a:gd name="connsiteY301" fmla="*/ 1617345 h 6858001"/>
              <a:gd name="connsiteX302" fmla="*/ 3972376 w 8009775"/>
              <a:gd name="connsiteY302" fmla="*/ 1613854 h 6858001"/>
              <a:gd name="connsiteX303" fmla="*/ 3977400 w 8009775"/>
              <a:gd name="connsiteY303" fmla="*/ 1610361 h 6858001"/>
              <a:gd name="connsiteX304" fmla="*/ 3982425 w 8009775"/>
              <a:gd name="connsiteY304" fmla="*/ 1606869 h 6858001"/>
              <a:gd name="connsiteX305" fmla="*/ 3986858 w 8009775"/>
              <a:gd name="connsiteY305" fmla="*/ 1602423 h 6858001"/>
              <a:gd name="connsiteX306" fmla="*/ 3991587 w 8009775"/>
              <a:gd name="connsiteY306" fmla="*/ 1598296 h 6858001"/>
              <a:gd name="connsiteX307" fmla="*/ 3996021 w 8009775"/>
              <a:gd name="connsiteY307" fmla="*/ 1593533 h 6858001"/>
              <a:gd name="connsiteX308" fmla="*/ 4000159 w 8009775"/>
              <a:gd name="connsiteY308" fmla="*/ 1588771 h 6858001"/>
              <a:gd name="connsiteX309" fmla="*/ 4003705 w 8009775"/>
              <a:gd name="connsiteY309" fmla="*/ 1583691 h 6858001"/>
              <a:gd name="connsiteX310" fmla="*/ 4007548 w 8009775"/>
              <a:gd name="connsiteY310" fmla="*/ 1578928 h 6858001"/>
              <a:gd name="connsiteX311" fmla="*/ 4010799 w 8009775"/>
              <a:gd name="connsiteY311" fmla="*/ 1573849 h 6858001"/>
              <a:gd name="connsiteX312" fmla="*/ 4013459 w 8009775"/>
              <a:gd name="connsiteY312" fmla="*/ 1568451 h 6858001"/>
              <a:gd name="connsiteX313" fmla="*/ 4016415 w 8009775"/>
              <a:gd name="connsiteY313" fmla="*/ 1563054 h 6858001"/>
              <a:gd name="connsiteX314" fmla="*/ 4018484 w 8009775"/>
              <a:gd name="connsiteY314" fmla="*/ 1557339 h 6858001"/>
              <a:gd name="connsiteX315" fmla="*/ 4020848 w 8009775"/>
              <a:gd name="connsiteY315" fmla="*/ 1551941 h 6858001"/>
              <a:gd name="connsiteX316" fmla="*/ 4022621 w 8009775"/>
              <a:gd name="connsiteY316" fmla="*/ 1546226 h 6858001"/>
              <a:gd name="connsiteX317" fmla="*/ 4024395 w 8009775"/>
              <a:gd name="connsiteY317" fmla="*/ 1540511 h 6858001"/>
              <a:gd name="connsiteX318" fmla="*/ 4025282 w 8009775"/>
              <a:gd name="connsiteY318" fmla="*/ 1534478 h 6858001"/>
              <a:gd name="connsiteX319" fmla="*/ 4026464 w 8009775"/>
              <a:gd name="connsiteY319" fmla="*/ 1528763 h 6858001"/>
              <a:gd name="connsiteX320" fmla="*/ 4027055 w 8009775"/>
              <a:gd name="connsiteY320" fmla="*/ 1522731 h 6858001"/>
              <a:gd name="connsiteX321" fmla="*/ 4027646 w 8009775"/>
              <a:gd name="connsiteY321" fmla="*/ 1517016 h 6858001"/>
              <a:gd name="connsiteX322" fmla="*/ 4027646 w 8009775"/>
              <a:gd name="connsiteY322" fmla="*/ 1510984 h 6858001"/>
              <a:gd name="connsiteX323" fmla="*/ 4027646 w 8009775"/>
              <a:gd name="connsiteY323" fmla="*/ 1505268 h 6858001"/>
              <a:gd name="connsiteX324" fmla="*/ 4027055 w 8009775"/>
              <a:gd name="connsiteY324" fmla="*/ 1499553 h 6858001"/>
              <a:gd name="connsiteX325" fmla="*/ 4026464 w 8009775"/>
              <a:gd name="connsiteY325" fmla="*/ 1493204 h 6858001"/>
              <a:gd name="connsiteX326" fmla="*/ 4025282 w 8009775"/>
              <a:gd name="connsiteY326" fmla="*/ 1487489 h 6858001"/>
              <a:gd name="connsiteX327" fmla="*/ 4024395 w 8009775"/>
              <a:gd name="connsiteY327" fmla="*/ 1481773 h 6858001"/>
              <a:gd name="connsiteX328" fmla="*/ 4022621 w 8009775"/>
              <a:gd name="connsiteY328" fmla="*/ 1476058 h 6858001"/>
              <a:gd name="connsiteX329" fmla="*/ 4020848 w 8009775"/>
              <a:gd name="connsiteY329" fmla="*/ 1470343 h 6858001"/>
              <a:gd name="connsiteX330" fmla="*/ 4018484 w 8009775"/>
              <a:gd name="connsiteY330" fmla="*/ 1464629 h 6858001"/>
              <a:gd name="connsiteX331" fmla="*/ 4016415 w 8009775"/>
              <a:gd name="connsiteY331" fmla="*/ 1459231 h 6858001"/>
              <a:gd name="connsiteX332" fmla="*/ 4013459 w 8009775"/>
              <a:gd name="connsiteY332" fmla="*/ 1453834 h 6858001"/>
              <a:gd name="connsiteX333" fmla="*/ 4010799 w 8009775"/>
              <a:gd name="connsiteY333" fmla="*/ 1448436 h 6858001"/>
              <a:gd name="connsiteX334" fmla="*/ 4007548 w 8009775"/>
              <a:gd name="connsiteY334" fmla="*/ 1443356 h 6858001"/>
              <a:gd name="connsiteX335" fmla="*/ 4003705 w 8009775"/>
              <a:gd name="connsiteY335" fmla="*/ 1438275 h 6858001"/>
              <a:gd name="connsiteX336" fmla="*/ 4000159 w 8009775"/>
              <a:gd name="connsiteY336" fmla="*/ 1433195 h 6858001"/>
              <a:gd name="connsiteX337" fmla="*/ 3996021 w 8009775"/>
              <a:gd name="connsiteY337" fmla="*/ 1428751 h 6858001"/>
              <a:gd name="connsiteX338" fmla="*/ 3991587 w 8009775"/>
              <a:gd name="connsiteY338" fmla="*/ 1423988 h 6858001"/>
              <a:gd name="connsiteX339" fmla="*/ 3323022 w 8009775"/>
              <a:gd name="connsiteY339" fmla="*/ 755333 h 6858001"/>
              <a:gd name="connsiteX340" fmla="*/ 3316815 w 8009775"/>
              <a:gd name="connsiteY340" fmla="*/ 748348 h 6858001"/>
              <a:gd name="connsiteX341" fmla="*/ 3310904 w 8009775"/>
              <a:gd name="connsiteY341" fmla="*/ 741045 h 6858001"/>
              <a:gd name="connsiteX342" fmla="*/ 3305584 w 8009775"/>
              <a:gd name="connsiteY342" fmla="*/ 733108 h 6858001"/>
              <a:gd name="connsiteX343" fmla="*/ 3300855 w 8009775"/>
              <a:gd name="connsiteY343" fmla="*/ 725170 h 6858001"/>
              <a:gd name="connsiteX344" fmla="*/ 3297308 w 8009775"/>
              <a:gd name="connsiteY344" fmla="*/ 716915 h 6858001"/>
              <a:gd name="connsiteX345" fmla="*/ 3293761 w 8009775"/>
              <a:gd name="connsiteY345" fmla="*/ 708660 h 6858001"/>
              <a:gd name="connsiteX346" fmla="*/ 3291101 w 8009775"/>
              <a:gd name="connsiteY346" fmla="*/ 699770 h 6858001"/>
              <a:gd name="connsiteX347" fmla="*/ 3289328 w 8009775"/>
              <a:gd name="connsiteY347" fmla="*/ 691198 h 6858001"/>
              <a:gd name="connsiteX348" fmla="*/ 2596527 w 8009775"/>
              <a:gd name="connsiteY348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0 w 8009775"/>
              <a:gd name="connsiteY68" fmla="*/ 0 h 6858001"/>
              <a:gd name="connsiteX69" fmla="*/ 0 w 8009775"/>
              <a:gd name="connsiteY69" fmla="*/ 6858000 h 6858001"/>
              <a:gd name="connsiteX70" fmla="*/ 7507651 w 8009775"/>
              <a:gd name="connsiteY70" fmla="*/ 6858001 h 6858001"/>
              <a:gd name="connsiteX71" fmla="*/ 8009775 w 8009775"/>
              <a:gd name="connsiteY71" fmla="*/ 6858000 h 6858001"/>
              <a:gd name="connsiteX72" fmla="*/ 3996316 w 8009775"/>
              <a:gd name="connsiteY72" fmla="*/ 2818448 h 6858001"/>
              <a:gd name="connsiteX73" fmla="*/ 3980947 w 8009775"/>
              <a:gd name="connsiteY73" fmla="*/ 2804795 h 6858001"/>
              <a:gd name="connsiteX74" fmla="*/ 3965282 w 8009775"/>
              <a:gd name="connsiteY74" fmla="*/ 2791144 h 6858001"/>
              <a:gd name="connsiteX75" fmla="*/ 3950799 w 8009775"/>
              <a:gd name="connsiteY75" fmla="*/ 2776856 h 6858001"/>
              <a:gd name="connsiteX76" fmla="*/ 3936021 w 8009775"/>
              <a:gd name="connsiteY76" fmla="*/ 2762568 h 6858001"/>
              <a:gd name="connsiteX77" fmla="*/ 3001744 w 8009775"/>
              <a:gd name="connsiteY77" fmla="*/ 1828166 h 6858001"/>
              <a:gd name="connsiteX78" fmla="*/ 2997311 w 8009775"/>
              <a:gd name="connsiteY78" fmla="*/ 1823404 h 6858001"/>
              <a:gd name="connsiteX79" fmla="*/ 2992878 w 8009775"/>
              <a:gd name="connsiteY79" fmla="*/ 1818640 h 6858001"/>
              <a:gd name="connsiteX80" fmla="*/ 2989331 w 8009775"/>
              <a:gd name="connsiteY80" fmla="*/ 1814195 h 6858001"/>
              <a:gd name="connsiteX81" fmla="*/ 2985784 w 8009775"/>
              <a:gd name="connsiteY81" fmla="*/ 1808799 h 6858001"/>
              <a:gd name="connsiteX82" fmla="*/ 2982533 w 8009775"/>
              <a:gd name="connsiteY82" fmla="*/ 1803718 h 6858001"/>
              <a:gd name="connsiteX83" fmla="*/ 2979873 w 8009775"/>
              <a:gd name="connsiteY83" fmla="*/ 1798321 h 6858001"/>
              <a:gd name="connsiteX84" fmla="*/ 2976917 w 8009775"/>
              <a:gd name="connsiteY84" fmla="*/ 1792924 h 6858001"/>
              <a:gd name="connsiteX85" fmla="*/ 2974552 w 8009775"/>
              <a:gd name="connsiteY85" fmla="*/ 1787526 h 6858001"/>
              <a:gd name="connsiteX86" fmla="*/ 2972484 w 8009775"/>
              <a:gd name="connsiteY86" fmla="*/ 1781811 h 6858001"/>
              <a:gd name="connsiteX87" fmla="*/ 2970710 w 8009775"/>
              <a:gd name="connsiteY87" fmla="*/ 1776095 h 6858001"/>
              <a:gd name="connsiteX88" fmla="*/ 2968937 w 8009775"/>
              <a:gd name="connsiteY88" fmla="*/ 1770380 h 6858001"/>
              <a:gd name="connsiteX89" fmla="*/ 2967755 w 8009775"/>
              <a:gd name="connsiteY89" fmla="*/ 1764665 h 6858001"/>
              <a:gd name="connsiteX90" fmla="*/ 2966868 w 8009775"/>
              <a:gd name="connsiteY90" fmla="*/ 1758634 h 6858001"/>
              <a:gd name="connsiteX91" fmla="*/ 2965981 w 8009775"/>
              <a:gd name="connsiteY91" fmla="*/ 1752919 h 6858001"/>
              <a:gd name="connsiteX92" fmla="*/ 2965686 w 8009775"/>
              <a:gd name="connsiteY92" fmla="*/ 1746885 h 6858001"/>
              <a:gd name="connsiteX93" fmla="*/ 2965686 w 8009775"/>
              <a:gd name="connsiteY93" fmla="*/ 1741170 h 6858001"/>
              <a:gd name="connsiteX94" fmla="*/ 2965686 w 8009775"/>
              <a:gd name="connsiteY94" fmla="*/ 1735139 h 6858001"/>
              <a:gd name="connsiteX95" fmla="*/ 2965981 w 8009775"/>
              <a:gd name="connsiteY95" fmla="*/ 1729424 h 6858001"/>
              <a:gd name="connsiteX96" fmla="*/ 2966868 w 8009775"/>
              <a:gd name="connsiteY96" fmla="*/ 1723074 h 6858001"/>
              <a:gd name="connsiteX97" fmla="*/ 2967755 w 8009775"/>
              <a:gd name="connsiteY97" fmla="*/ 1717358 h 6858001"/>
              <a:gd name="connsiteX98" fmla="*/ 2968937 w 8009775"/>
              <a:gd name="connsiteY98" fmla="*/ 1711643 h 6858001"/>
              <a:gd name="connsiteX99" fmla="*/ 2970710 w 8009775"/>
              <a:gd name="connsiteY99" fmla="*/ 1705929 h 6858001"/>
              <a:gd name="connsiteX100" fmla="*/ 2972484 w 8009775"/>
              <a:gd name="connsiteY100" fmla="*/ 1700214 h 6858001"/>
              <a:gd name="connsiteX101" fmla="*/ 2974552 w 8009775"/>
              <a:gd name="connsiteY101" fmla="*/ 1694816 h 6858001"/>
              <a:gd name="connsiteX102" fmla="*/ 2976917 w 8009775"/>
              <a:gd name="connsiteY102" fmla="*/ 1689101 h 6858001"/>
              <a:gd name="connsiteX103" fmla="*/ 2979873 w 8009775"/>
              <a:gd name="connsiteY103" fmla="*/ 1683703 h 6858001"/>
              <a:gd name="connsiteX104" fmla="*/ 2982533 w 8009775"/>
              <a:gd name="connsiteY104" fmla="*/ 1678305 h 6858001"/>
              <a:gd name="connsiteX105" fmla="*/ 2985784 w 8009775"/>
              <a:gd name="connsiteY105" fmla="*/ 1673226 h 6858001"/>
              <a:gd name="connsiteX106" fmla="*/ 2989331 w 8009775"/>
              <a:gd name="connsiteY106" fmla="*/ 1668145 h 6858001"/>
              <a:gd name="connsiteX107" fmla="*/ 2992878 w 8009775"/>
              <a:gd name="connsiteY107" fmla="*/ 1663066 h 6858001"/>
              <a:gd name="connsiteX108" fmla="*/ 2997311 w 8009775"/>
              <a:gd name="connsiteY108" fmla="*/ 1658621 h 6858001"/>
              <a:gd name="connsiteX109" fmla="*/ 3001744 w 8009775"/>
              <a:gd name="connsiteY109" fmla="*/ 1653859 h 6858001"/>
              <a:gd name="connsiteX110" fmla="*/ 3006178 w 8009775"/>
              <a:gd name="connsiteY110" fmla="*/ 1649414 h 6858001"/>
              <a:gd name="connsiteX111" fmla="*/ 3010907 w 8009775"/>
              <a:gd name="connsiteY111" fmla="*/ 1645603 h 6858001"/>
              <a:gd name="connsiteX112" fmla="*/ 3015932 w 8009775"/>
              <a:gd name="connsiteY112" fmla="*/ 1641794 h 6858001"/>
              <a:gd name="connsiteX113" fmla="*/ 3020956 w 8009775"/>
              <a:gd name="connsiteY113" fmla="*/ 1637984 h 6858001"/>
              <a:gd name="connsiteX114" fmla="*/ 3025981 w 8009775"/>
              <a:gd name="connsiteY114" fmla="*/ 1634809 h 6858001"/>
              <a:gd name="connsiteX115" fmla="*/ 3031596 w 8009775"/>
              <a:gd name="connsiteY115" fmla="*/ 1631950 h 6858001"/>
              <a:gd name="connsiteX116" fmla="*/ 3036916 w 8009775"/>
              <a:gd name="connsiteY116" fmla="*/ 1629094 h 6858001"/>
              <a:gd name="connsiteX117" fmla="*/ 3042532 w 8009775"/>
              <a:gd name="connsiteY117" fmla="*/ 1626871 h 6858001"/>
              <a:gd name="connsiteX118" fmla="*/ 3047852 w 8009775"/>
              <a:gd name="connsiteY118" fmla="*/ 1624649 h 6858001"/>
              <a:gd name="connsiteX119" fmla="*/ 3053764 w 8009775"/>
              <a:gd name="connsiteY119" fmla="*/ 1623061 h 6858001"/>
              <a:gd name="connsiteX120" fmla="*/ 3059379 w 8009775"/>
              <a:gd name="connsiteY120" fmla="*/ 1621155 h 6858001"/>
              <a:gd name="connsiteX121" fmla="*/ 3065291 w 8009775"/>
              <a:gd name="connsiteY121" fmla="*/ 1620204 h 6858001"/>
              <a:gd name="connsiteX122" fmla="*/ 3070906 w 8009775"/>
              <a:gd name="connsiteY122" fmla="*/ 1618934 h 6858001"/>
              <a:gd name="connsiteX123" fmla="*/ 3077113 w 8009775"/>
              <a:gd name="connsiteY123" fmla="*/ 1618299 h 6858001"/>
              <a:gd name="connsiteX124" fmla="*/ 3082729 w 8009775"/>
              <a:gd name="connsiteY124" fmla="*/ 1617981 h 6858001"/>
              <a:gd name="connsiteX125" fmla="*/ 3088936 w 8009775"/>
              <a:gd name="connsiteY125" fmla="*/ 1617981 h 6858001"/>
              <a:gd name="connsiteX126" fmla="*/ 3094552 w 8009775"/>
              <a:gd name="connsiteY126" fmla="*/ 1617981 h 6858001"/>
              <a:gd name="connsiteX127" fmla="*/ 3100758 w 8009775"/>
              <a:gd name="connsiteY127" fmla="*/ 1618299 h 6858001"/>
              <a:gd name="connsiteX128" fmla="*/ 3106670 w 8009775"/>
              <a:gd name="connsiteY128" fmla="*/ 1618934 h 6858001"/>
              <a:gd name="connsiteX129" fmla="*/ 3112285 w 8009775"/>
              <a:gd name="connsiteY129" fmla="*/ 1620204 h 6858001"/>
              <a:gd name="connsiteX130" fmla="*/ 3117901 w 8009775"/>
              <a:gd name="connsiteY130" fmla="*/ 1621155 h 6858001"/>
              <a:gd name="connsiteX131" fmla="*/ 3123812 w 8009775"/>
              <a:gd name="connsiteY131" fmla="*/ 1623061 h 6858001"/>
              <a:gd name="connsiteX132" fmla="*/ 3129428 w 8009775"/>
              <a:gd name="connsiteY132" fmla="*/ 1624649 h 6858001"/>
              <a:gd name="connsiteX133" fmla="*/ 3135339 w 8009775"/>
              <a:gd name="connsiteY133" fmla="*/ 1626871 h 6858001"/>
              <a:gd name="connsiteX134" fmla="*/ 3140660 w 8009775"/>
              <a:gd name="connsiteY134" fmla="*/ 1629094 h 6858001"/>
              <a:gd name="connsiteX135" fmla="*/ 3145980 w 8009775"/>
              <a:gd name="connsiteY135" fmla="*/ 1631950 h 6858001"/>
              <a:gd name="connsiteX136" fmla="*/ 3151300 w 8009775"/>
              <a:gd name="connsiteY136" fmla="*/ 1634809 h 6858001"/>
              <a:gd name="connsiteX137" fmla="*/ 3156324 w 8009775"/>
              <a:gd name="connsiteY137" fmla="*/ 1637984 h 6858001"/>
              <a:gd name="connsiteX138" fmla="*/ 3161349 w 8009775"/>
              <a:gd name="connsiteY138" fmla="*/ 1641794 h 6858001"/>
              <a:gd name="connsiteX139" fmla="*/ 3166374 w 8009775"/>
              <a:gd name="connsiteY139" fmla="*/ 1645603 h 6858001"/>
              <a:gd name="connsiteX140" fmla="*/ 3171102 w 8009775"/>
              <a:gd name="connsiteY140" fmla="*/ 1649414 h 6858001"/>
              <a:gd name="connsiteX141" fmla="*/ 3175832 w 8009775"/>
              <a:gd name="connsiteY141" fmla="*/ 1653859 h 6858001"/>
              <a:gd name="connsiteX142" fmla="*/ 3844692 w 8009775"/>
              <a:gd name="connsiteY142" fmla="*/ 2322830 h 6858001"/>
              <a:gd name="connsiteX143" fmla="*/ 3849421 w 8009775"/>
              <a:gd name="connsiteY143" fmla="*/ 2326958 h 6858001"/>
              <a:gd name="connsiteX144" fmla="*/ 3854150 w 8009775"/>
              <a:gd name="connsiteY144" fmla="*/ 2331085 h 6858001"/>
              <a:gd name="connsiteX145" fmla="*/ 3859175 w 8009775"/>
              <a:gd name="connsiteY145" fmla="*/ 2334895 h 6858001"/>
              <a:gd name="connsiteX146" fmla="*/ 3864199 w 8009775"/>
              <a:gd name="connsiteY146" fmla="*/ 2338705 h 6858001"/>
              <a:gd name="connsiteX147" fmla="*/ 3869224 w 8009775"/>
              <a:gd name="connsiteY147" fmla="*/ 2341880 h 6858001"/>
              <a:gd name="connsiteX148" fmla="*/ 3874544 w 8009775"/>
              <a:gd name="connsiteY148" fmla="*/ 2344738 h 6858001"/>
              <a:gd name="connsiteX149" fmla="*/ 3879864 w 8009775"/>
              <a:gd name="connsiteY149" fmla="*/ 2347595 h 6858001"/>
              <a:gd name="connsiteX150" fmla="*/ 3885775 w 8009775"/>
              <a:gd name="connsiteY150" fmla="*/ 2349818 h 6858001"/>
              <a:gd name="connsiteX151" fmla="*/ 3891096 w 8009775"/>
              <a:gd name="connsiteY151" fmla="*/ 2351723 h 6858001"/>
              <a:gd name="connsiteX152" fmla="*/ 3896711 w 8009775"/>
              <a:gd name="connsiteY152" fmla="*/ 2353628 h 6858001"/>
              <a:gd name="connsiteX153" fmla="*/ 3902623 w 8009775"/>
              <a:gd name="connsiteY153" fmla="*/ 2355534 h 6858001"/>
              <a:gd name="connsiteX154" fmla="*/ 3908238 w 8009775"/>
              <a:gd name="connsiteY154" fmla="*/ 2356485 h 6858001"/>
              <a:gd name="connsiteX155" fmla="*/ 3914150 w 8009775"/>
              <a:gd name="connsiteY155" fmla="*/ 2357755 h 6858001"/>
              <a:gd name="connsiteX156" fmla="*/ 3920061 w 8009775"/>
              <a:gd name="connsiteY156" fmla="*/ 2358391 h 6858001"/>
              <a:gd name="connsiteX157" fmla="*/ 3925972 w 8009775"/>
              <a:gd name="connsiteY157" fmla="*/ 2358708 h 6858001"/>
              <a:gd name="connsiteX158" fmla="*/ 3931883 w 8009775"/>
              <a:gd name="connsiteY158" fmla="*/ 2358708 h 6858001"/>
              <a:gd name="connsiteX159" fmla="*/ 3937795 w 8009775"/>
              <a:gd name="connsiteY159" fmla="*/ 2358708 h 6858001"/>
              <a:gd name="connsiteX160" fmla="*/ 3943706 w 8009775"/>
              <a:gd name="connsiteY160" fmla="*/ 2358391 h 6858001"/>
              <a:gd name="connsiteX161" fmla="*/ 3949617 w 8009775"/>
              <a:gd name="connsiteY161" fmla="*/ 2357755 h 6858001"/>
              <a:gd name="connsiteX162" fmla="*/ 3955233 w 8009775"/>
              <a:gd name="connsiteY162" fmla="*/ 2356485 h 6858001"/>
              <a:gd name="connsiteX163" fmla="*/ 3961144 w 8009775"/>
              <a:gd name="connsiteY163" fmla="*/ 2355534 h 6858001"/>
              <a:gd name="connsiteX164" fmla="*/ 3966760 w 8009775"/>
              <a:gd name="connsiteY164" fmla="*/ 2353628 h 6858001"/>
              <a:gd name="connsiteX165" fmla="*/ 3972671 w 8009775"/>
              <a:gd name="connsiteY165" fmla="*/ 2351723 h 6858001"/>
              <a:gd name="connsiteX166" fmla="*/ 3978287 w 8009775"/>
              <a:gd name="connsiteY166" fmla="*/ 2349818 h 6858001"/>
              <a:gd name="connsiteX167" fmla="*/ 3983607 w 8009775"/>
              <a:gd name="connsiteY167" fmla="*/ 2347595 h 6858001"/>
              <a:gd name="connsiteX168" fmla="*/ 3989223 w 8009775"/>
              <a:gd name="connsiteY168" fmla="*/ 2344738 h 6858001"/>
              <a:gd name="connsiteX169" fmla="*/ 3994543 w 8009775"/>
              <a:gd name="connsiteY169" fmla="*/ 2341880 h 6858001"/>
              <a:gd name="connsiteX170" fmla="*/ 3999567 w 8009775"/>
              <a:gd name="connsiteY170" fmla="*/ 2338705 h 6858001"/>
              <a:gd name="connsiteX171" fmla="*/ 4004888 w 8009775"/>
              <a:gd name="connsiteY171" fmla="*/ 2334895 h 6858001"/>
              <a:gd name="connsiteX172" fmla="*/ 4009617 w 8009775"/>
              <a:gd name="connsiteY172" fmla="*/ 2331085 h 6858001"/>
              <a:gd name="connsiteX173" fmla="*/ 4014346 w 8009775"/>
              <a:gd name="connsiteY173" fmla="*/ 2326958 h 6858001"/>
              <a:gd name="connsiteX174" fmla="*/ 4018779 w 8009775"/>
              <a:gd name="connsiteY174" fmla="*/ 2322830 h 6858001"/>
              <a:gd name="connsiteX175" fmla="*/ 4023213 w 8009775"/>
              <a:gd name="connsiteY175" fmla="*/ 2318068 h 6858001"/>
              <a:gd name="connsiteX176" fmla="*/ 4027646 w 8009775"/>
              <a:gd name="connsiteY176" fmla="*/ 2313306 h 6858001"/>
              <a:gd name="connsiteX177" fmla="*/ 4031193 w 8009775"/>
              <a:gd name="connsiteY177" fmla="*/ 2308544 h 6858001"/>
              <a:gd name="connsiteX178" fmla="*/ 4034740 w 8009775"/>
              <a:gd name="connsiteY178" fmla="*/ 2303463 h 6858001"/>
              <a:gd name="connsiteX179" fmla="*/ 4037991 w 8009775"/>
              <a:gd name="connsiteY179" fmla="*/ 2298384 h 6858001"/>
              <a:gd name="connsiteX180" fmla="*/ 4040946 w 8009775"/>
              <a:gd name="connsiteY180" fmla="*/ 2292985 h 6858001"/>
              <a:gd name="connsiteX181" fmla="*/ 4043606 w 8009775"/>
              <a:gd name="connsiteY181" fmla="*/ 2287588 h 6858001"/>
              <a:gd name="connsiteX182" fmla="*/ 4046267 w 8009775"/>
              <a:gd name="connsiteY182" fmla="*/ 2281873 h 6858001"/>
              <a:gd name="connsiteX183" fmla="*/ 4048040 w 8009775"/>
              <a:gd name="connsiteY183" fmla="*/ 2276476 h 6858001"/>
              <a:gd name="connsiteX184" fmla="*/ 4050109 w 8009775"/>
              <a:gd name="connsiteY184" fmla="*/ 2270761 h 6858001"/>
              <a:gd name="connsiteX185" fmla="*/ 4051587 w 8009775"/>
              <a:gd name="connsiteY185" fmla="*/ 2265046 h 6858001"/>
              <a:gd name="connsiteX186" fmla="*/ 4052769 w 8009775"/>
              <a:gd name="connsiteY186" fmla="*/ 2259331 h 6858001"/>
              <a:gd name="connsiteX187" fmla="*/ 4053656 w 8009775"/>
              <a:gd name="connsiteY187" fmla="*/ 2253298 h 6858001"/>
              <a:gd name="connsiteX188" fmla="*/ 4054542 w 8009775"/>
              <a:gd name="connsiteY188" fmla="*/ 2247266 h 6858001"/>
              <a:gd name="connsiteX189" fmla="*/ 4054838 w 8009775"/>
              <a:gd name="connsiteY189" fmla="*/ 2241551 h 6858001"/>
              <a:gd name="connsiteX190" fmla="*/ 4055133 w 8009775"/>
              <a:gd name="connsiteY190" fmla="*/ 2235519 h 6858001"/>
              <a:gd name="connsiteX191" fmla="*/ 4054838 w 8009775"/>
              <a:gd name="connsiteY191" fmla="*/ 2229804 h 6858001"/>
              <a:gd name="connsiteX192" fmla="*/ 4054542 w 8009775"/>
              <a:gd name="connsiteY192" fmla="*/ 2223770 h 6858001"/>
              <a:gd name="connsiteX193" fmla="*/ 4053656 w 8009775"/>
              <a:gd name="connsiteY193" fmla="*/ 2217739 h 6858001"/>
              <a:gd name="connsiteX194" fmla="*/ 4052769 w 8009775"/>
              <a:gd name="connsiteY194" fmla="*/ 2212024 h 6858001"/>
              <a:gd name="connsiteX195" fmla="*/ 4051587 w 8009775"/>
              <a:gd name="connsiteY195" fmla="*/ 2206309 h 6858001"/>
              <a:gd name="connsiteX196" fmla="*/ 4050109 w 8009775"/>
              <a:gd name="connsiteY196" fmla="*/ 2200593 h 6858001"/>
              <a:gd name="connsiteX197" fmla="*/ 4048040 w 8009775"/>
              <a:gd name="connsiteY197" fmla="*/ 2194878 h 6858001"/>
              <a:gd name="connsiteX198" fmla="*/ 4046267 w 8009775"/>
              <a:gd name="connsiteY198" fmla="*/ 2189163 h 6858001"/>
              <a:gd name="connsiteX199" fmla="*/ 4043606 w 8009775"/>
              <a:gd name="connsiteY199" fmla="*/ 2183765 h 6858001"/>
              <a:gd name="connsiteX200" fmla="*/ 4040946 w 8009775"/>
              <a:gd name="connsiteY200" fmla="*/ 2178368 h 6858001"/>
              <a:gd name="connsiteX201" fmla="*/ 4037991 w 8009775"/>
              <a:gd name="connsiteY201" fmla="*/ 2172970 h 6858001"/>
              <a:gd name="connsiteX202" fmla="*/ 4034740 w 8009775"/>
              <a:gd name="connsiteY202" fmla="*/ 2167890 h 6858001"/>
              <a:gd name="connsiteX203" fmla="*/ 4031193 w 8009775"/>
              <a:gd name="connsiteY203" fmla="*/ 2162494 h 6858001"/>
              <a:gd name="connsiteX204" fmla="*/ 4027646 w 8009775"/>
              <a:gd name="connsiteY204" fmla="*/ 2157730 h 6858001"/>
              <a:gd name="connsiteX205" fmla="*/ 4023213 w 8009775"/>
              <a:gd name="connsiteY205" fmla="*/ 2153285 h 6858001"/>
              <a:gd name="connsiteX206" fmla="*/ 4018779 w 8009775"/>
              <a:gd name="connsiteY206" fmla="*/ 2148523 h 6858001"/>
              <a:gd name="connsiteX207" fmla="*/ 3632182 w 8009775"/>
              <a:gd name="connsiteY207" fmla="*/ 1761490 h 6858001"/>
              <a:gd name="connsiteX208" fmla="*/ 3435928 w 8009775"/>
              <a:gd name="connsiteY208" fmla="*/ 1565276 h 6858001"/>
              <a:gd name="connsiteX209" fmla="*/ 3431198 w 8009775"/>
              <a:gd name="connsiteY209" fmla="*/ 1560514 h 6858001"/>
              <a:gd name="connsiteX210" fmla="*/ 3427356 w 8009775"/>
              <a:gd name="connsiteY210" fmla="*/ 1555751 h 6858001"/>
              <a:gd name="connsiteX211" fmla="*/ 3423218 w 8009775"/>
              <a:gd name="connsiteY211" fmla="*/ 1550671 h 6858001"/>
              <a:gd name="connsiteX212" fmla="*/ 3420262 w 8009775"/>
              <a:gd name="connsiteY212" fmla="*/ 1545909 h 6858001"/>
              <a:gd name="connsiteX213" fmla="*/ 3417012 w 8009775"/>
              <a:gd name="connsiteY213" fmla="*/ 1540829 h 6858001"/>
              <a:gd name="connsiteX214" fmla="*/ 3413760 w 8009775"/>
              <a:gd name="connsiteY214" fmla="*/ 1535430 h 6858001"/>
              <a:gd name="connsiteX215" fmla="*/ 3411100 w 8009775"/>
              <a:gd name="connsiteY215" fmla="*/ 1530034 h 6858001"/>
              <a:gd name="connsiteX216" fmla="*/ 3408736 w 8009775"/>
              <a:gd name="connsiteY216" fmla="*/ 1524635 h 6858001"/>
              <a:gd name="connsiteX217" fmla="*/ 3406371 w 8009775"/>
              <a:gd name="connsiteY217" fmla="*/ 1518920 h 6858001"/>
              <a:gd name="connsiteX218" fmla="*/ 3404598 w 8009775"/>
              <a:gd name="connsiteY218" fmla="*/ 1513205 h 6858001"/>
              <a:gd name="connsiteX219" fmla="*/ 3403120 w 8009775"/>
              <a:gd name="connsiteY219" fmla="*/ 1507174 h 6858001"/>
              <a:gd name="connsiteX220" fmla="*/ 3401938 w 8009775"/>
              <a:gd name="connsiteY220" fmla="*/ 1501459 h 6858001"/>
              <a:gd name="connsiteX221" fmla="*/ 3401051 w 8009775"/>
              <a:gd name="connsiteY221" fmla="*/ 1495744 h 6858001"/>
              <a:gd name="connsiteX222" fmla="*/ 3400460 w 8009775"/>
              <a:gd name="connsiteY222" fmla="*/ 1489710 h 6858001"/>
              <a:gd name="connsiteX223" fmla="*/ 3399869 w 8009775"/>
              <a:gd name="connsiteY223" fmla="*/ 1483995 h 6858001"/>
              <a:gd name="connsiteX224" fmla="*/ 3399573 w 8009775"/>
              <a:gd name="connsiteY224" fmla="*/ 1478281 h 6858001"/>
              <a:gd name="connsiteX225" fmla="*/ 3399869 w 8009775"/>
              <a:gd name="connsiteY225" fmla="*/ 1472249 h 6858001"/>
              <a:gd name="connsiteX226" fmla="*/ 3400460 w 8009775"/>
              <a:gd name="connsiteY226" fmla="*/ 1466215 h 6858001"/>
              <a:gd name="connsiteX227" fmla="*/ 3401051 w 8009775"/>
              <a:gd name="connsiteY227" fmla="*/ 1460183 h 6858001"/>
              <a:gd name="connsiteX228" fmla="*/ 3401938 w 8009775"/>
              <a:gd name="connsiteY228" fmla="*/ 1454468 h 6858001"/>
              <a:gd name="connsiteX229" fmla="*/ 3403120 w 8009775"/>
              <a:gd name="connsiteY229" fmla="*/ 1448754 h 6858001"/>
              <a:gd name="connsiteX230" fmla="*/ 3404598 w 8009775"/>
              <a:gd name="connsiteY230" fmla="*/ 1443039 h 6858001"/>
              <a:gd name="connsiteX231" fmla="*/ 3406371 w 8009775"/>
              <a:gd name="connsiteY231" fmla="*/ 1437324 h 6858001"/>
              <a:gd name="connsiteX232" fmla="*/ 3408736 w 8009775"/>
              <a:gd name="connsiteY232" fmla="*/ 1431609 h 6858001"/>
              <a:gd name="connsiteX233" fmla="*/ 3411100 w 8009775"/>
              <a:gd name="connsiteY233" fmla="*/ 1426211 h 6858001"/>
              <a:gd name="connsiteX234" fmla="*/ 3413760 w 8009775"/>
              <a:gd name="connsiteY234" fmla="*/ 1420814 h 6858001"/>
              <a:gd name="connsiteX235" fmla="*/ 3417012 w 8009775"/>
              <a:gd name="connsiteY235" fmla="*/ 1415416 h 6858001"/>
              <a:gd name="connsiteX236" fmla="*/ 3420262 w 8009775"/>
              <a:gd name="connsiteY236" fmla="*/ 1410336 h 6858001"/>
              <a:gd name="connsiteX237" fmla="*/ 3423218 w 8009775"/>
              <a:gd name="connsiteY237" fmla="*/ 1405256 h 6858001"/>
              <a:gd name="connsiteX238" fmla="*/ 3427356 w 8009775"/>
              <a:gd name="connsiteY238" fmla="*/ 1400175 h 6858001"/>
              <a:gd name="connsiteX239" fmla="*/ 3431198 w 8009775"/>
              <a:gd name="connsiteY239" fmla="*/ 1395731 h 6858001"/>
              <a:gd name="connsiteX240" fmla="*/ 3435928 w 8009775"/>
              <a:gd name="connsiteY240" fmla="*/ 1390969 h 6858001"/>
              <a:gd name="connsiteX241" fmla="*/ 3440361 w 8009775"/>
              <a:gd name="connsiteY241" fmla="*/ 1386524 h 6858001"/>
              <a:gd name="connsiteX242" fmla="*/ 3445386 w 8009775"/>
              <a:gd name="connsiteY242" fmla="*/ 1382396 h 6858001"/>
              <a:gd name="connsiteX243" fmla="*/ 3449819 w 8009775"/>
              <a:gd name="connsiteY243" fmla="*/ 1378585 h 6858001"/>
              <a:gd name="connsiteX244" fmla="*/ 3454844 w 8009775"/>
              <a:gd name="connsiteY244" fmla="*/ 1375094 h 6858001"/>
              <a:gd name="connsiteX245" fmla="*/ 3460459 w 8009775"/>
              <a:gd name="connsiteY245" fmla="*/ 1371919 h 6858001"/>
              <a:gd name="connsiteX246" fmla="*/ 3465780 w 8009775"/>
              <a:gd name="connsiteY246" fmla="*/ 1369061 h 6858001"/>
              <a:gd name="connsiteX247" fmla="*/ 3471100 w 8009775"/>
              <a:gd name="connsiteY247" fmla="*/ 1366204 h 6858001"/>
              <a:gd name="connsiteX248" fmla="*/ 3476420 w 8009775"/>
              <a:gd name="connsiteY248" fmla="*/ 1363980 h 6858001"/>
              <a:gd name="connsiteX249" fmla="*/ 3482331 w 8009775"/>
              <a:gd name="connsiteY249" fmla="*/ 1361759 h 6858001"/>
              <a:gd name="connsiteX250" fmla="*/ 3487947 w 8009775"/>
              <a:gd name="connsiteY250" fmla="*/ 1360170 h 6858001"/>
              <a:gd name="connsiteX251" fmla="*/ 3493858 w 8009775"/>
              <a:gd name="connsiteY251" fmla="*/ 1358265 h 6858001"/>
              <a:gd name="connsiteX252" fmla="*/ 3499474 w 8009775"/>
              <a:gd name="connsiteY252" fmla="*/ 1357314 h 6858001"/>
              <a:gd name="connsiteX253" fmla="*/ 3505385 w 8009775"/>
              <a:gd name="connsiteY253" fmla="*/ 1356043 h 6858001"/>
              <a:gd name="connsiteX254" fmla="*/ 3511001 w 8009775"/>
              <a:gd name="connsiteY254" fmla="*/ 1355409 h 6858001"/>
              <a:gd name="connsiteX255" fmla="*/ 3517208 w 8009775"/>
              <a:gd name="connsiteY255" fmla="*/ 1355090 h 6858001"/>
              <a:gd name="connsiteX256" fmla="*/ 3522823 w 8009775"/>
              <a:gd name="connsiteY256" fmla="*/ 1354773 h 6858001"/>
              <a:gd name="connsiteX257" fmla="*/ 3529030 w 8009775"/>
              <a:gd name="connsiteY257" fmla="*/ 1355090 h 6858001"/>
              <a:gd name="connsiteX258" fmla="*/ 3534646 w 8009775"/>
              <a:gd name="connsiteY258" fmla="*/ 1355409 h 6858001"/>
              <a:gd name="connsiteX259" fmla="*/ 3540557 w 8009775"/>
              <a:gd name="connsiteY259" fmla="*/ 1356043 h 6858001"/>
              <a:gd name="connsiteX260" fmla="*/ 3546468 w 8009775"/>
              <a:gd name="connsiteY260" fmla="*/ 1357314 h 6858001"/>
              <a:gd name="connsiteX261" fmla="*/ 3552380 w 8009775"/>
              <a:gd name="connsiteY261" fmla="*/ 1358265 h 6858001"/>
              <a:gd name="connsiteX262" fmla="*/ 3557995 w 8009775"/>
              <a:gd name="connsiteY262" fmla="*/ 1360170 h 6858001"/>
              <a:gd name="connsiteX263" fmla="*/ 3563906 w 8009775"/>
              <a:gd name="connsiteY263" fmla="*/ 1361759 h 6858001"/>
              <a:gd name="connsiteX264" fmla="*/ 3569227 w 8009775"/>
              <a:gd name="connsiteY264" fmla="*/ 1363980 h 6858001"/>
              <a:gd name="connsiteX265" fmla="*/ 3574842 w 8009775"/>
              <a:gd name="connsiteY265" fmla="*/ 1366204 h 6858001"/>
              <a:gd name="connsiteX266" fmla="*/ 3580458 w 8009775"/>
              <a:gd name="connsiteY266" fmla="*/ 1369061 h 6858001"/>
              <a:gd name="connsiteX267" fmla="*/ 3585778 w 8009775"/>
              <a:gd name="connsiteY267" fmla="*/ 1371919 h 6858001"/>
              <a:gd name="connsiteX268" fmla="*/ 3590803 w 8009775"/>
              <a:gd name="connsiteY268" fmla="*/ 1375094 h 6858001"/>
              <a:gd name="connsiteX269" fmla="*/ 3595828 w 8009775"/>
              <a:gd name="connsiteY269" fmla="*/ 1378585 h 6858001"/>
              <a:gd name="connsiteX270" fmla="*/ 3600852 w 8009775"/>
              <a:gd name="connsiteY270" fmla="*/ 1382396 h 6858001"/>
              <a:gd name="connsiteX271" fmla="*/ 3605581 w 8009775"/>
              <a:gd name="connsiteY271" fmla="*/ 1386524 h 6858001"/>
              <a:gd name="connsiteX272" fmla="*/ 3610014 w 8009775"/>
              <a:gd name="connsiteY272" fmla="*/ 1390969 h 6858001"/>
              <a:gd name="connsiteX273" fmla="*/ 3817500 w 8009775"/>
              <a:gd name="connsiteY273" fmla="*/ 1598296 h 6858001"/>
              <a:gd name="connsiteX274" fmla="*/ 3821934 w 8009775"/>
              <a:gd name="connsiteY274" fmla="*/ 1602423 h 6858001"/>
              <a:gd name="connsiteX275" fmla="*/ 3826663 w 8009775"/>
              <a:gd name="connsiteY275" fmla="*/ 1606869 h 6858001"/>
              <a:gd name="connsiteX276" fmla="*/ 3831687 w 8009775"/>
              <a:gd name="connsiteY276" fmla="*/ 1610361 h 6858001"/>
              <a:gd name="connsiteX277" fmla="*/ 3836712 w 8009775"/>
              <a:gd name="connsiteY277" fmla="*/ 1613854 h 6858001"/>
              <a:gd name="connsiteX278" fmla="*/ 3841736 w 8009775"/>
              <a:gd name="connsiteY278" fmla="*/ 1617345 h 6858001"/>
              <a:gd name="connsiteX279" fmla="*/ 3847352 w 8009775"/>
              <a:gd name="connsiteY279" fmla="*/ 1620204 h 6858001"/>
              <a:gd name="connsiteX280" fmla="*/ 3852672 w 8009775"/>
              <a:gd name="connsiteY280" fmla="*/ 1623061 h 6858001"/>
              <a:gd name="connsiteX281" fmla="*/ 3857992 w 8009775"/>
              <a:gd name="connsiteY281" fmla="*/ 1625283 h 6858001"/>
              <a:gd name="connsiteX282" fmla="*/ 3863608 w 8009775"/>
              <a:gd name="connsiteY282" fmla="*/ 1627189 h 6858001"/>
              <a:gd name="connsiteX283" fmla="*/ 3869519 w 8009775"/>
              <a:gd name="connsiteY283" fmla="*/ 1629094 h 6858001"/>
              <a:gd name="connsiteX284" fmla="*/ 3875135 w 8009775"/>
              <a:gd name="connsiteY284" fmla="*/ 1630998 h 6858001"/>
              <a:gd name="connsiteX285" fmla="*/ 3881046 w 8009775"/>
              <a:gd name="connsiteY285" fmla="*/ 1631950 h 6858001"/>
              <a:gd name="connsiteX286" fmla="*/ 3886662 w 8009775"/>
              <a:gd name="connsiteY286" fmla="*/ 1632904 h 6858001"/>
              <a:gd name="connsiteX287" fmla="*/ 3892869 w 8009775"/>
              <a:gd name="connsiteY287" fmla="*/ 1633856 h 6858001"/>
              <a:gd name="connsiteX288" fmla="*/ 3898485 w 8009775"/>
              <a:gd name="connsiteY288" fmla="*/ 1634174 h 6858001"/>
              <a:gd name="connsiteX289" fmla="*/ 3904396 w 8009775"/>
              <a:gd name="connsiteY289" fmla="*/ 1634174 h 6858001"/>
              <a:gd name="connsiteX290" fmla="*/ 3910307 w 8009775"/>
              <a:gd name="connsiteY290" fmla="*/ 1634174 h 6858001"/>
              <a:gd name="connsiteX291" fmla="*/ 3916219 w 8009775"/>
              <a:gd name="connsiteY291" fmla="*/ 1633856 h 6858001"/>
              <a:gd name="connsiteX292" fmla="*/ 3922425 w 8009775"/>
              <a:gd name="connsiteY292" fmla="*/ 1632904 h 6858001"/>
              <a:gd name="connsiteX293" fmla="*/ 3928041 w 8009775"/>
              <a:gd name="connsiteY293" fmla="*/ 1631950 h 6858001"/>
              <a:gd name="connsiteX294" fmla="*/ 3933657 w 8009775"/>
              <a:gd name="connsiteY294" fmla="*/ 1630998 h 6858001"/>
              <a:gd name="connsiteX295" fmla="*/ 3939568 w 8009775"/>
              <a:gd name="connsiteY295" fmla="*/ 1629094 h 6858001"/>
              <a:gd name="connsiteX296" fmla="*/ 3945184 w 8009775"/>
              <a:gd name="connsiteY296" fmla="*/ 1627189 h 6858001"/>
              <a:gd name="connsiteX297" fmla="*/ 3950799 w 8009775"/>
              <a:gd name="connsiteY297" fmla="*/ 1625283 h 6858001"/>
              <a:gd name="connsiteX298" fmla="*/ 3956415 w 8009775"/>
              <a:gd name="connsiteY298" fmla="*/ 1623061 h 6858001"/>
              <a:gd name="connsiteX299" fmla="*/ 3961735 w 8009775"/>
              <a:gd name="connsiteY299" fmla="*/ 1620204 h 6858001"/>
              <a:gd name="connsiteX300" fmla="*/ 3967055 w 8009775"/>
              <a:gd name="connsiteY300" fmla="*/ 1617345 h 6858001"/>
              <a:gd name="connsiteX301" fmla="*/ 3972376 w 8009775"/>
              <a:gd name="connsiteY301" fmla="*/ 1613854 h 6858001"/>
              <a:gd name="connsiteX302" fmla="*/ 3977400 w 8009775"/>
              <a:gd name="connsiteY302" fmla="*/ 1610361 h 6858001"/>
              <a:gd name="connsiteX303" fmla="*/ 3982425 w 8009775"/>
              <a:gd name="connsiteY303" fmla="*/ 1606869 h 6858001"/>
              <a:gd name="connsiteX304" fmla="*/ 3986858 w 8009775"/>
              <a:gd name="connsiteY304" fmla="*/ 1602423 h 6858001"/>
              <a:gd name="connsiteX305" fmla="*/ 3991587 w 8009775"/>
              <a:gd name="connsiteY305" fmla="*/ 1598296 h 6858001"/>
              <a:gd name="connsiteX306" fmla="*/ 3996021 w 8009775"/>
              <a:gd name="connsiteY306" fmla="*/ 1593533 h 6858001"/>
              <a:gd name="connsiteX307" fmla="*/ 4000159 w 8009775"/>
              <a:gd name="connsiteY307" fmla="*/ 1588771 h 6858001"/>
              <a:gd name="connsiteX308" fmla="*/ 4003705 w 8009775"/>
              <a:gd name="connsiteY308" fmla="*/ 1583691 h 6858001"/>
              <a:gd name="connsiteX309" fmla="*/ 4007548 w 8009775"/>
              <a:gd name="connsiteY309" fmla="*/ 1578928 h 6858001"/>
              <a:gd name="connsiteX310" fmla="*/ 4010799 w 8009775"/>
              <a:gd name="connsiteY310" fmla="*/ 1573849 h 6858001"/>
              <a:gd name="connsiteX311" fmla="*/ 4013459 w 8009775"/>
              <a:gd name="connsiteY311" fmla="*/ 1568451 h 6858001"/>
              <a:gd name="connsiteX312" fmla="*/ 4016415 w 8009775"/>
              <a:gd name="connsiteY312" fmla="*/ 1563054 h 6858001"/>
              <a:gd name="connsiteX313" fmla="*/ 4018484 w 8009775"/>
              <a:gd name="connsiteY313" fmla="*/ 1557339 h 6858001"/>
              <a:gd name="connsiteX314" fmla="*/ 4020848 w 8009775"/>
              <a:gd name="connsiteY314" fmla="*/ 1551941 h 6858001"/>
              <a:gd name="connsiteX315" fmla="*/ 4022621 w 8009775"/>
              <a:gd name="connsiteY315" fmla="*/ 1546226 h 6858001"/>
              <a:gd name="connsiteX316" fmla="*/ 4024395 w 8009775"/>
              <a:gd name="connsiteY316" fmla="*/ 1540511 h 6858001"/>
              <a:gd name="connsiteX317" fmla="*/ 4025282 w 8009775"/>
              <a:gd name="connsiteY317" fmla="*/ 1534478 h 6858001"/>
              <a:gd name="connsiteX318" fmla="*/ 4026464 w 8009775"/>
              <a:gd name="connsiteY318" fmla="*/ 1528763 h 6858001"/>
              <a:gd name="connsiteX319" fmla="*/ 4027055 w 8009775"/>
              <a:gd name="connsiteY319" fmla="*/ 1522731 h 6858001"/>
              <a:gd name="connsiteX320" fmla="*/ 4027646 w 8009775"/>
              <a:gd name="connsiteY320" fmla="*/ 1517016 h 6858001"/>
              <a:gd name="connsiteX321" fmla="*/ 4027646 w 8009775"/>
              <a:gd name="connsiteY321" fmla="*/ 1510984 h 6858001"/>
              <a:gd name="connsiteX322" fmla="*/ 4027646 w 8009775"/>
              <a:gd name="connsiteY322" fmla="*/ 1505268 h 6858001"/>
              <a:gd name="connsiteX323" fmla="*/ 4027055 w 8009775"/>
              <a:gd name="connsiteY323" fmla="*/ 1499553 h 6858001"/>
              <a:gd name="connsiteX324" fmla="*/ 4026464 w 8009775"/>
              <a:gd name="connsiteY324" fmla="*/ 1493204 h 6858001"/>
              <a:gd name="connsiteX325" fmla="*/ 4025282 w 8009775"/>
              <a:gd name="connsiteY325" fmla="*/ 1487489 h 6858001"/>
              <a:gd name="connsiteX326" fmla="*/ 4024395 w 8009775"/>
              <a:gd name="connsiteY326" fmla="*/ 1481773 h 6858001"/>
              <a:gd name="connsiteX327" fmla="*/ 4022621 w 8009775"/>
              <a:gd name="connsiteY327" fmla="*/ 1476058 h 6858001"/>
              <a:gd name="connsiteX328" fmla="*/ 4020848 w 8009775"/>
              <a:gd name="connsiteY328" fmla="*/ 1470343 h 6858001"/>
              <a:gd name="connsiteX329" fmla="*/ 4018484 w 8009775"/>
              <a:gd name="connsiteY329" fmla="*/ 1464629 h 6858001"/>
              <a:gd name="connsiteX330" fmla="*/ 4016415 w 8009775"/>
              <a:gd name="connsiteY330" fmla="*/ 1459231 h 6858001"/>
              <a:gd name="connsiteX331" fmla="*/ 4013459 w 8009775"/>
              <a:gd name="connsiteY331" fmla="*/ 1453834 h 6858001"/>
              <a:gd name="connsiteX332" fmla="*/ 4010799 w 8009775"/>
              <a:gd name="connsiteY332" fmla="*/ 1448436 h 6858001"/>
              <a:gd name="connsiteX333" fmla="*/ 4007548 w 8009775"/>
              <a:gd name="connsiteY333" fmla="*/ 1443356 h 6858001"/>
              <a:gd name="connsiteX334" fmla="*/ 4003705 w 8009775"/>
              <a:gd name="connsiteY334" fmla="*/ 1438275 h 6858001"/>
              <a:gd name="connsiteX335" fmla="*/ 4000159 w 8009775"/>
              <a:gd name="connsiteY335" fmla="*/ 1433195 h 6858001"/>
              <a:gd name="connsiteX336" fmla="*/ 3996021 w 8009775"/>
              <a:gd name="connsiteY336" fmla="*/ 1428751 h 6858001"/>
              <a:gd name="connsiteX337" fmla="*/ 3991587 w 8009775"/>
              <a:gd name="connsiteY337" fmla="*/ 1423988 h 6858001"/>
              <a:gd name="connsiteX338" fmla="*/ 3323022 w 8009775"/>
              <a:gd name="connsiteY338" fmla="*/ 755333 h 6858001"/>
              <a:gd name="connsiteX339" fmla="*/ 3316815 w 8009775"/>
              <a:gd name="connsiteY339" fmla="*/ 748348 h 6858001"/>
              <a:gd name="connsiteX340" fmla="*/ 3310904 w 8009775"/>
              <a:gd name="connsiteY340" fmla="*/ 741045 h 6858001"/>
              <a:gd name="connsiteX341" fmla="*/ 3305584 w 8009775"/>
              <a:gd name="connsiteY341" fmla="*/ 733108 h 6858001"/>
              <a:gd name="connsiteX342" fmla="*/ 3300855 w 8009775"/>
              <a:gd name="connsiteY342" fmla="*/ 725170 h 6858001"/>
              <a:gd name="connsiteX343" fmla="*/ 3297308 w 8009775"/>
              <a:gd name="connsiteY343" fmla="*/ 716915 h 6858001"/>
              <a:gd name="connsiteX344" fmla="*/ 3293761 w 8009775"/>
              <a:gd name="connsiteY344" fmla="*/ 708660 h 6858001"/>
              <a:gd name="connsiteX345" fmla="*/ 3291101 w 8009775"/>
              <a:gd name="connsiteY345" fmla="*/ 699770 h 6858001"/>
              <a:gd name="connsiteX346" fmla="*/ 3289328 w 8009775"/>
              <a:gd name="connsiteY346" fmla="*/ 691198 h 6858001"/>
              <a:gd name="connsiteX347" fmla="*/ 2596527 w 8009775"/>
              <a:gd name="connsiteY347" fmla="*/ 0 h 6858001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980947 w 8009775"/>
              <a:gd name="connsiteY72" fmla="*/ 2804795 h 6858000"/>
              <a:gd name="connsiteX73" fmla="*/ 3965282 w 8009775"/>
              <a:gd name="connsiteY73" fmla="*/ 2791144 h 6858000"/>
              <a:gd name="connsiteX74" fmla="*/ 3950799 w 8009775"/>
              <a:gd name="connsiteY74" fmla="*/ 2776856 h 6858000"/>
              <a:gd name="connsiteX75" fmla="*/ 3936021 w 8009775"/>
              <a:gd name="connsiteY75" fmla="*/ 2762568 h 6858000"/>
              <a:gd name="connsiteX76" fmla="*/ 3001744 w 8009775"/>
              <a:gd name="connsiteY76" fmla="*/ 1828166 h 6858000"/>
              <a:gd name="connsiteX77" fmla="*/ 2997311 w 8009775"/>
              <a:gd name="connsiteY77" fmla="*/ 1823404 h 6858000"/>
              <a:gd name="connsiteX78" fmla="*/ 2992878 w 8009775"/>
              <a:gd name="connsiteY78" fmla="*/ 1818640 h 6858000"/>
              <a:gd name="connsiteX79" fmla="*/ 2989331 w 8009775"/>
              <a:gd name="connsiteY79" fmla="*/ 1814195 h 6858000"/>
              <a:gd name="connsiteX80" fmla="*/ 2985784 w 8009775"/>
              <a:gd name="connsiteY80" fmla="*/ 1808799 h 6858000"/>
              <a:gd name="connsiteX81" fmla="*/ 2982533 w 8009775"/>
              <a:gd name="connsiteY81" fmla="*/ 1803718 h 6858000"/>
              <a:gd name="connsiteX82" fmla="*/ 2979873 w 8009775"/>
              <a:gd name="connsiteY82" fmla="*/ 1798321 h 6858000"/>
              <a:gd name="connsiteX83" fmla="*/ 2976917 w 8009775"/>
              <a:gd name="connsiteY83" fmla="*/ 1792924 h 6858000"/>
              <a:gd name="connsiteX84" fmla="*/ 2974552 w 8009775"/>
              <a:gd name="connsiteY84" fmla="*/ 1787526 h 6858000"/>
              <a:gd name="connsiteX85" fmla="*/ 2972484 w 8009775"/>
              <a:gd name="connsiteY85" fmla="*/ 1781811 h 6858000"/>
              <a:gd name="connsiteX86" fmla="*/ 2970710 w 8009775"/>
              <a:gd name="connsiteY86" fmla="*/ 1776095 h 6858000"/>
              <a:gd name="connsiteX87" fmla="*/ 2968937 w 8009775"/>
              <a:gd name="connsiteY87" fmla="*/ 1770380 h 6858000"/>
              <a:gd name="connsiteX88" fmla="*/ 2967755 w 8009775"/>
              <a:gd name="connsiteY88" fmla="*/ 1764665 h 6858000"/>
              <a:gd name="connsiteX89" fmla="*/ 2966868 w 8009775"/>
              <a:gd name="connsiteY89" fmla="*/ 1758634 h 6858000"/>
              <a:gd name="connsiteX90" fmla="*/ 2965981 w 8009775"/>
              <a:gd name="connsiteY90" fmla="*/ 1752919 h 6858000"/>
              <a:gd name="connsiteX91" fmla="*/ 2965686 w 8009775"/>
              <a:gd name="connsiteY91" fmla="*/ 1746885 h 6858000"/>
              <a:gd name="connsiteX92" fmla="*/ 2965686 w 8009775"/>
              <a:gd name="connsiteY92" fmla="*/ 1741170 h 6858000"/>
              <a:gd name="connsiteX93" fmla="*/ 2965686 w 8009775"/>
              <a:gd name="connsiteY93" fmla="*/ 1735139 h 6858000"/>
              <a:gd name="connsiteX94" fmla="*/ 2965981 w 8009775"/>
              <a:gd name="connsiteY94" fmla="*/ 1729424 h 6858000"/>
              <a:gd name="connsiteX95" fmla="*/ 2966868 w 8009775"/>
              <a:gd name="connsiteY95" fmla="*/ 1723074 h 6858000"/>
              <a:gd name="connsiteX96" fmla="*/ 2967755 w 8009775"/>
              <a:gd name="connsiteY96" fmla="*/ 1717358 h 6858000"/>
              <a:gd name="connsiteX97" fmla="*/ 2968937 w 8009775"/>
              <a:gd name="connsiteY97" fmla="*/ 1711643 h 6858000"/>
              <a:gd name="connsiteX98" fmla="*/ 2970710 w 8009775"/>
              <a:gd name="connsiteY98" fmla="*/ 1705929 h 6858000"/>
              <a:gd name="connsiteX99" fmla="*/ 2972484 w 8009775"/>
              <a:gd name="connsiteY99" fmla="*/ 1700214 h 6858000"/>
              <a:gd name="connsiteX100" fmla="*/ 2974552 w 8009775"/>
              <a:gd name="connsiteY100" fmla="*/ 1694816 h 6858000"/>
              <a:gd name="connsiteX101" fmla="*/ 2976917 w 8009775"/>
              <a:gd name="connsiteY101" fmla="*/ 1689101 h 6858000"/>
              <a:gd name="connsiteX102" fmla="*/ 2979873 w 8009775"/>
              <a:gd name="connsiteY102" fmla="*/ 1683703 h 6858000"/>
              <a:gd name="connsiteX103" fmla="*/ 2982533 w 8009775"/>
              <a:gd name="connsiteY103" fmla="*/ 1678305 h 6858000"/>
              <a:gd name="connsiteX104" fmla="*/ 2985784 w 8009775"/>
              <a:gd name="connsiteY104" fmla="*/ 1673226 h 6858000"/>
              <a:gd name="connsiteX105" fmla="*/ 2989331 w 8009775"/>
              <a:gd name="connsiteY105" fmla="*/ 1668145 h 6858000"/>
              <a:gd name="connsiteX106" fmla="*/ 2992878 w 8009775"/>
              <a:gd name="connsiteY106" fmla="*/ 1663066 h 6858000"/>
              <a:gd name="connsiteX107" fmla="*/ 2997311 w 8009775"/>
              <a:gd name="connsiteY107" fmla="*/ 1658621 h 6858000"/>
              <a:gd name="connsiteX108" fmla="*/ 3001744 w 8009775"/>
              <a:gd name="connsiteY108" fmla="*/ 1653859 h 6858000"/>
              <a:gd name="connsiteX109" fmla="*/ 3006178 w 8009775"/>
              <a:gd name="connsiteY109" fmla="*/ 1649414 h 6858000"/>
              <a:gd name="connsiteX110" fmla="*/ 3010907 w 8009775"/>
              <a:gd name="connsiteY110" fmla="*/ 1645603 h 6858000"/>
              <a:gd name="connsiteX111" fmla="*/ 3015932 w 8009775"/>
              <a:gd name="connsiteY111" fmla="*/ 1641794 h 6858000"/>
              <a:gd name="connsiteX112" fmla="*/ 3020956 w 8009775"/>
              <a:gd name="connsiteY112" fmla="*/ 1637984 h 6858000"/>
              <a:gd name="connsiteX113" fmla="*/ 3025981 w 8009775"/>
              <a:gd name="connsiteY113" fmla="*/ 1634809 h 6858000"/>
              <a:gd name="connsiteX114" fmla="*/ 3031596 w 8009775"/>
              <a:gd name="connsiteY114" fmla="*/ 1631950 h 6858000"/>
              <a:gd name="connsiteX115" fmla="*/ 3036916 w 8009775"/>
              <a:gd name="connsiteY115" fmla="*/ 1629094 h 6858000"/>
              <a:gd name="connsiteX116" fmla="*/ 3042532 w 8009775"/>
              <a:gd name="connsiteY116" fmla="*/ 1626871 h 6858000"/>
              <a:gd name="connsiteX117" fmla="*/ 3047852 w 8009775"/>
              <a:gd name="connsiteY117" fmla="*/ 1624649 h 6858000"/>
              <a:gd name="connsiteX118" fmla="*/ 3053764 w 8009775"/>
              <a:gd name="connsiteY118" fmla="*/ 1623061 h 6858000"/>
              <a:gd name="connsiteX119" fmla="*/ 3059379 w 8009775"/>
              <a:gd name="connsiteY119" fmla="*/ 1621155 h 6858000"/>
              <a:gd name="connsiteX120" fmla="*/ 3065291 w 8009775"/>
              <a:gd name="connsiteY120" fmla="*/ 1620204 h 6858000"/>
              <a:gd name="connsiteX121" fmla="*/ 3070906 w 8009775"/>
              <a:gd name="connsiteY121" fmla="*/ 1618934 h 6858000"/>
              <a:gd name="connsiteX122" fmla="*/ 3077113 w 8009775"/>
              <a:gd name="connsiteY122" fmla="*/ 1618299 h 6858000"/>
              <a:gd name="connsiteX123" fmla="*/ 3082729 w 8009775"/>
              <a:gd name="connsiteY123" fmla="*/ 1617981 h 6858000"/>
              <a:gd name="connsiteX124" fmla="*/ 3088936 w 8009775"/>
              <a:gd name="connsiteY124" fmla="*/ 1617981 h 6858000"/>
              <a:gd name="connsiteX125" fmla="*/ 3094552 w 8009775"/>
              <a:gd name="connsiteY125" fmla="*/ 1617981 h 6858000"/>
              <a:gd name="connsiteX126" fmla="*/ 3100758 w 8009775"/>
              <a:gd name="connsiteY126" fmla="*/ 1618299 h 6858000"/>
              <a:gd name="connsiteX127" fmla="*/ 3106670 w 8009775"/>
              <a:gd name="connsiteY127" fmla="*/ 1618934 h 6858000"/>
              <a:gd name="connsiteX128" fmla="*/ 3112285 w 8009775"/>
              <a:gd name="connsiteY128" fmla="*/ 1620204 h 6858000"/>
              <a:gd name="connsiteX129" fmla="*/ 3117901 w 8009775"/>
              <a:gd name="connsiteY129" fmla="*/ 1621155 h 6858000"/>
              <a:gd name="connsiteX130" fmla="*/ 3123812 w 8009775"/>
              <a:gd name="connsiteY130" fmla="*/ 1623061 h 6858000"/>
              <a:gd name="connsiteX131" fmla="*/ 3129428 w 8009775"/>
              <a:gd name="connsiteY131" fmla="*/ 1624649 h 6858000"/>
              <a:gd name="connsiteX132" fmla="*/ 3135339 w 8009775"/>
              <a:gd name="connsiteY132" fmla="*/ 1626871 h 6858000"/>
              <a:gd name="connsiteX133" fmla="*/ 3140660 w 8009775"/>
              <a:gd name="connsiteY133" fmla="*/ 1629094 h 6858000"/>
              <a:gd name="connsiteX134" fmla="*/ 3145980 w 8009775"/>
              <a:gd name="connsiteY134" fmla="*/ 1631950 h 6858000"/>
              <a:gd name="connsiteX135" fmla="*/ 3151300 w 8009775"/>
              <a:gd name="connsiteY135" fmla="*/ 1634809 h 6858000"/>
              <a:gd name="connsiteX136" fmla="*/ 3156324 w 8009775"/>
              <a:gd name="connsiteY136" fmla="*/ 1637984 h 6858000"/>
              <a:gd name="connsiteX137" fmla="*/ 3161349 w 8009775"/>
              <a:gd name="connsiteY137" fmla="*/ 1641794 h 6858000"/>
              <a:gd name="connsiteX138" fmla="*/ 3166374 w 8009775"/>
              <a:gd name="connsiteY138" fmla="*/ 1645603 h 6858000"/>
              <a:gd name="connsiteX139" fmla="*/ 3171102 w 8009775"/>
              <a:gd name="connsiteY139" fmla="*/ 1649414 h 6858000"/>
              <a:gd name="connsiteX140" fmla="*/ 3175832 w 8009775"/>
              <a:gd name="connsiteY140" fmla="*/ 1653859 h 6858000"/>
              <a:gd name="connsiteX141" fmla="*/ 3844692 w 8009775"/>
              <a:gd name="connsiteY141" fmla="*/ 2322830 h 6858000"/>
              <a:gd name="connsiteX142" fmla="*/ 3849421 w 8009775"/>
              <a:gd name="connsiteY142" fmla="*/ 2326958 h 6858000"/>
              <a:gd name="connsiteX143" fmla="*/ 3854150 w 8009775"/>
              <a:gd name="connsiteY143" fmla="*/ 2331085 h 6858000"/>
              <a:gd name="connsiteX144" fmla="*/ 3859175 w 8009775"/>
              <a:gd name="connsiteY144" fmla="*/ 2334895 h 6858000"/>
              <a:gd name="connsiteX145" fmla="*/ 3864199 w 8009775"/>
              <a:gd name="connsiteY145" fmla="*/ 2338705 h 6858000"/>
              <a:gd name="connsiteX146" fmla="*/ 3869224 w 8009775"/>
              <a:gd name="connsiteY146" fmla="*/ 2341880 h 6858000"/>
              <a:gd name="connsiteX147" fmla="*/ 3874544 w 8009775"/>
              <a:gd name="connsiteY147" fmla="*/ 2344738 h 6858000"/>
              <a:gd name="connsiteX148" fmla="*/ 3879864 w 8009775"/>
              <a:gd name="connsiteY148" fmla="*/ 2347595 h 6858000"/>
              <a:gd name="connsiteX149" fmla="*/ 3885775 w 8009775"/>
              <a:gd name="connsiteY149" fmla="*/ 2349818 h 6858000"/>
              <a:gd name="connsiteX150" fmla="*/ 3891096 w 8009775"/>
              <a:gd name="connsiteY150" fmla="*/ 2351723 h 6858000"/>
              <a:gd name="connsiteX151" fmla="*/ 3896711 w 8009775"/>
              <a:gd name="connsiteY151" fmla="*/ 2353628 h 6858000"/>
              <a:gd name="connsiteX152" fmla="*/ 3902623 w 8009775"/>
              <a:gd name="connsiteY152" fmla="*/ 2355534 h 6858000"/>
              <a:gd name="connsiteX153" fmla="*/ 3908238 w 8009775"/>
              <a:gd name="connsiteY153" fmla="*/ 2356485 h 6858000"/>
              <a:gd name="connsiteX154" fmla="*/ 3914150 w 8009775"/>
              <a:gd name="connsiteY154" fmla="*/ 2357755 h 6858000"/>
              <a:gd name="connsiteX155" fmla="*/ 3920061 w 8009775"/>
              <a:gd name="connsiteY155" fmla="*/ 2358391 h 6858000"/>
              <a:gd name="connsiteX156" fmla="*/ 3925972 w 8009775"/>
              <a:gd name="connsiteY156" fmla="*/ 2358708 h 6858000"/>
              <a:gd name="connsiteX157" fmla="*/ 3931883 w 8009775"/>
              <a:gd name="connsiteY157" fmla="*/ 2358708 h 6858000"/>
              <a:gd name="connsiteX158" fmla="*/ 3937795 w 8009775"/>
              <a:gd name="connsiteY158" fmla="*/ 2358708 h 6858000"/>
              <a:gd name="connsiteX159" fmla="*/ 3943706 w 8009775"/>
              <a:gd name="connsiteY159" fmla="*/ 2358391 h 6858000"/>
              <a:gd name="connsiteX160" fmla="*/ 3949617 w 8009775"/>
              <a:gd name="connsiteY160" fmla="*/ 2357755 h 6858000"/>
              <a:gd name="connsiteX161" fmla="*/ 3955233 w 8009775"/>
              <a:gd name="connsiteY161" fmla="*/ 2356485 h 6858000"/>
              <a:gd name="connsiteX162" fmla="*/ 3961144 w 8009775"/>
              <a:gd name="connsiteY162" fmla="*/ 2355534 h 6858000"/>
              <a:gd name="connsiteX163" fmla="*/ 3966760 w 8009775"/>
              <a:gd name="connsiteY163" fmla="*/ 2353628 h 6858000"/>
              <a:gd name="connsiteX164" fmla="*/ 3972671 w 8009775"/>
              <a:gd name="connsiteY164" fmla="*/ 2351723 h 6858000"/>
              <a:gd name="connsiteX165" fmla="*/ 3978287 w 8009775"/>
              <a:gd name="connsiteY165" fmla="*/ 2349818 h 6858000"/>
              <a:gd name="connsiteX166" fmla="*/ 3983607 w 8009775"/>
              <a:gd name="connsiteY166" fmla="*/ 2347595 h 6858000"/>
              <a:gd name="connsiteX167" fmla="*/ 3989223 w 8009775"/>
              <a:gd name="connsiteY167" fmla="*/ 2344738 h 6858000"/>
              <a:gd name="connsiteX168" fmla="*/ 3994543 w 8009775"/>
              <a:gd name="connsiteY168" fmla="*/ 2341880 h 6858000"/>
              <a:gd name="connsiteX169" fmla="*/ 3999567 w 8009775"/>
              <a:gd name="connsiteY169" fmla="*/ 2338705 h 6858000"/>
              <a:gd name="connsiteX170" fmla="*/ 4004888 w 8009775"/>
              <a:gd name="connsiteY170" fmla="*/ 2334895 h 6858000"/>
              <a:gd name="connsiteX171" fmla="*/ 4009617 w 8009775"/>
              <a:gd name="connsiteY171" fmla="*/ 2331085 h 6858000"/>
              <a:gd name="connsiteX172" fmla="*/ 4014346 w 8009775"/>
              <a:gd name="connsiteY172" fmla="*/ 2326958 h 6858000"/>
              <a:gd name="connsiteX173" fmla="*/ 4018779 w 8009775"/>
              <a:gd name="connsiteY173" fmla="*/ 2322830 h 6858000"/>
              <a:gd name="connsiteX174" fmla="*/ 4023213 w 8009775"/>
              <a:gd name="connsiteY174" fmla="*/ 2318068 h 6858000"/>
              <a:gd name="connsiteX175" fmla="*/ 4027646 w 8009775"/>
              <a:gd name="connsiteY175" fmla="*/ 2313306 h 6858000"/>
              <a:gd name="connsiteX176" fmla="*/ 4031193 w 8009775"/>
              <a:gd name="connsiteY176" fmla="*/ 2308544 h 6858000"/>
              <a:gd name="connsiteX177" fmla="*/ 4034740 w 8009775"/>
              <a:gd name="connsiteY177" fmla="*/ 2303463 h 6858000"/>
              <a:gd name="connsiteX178" fmla="*/ 4037991 w 8009775"/>
              <a:gd name="connsiteY178" fmla="*/ 2298384 h 6858000"/>
              <a:gd name="connsiteX179" fmla="*/ 4040946 w 8009775"/>
              <a:gd name="connsiteY179" fmla="*/ 2292985 h 6858000"/>
              <a:gd name="connsiteX180" fmla="*/ 4043606 w 8009775"/>
              <a:gd name="connsiteY180" fmla="*/ 2287588 h 6858000"/>
              <a:gd name="connsiteX181" fmla="*/ 4046267 w 8009775"/>
              <a:gd name="connsiteY181" fmla="*/ 2281873 h 6858000"/>
              <a:gd name="connsiteX182" fmla="*/ 4048040 w 8009775"/>
              <a:gd name="connsiteY182" fmla="*/ 2276476 h 6858000"/>
              <a:gd name="connsiteX183" fmla="*/ 4050109 w 8009775"/>
              <a:gd name="connsiteY183" fmla="*/ 2270761 h 6858000"/>
              <a:gd name="connsiteX184" fmla="*/ 4051587 w 8009775"/>
              <a:gd name="connsiteY184" fmla="*/ 2265046 h 6858000"/>
              <a:gd name="connsiteX185" fmla="*/ 4052769 w 8009775"/>
              <a:gd name="connsiteY185" fmla="*/ 2259331 h 6858000"/>
              <a:gd name="connsiteX186" fmla="*/ 4053656 w 8009775"/>
              <a:gd name="connsiteY186" fmla="*/ 2253298 h 6858000"/>
              <a:gd name="connsiteX187" fmla="*/ 4054542 w 8009775"/>
              <a:gd name="connsiteY187" fmla="*/ 2247266 h 6858000"/>
              <a:gd name="connsiteX188" fmla="*/ 4054838 w 8009775"/>
              <a:gd name="connsiteY188" fmla="*/ 2241551 h 6858000"/>
              <a:gd name="connsiteX189" fmla="*/ 4055133 w 8009775"/>
              <a:gd name="connsiteY189" fmla="*/ 2235519 h 6858000"/>
              <a:gd name="connsiteX190" fmla="*/ 4054838 w 8009775"/>
              <a:gd name="connsiteY190" fmla="*/ 2229804 h 6858000"/>
              <a:gd name="connsiteX191" fmla="*/ 4054542 w 8009775"/>
              <a:gd name="connsiteY191" fmla="*/ 2223770 h 6858000"/>
              <a:gd name="connsiteX192" fmla="*/ 4053656 w 8009775"/>
              <a:gd name="connsiteY192" fmla="*/ 2217739 h 6858000"/>
              <a:gd name="connsiteX193" fmla="*/ 4052769 w 8009775"/>
              <a:gd name="connsiteY193" fmla="*/ 2212024 h 6858000"/>
              <a:gd name="connsiteX194" fmla="*/ 4051587 w 8009775"/>
              <a:gd name="connsiteY194" fmla="*/ 2206309 h 6858000"/>
              <a:gd name="connsiteX195" fmla="*/ 4050109 w 8009775"/>
              <a:gd name="connsiteY195" fmla="*/ 2200593 h 6858000"/>
              <a:gd name="connsiteX196" fmla="*/ 4048040 w 8009775"/>
              <a:gd name="connsiteY196" fmla="*/ 2194878 h 6858000"/>
              <a:gd name="connsiteX197" fmla="*/ 4046267 w 8009775"/>
              <a:gd name="connsiteY197" fmla="*/ 2189163 h 6858000"/>
              <a:gd name="connsiteX198" fmla="*/ 4043606 w 8009775"/>
              <a:gd name="connsiteY198" fmla="*/ 2183765 h 6858000"/>
              <a:gd name="connsiteX199" fmla="*/ 4040946 w 8009775"/>
              <a:gd name="connsiteY199" fmla="*/ 2178368 h 6858000"/>
              <a:gd name="connsiteX200" fmla="*/ 4037991 w 8009775"/>
              <a:gd name="connsiteY200" fmla="*/ 2172970 h 6858000"/>
              <a:gd name="connsiteX201" fmla="*/ 4034740 w 8009775"/>
              <a:gd name="connsiteY201" fmla="*/ 2167890 h 6858000"/>
              <a:gd name="connsiteX202" fmla="*/ 4031193 w 8009775"/>
              <a:gd name="connsiteY202" fmla="*/ 2162494 h 6858000"/>
              <a:gd name="connsiteX203" fmla="*/ 4027646 w 8009775"/>
              <a:gd name="connsiteY203" fmla="*/ 2157730 h 6858000"/>
              <a:gd name="connsiteX204" fmla="*/ 4023213 w 8009775"/>
              <a:gd name="connsiteY204" fmla="*/ 2153285 h 6858000"/>
              <a:gd name="connsiteX205" fmla="*/ 4018779 w 8009775"/>
              <a:gd name="connsiteY205" fmla="*/ 2148523 h 6858000"/>
              <a:gd name="connsiteX206" fmla="*/ 3632182 w 8009775"/>
              <a:gd name="connsiteY206" fmla="*/ 1761490 h 6858000"/>
              <a:gd name="connsiteX207" fmla="*/ 3435928 w 8009775"/>
              <a:gd name="connsiteY207" fmla="*/ 1565276 h 6858000"/>
              <a:gd name="connsiteX208" fmla="*/ 3431198 w 8009775"/>
              <a:gd name="connsiteY208" fmla="*/ 1560514 h 6858000"/>
              <a:gd name="connsiteX209" fmla="*/ 3427356 w 8009775"/>
              <a:gd name="connsiteY209" fmla="*/ 1555751 h 6858000"/>
              <a:gd name="connsiteX210" fmla="*/ 3423218 w 8009775"/>
              <a:gd name="connsiteY210" fmla="*/ 1550671 h 6858000"/>
              <a:gd name="connsiteX211" fmla="*/ 3420262 w 8009775"/>
              <a:gd name="connsiteY211" fmla="*/ 1545909 h 6858000"/>
              <a:gd name="connsiteX212" fmla="*/ 3417012 w 8009775"/>
              <a:gd name="connsiteY212" fmla="*/ 1540829 h 6858000"/>
              <a:gd name="connsiteX213" fmla="*/ 3413760 w 8009775"/>
              <a:gd name="connsiteY213" fmla="*/ 1535430 h 6858000"/>
              <a:gd name="connsiteX214" fmla="*/ 3411100 w 8009775"/>
              <a:gd name="connsiteY214" fmla="*/ 1530034 h 6858000"/>
              <a:gd name="connsiteX215" fmla="*/ 3408736 w 8009775"/>
              <a:gd name="connsiteY215" fmla="*/ 1524635 h 6858000"/>
              <a:gd name="connsiteX216" fmla="*/ 3406371 w 8009775"/>
              <a:gd name="connsiteY216" fmla="*/ 1518920 h 6858000"/>
              <a:gd name="connsiteX217" fmla="*/ 3404598 w 8009775"/>
              <a:gd name="connsiteY217" fmla="*/ 1513205 h 6858000"/>
              <a:gd name="connsiteX218" fmla="*/ 3403120 w 8009775"/>
              <a:gd name="connsiteY218" fmla="*/ 1507174 h 6858000"/>
              <a:gd name="connsiteX219" fmla="*/ 3401938 w 8009775"/>
              <a:gd name="connsiteY219" fmla="*/ 1501459 h 6858000"/>
              <a:gd name="connsiteX220" fmla="*/ 3401051 w 8009775"/>
              <a:gd name="connsiteY220" fmla="*/ 1495744 h 6858000"/>
              <a:gd name="connsiteX221" fmla="*/ 3400460 w 8009775"/>
              <a:gd name="connsiteY221" fmla="*/ 1489710 h 6858000"/>
              <a:gd name="connsiteX222" fmla="*/ 3399869 w 8009775"/>
              <a:gd name="connsiteY222" fmla="*/ 1483995 h 6858000"/>
              <a:gd name="connsiteX223" fmla="*/ 3399573 w 8009775"/>
              <a:gd name="connsiteY223" fmla="*/ 1478281 h 6858000"/>
              <a:gd name="connsiteX224" fmla="*/ 3399869 w 8009775"/>
              <a:gd name="connsiteY224" fmla="*/ 1472249 h 6858000"/>
              <a:gd name="connsiteX225" fmla="*/ 3400460 w 8009775"/>
              <a:gd name="connsiteY225" fmla="*/ 1466215 h 6858000"/>
              <a:gd name="connsiteX226" fmla="*/ 3401051 w 8009775"/>
              <a:gd name="connsiteY226" fmla="*/ 1460183 h 6858000"/>
              <a:gd name="connsiteX227" fmla="*/ 3401938 w 8009775"/>
              <a:gd name="connsiteY227" fmla="*/ 1454468 h 6858000"/>
              <a:gd name="connsiteX228" fmla="*/ 3403120 w 8009775"/>
              <a:gd name="connsiteY228" fmla="*/ 1448754 h 6858000"/>
              <a:gd name="connsiteX229" fmla="*/ 3404598 w 8009775"/>
              <a:gd name="connsiteY229" fmla="*/ 1443039 h 6858000"/>
              <a:gd name="connsiteX230" fmla="*/ 3406371 w 8009775"/>
              <a:gd name="connsiteY230" fmla="*/ 1437324 h 6858000"/>
              <a:gd name="connsiteX231" fmla="*/ 3408736 w 8009775"/>
              <a:gd name="connsiteY231" fmla="*/ 1431609 h 6858000"/>
              <a:gd name="connsiteX232" fmla="*/ 3411100 w 8009775"/>
              <a:gd name="connsiteY232" fmla="*/ 1426211 h 6858000"/>
              <a:gd name="connsiteX233" fmla="*/ 3413760 w 8009775"/>
              <a:gd name="connsiteY233" fmla="*/ 1420814 h 6858000"/>
              <a:gd name="connsiteX234" fmla="*/ 3417012 w 8009775"/>
              <a:gd name="connsiteY234" fmla="*/ 1415416 h 6858000"/>
              <a:gd name="connsiteX235" fmla="*/ 3420262 w 8009775"/>
              <a:gd name="connsiteY235" fmla="*/ 1410336 h 6858000"/>
              <a:gd name="connsiteX236" fmla="*/ 3423218 w 8009775"/>
              <a:gd name="connsiteY236" fmla="*/ 1405256 h 6858000"/>
              <a:gd name="connsiteX237" fmla="*/ 3427356 w 8009775"/>
              <a:gd name="connsiteY237" fmla="*/ 1400175 h 6858000"/>
              <a:gd name="connsiteX238" fmla="*/ 3431198 w 8009775"/>
              <a:gd name="connsiteY238" fmla="*/ 1395731 h 6858000"/>
              <a:gd name="connsiteX239" fmla="*/ 3435928 w 8009775"/>
              <a:gd name="connsiteY239" fmla="*/ 1390969 h 6858000"/>
              <a:gd name="connsiteX240" fmla="*/ 3440361 w 8009775"/>
              <a:gd name="connsiteY240" fmla="*/ 1386524 h 6858000"/>
              <a:gd name="connsiteX241" fmla="*/ 3445386 w 8009775"/>
              <a:gd name="connsiteY241" fmla="*/ 1382396 h 6858000"/>
              <a:gd name="connsiteX242" fmla="*/ 3449819 w 8009775"/>
              <a:gd name="connsiteY242" fmla="*/ 1378585 h 6858000"/>
              <a:gd name="connsiteX243" fmla="*/ 3454844 w 8009775"/>
              <a:gd name="connsiteY243" fmla="*/ 1375094 h 6858000"/>
              <a:gd name="connsiteX244" fmla="*/ 3460459 w 8009775"/>
              <a:gd name="connsiteY244" fmla="*/ 1371919 h 6858000"/>
              <a:gd name="connsiteX245" fmla="*/ 3465780 w 8009775"/>
              <a:gd name="connsiteY245" fmla="*/ 1369061 h 6858000"/>
              <a:gd name="connsiteX246" fmla="*/ 3471100 w 8009775"/>
              <a:gd name="connsiteY246" fmla="*/ 1366204 h 6858000"/>
              <a:gd name="connsiteX247" fmla="*/ 3476420 w 8009775"/>
              <a:gd name="connsiteY247" fmla="*/ 1363980 h 6858000"/>
              <a:gd name="connsiteX248" fmla="*/ 3482331 w 8009775"/>
              <a:gd name="connsiteY248" fmla="*/ 1361759 h 6858000"/>
              <a:gd name="connsiteX249" fmla="*/ 3487947 w 8009775"/>
              <a:gd name="connsiteY249" fmla="*/ 1360170 h 6858000"/>
              <a:gd name="connsiteX250" fmla="*/ 3493858 w 8009775"/>
              <a:gd name="connsiteY250" fmla="*/ 1358265 h 6858000"/>
              <a:gd name="connsiteX251" fmla="*/ 3499474 w 8009775"/>
              <a:gd name="connsiteY251" fmla="*/ 1357314 h 6858000"/>
              <a:gd name="connsiteX252" fmla="*/ 3505385 w 8009775"/>
              <a:gd name="connsiteY252" fmla="*/ 1356043 h 6858000"/>
              <a:gd name="connsiteX253" fmla="*/ 3511001 w 8009775"/>
              <a:gd name="connsiteY253" fmla="*/ 1355409 h 6858000"/>
              <a:gd name="connsiteX254" fmla="*/ 3517208 w 8009775"/>
              <a:gd name="connsiteY254" fmla="*/ 1355090 h 6858000"/>
              <a:gd name="connsiteX255" fmla="*/ 3522823 w 8009775"/>
              <a:gd name="connsiteY255" fmla="*/ 1354773 h 6858000"/>
              <a:gd name="connsiteX256" fmla="*/ 3529030 w 8009775"/>
              <a:gd name="connsiteY256" fmla="*/ 1355090 h 6858000"/>
              <a:gd name="connsiteX257" fmla="*/ 3534646 w 8009775"/>
              <a:gd name="connsiteY257" fmla="*/ 1355409 h 6858000"/>
              <a:gd name="connsiteX258" fmla="*/ 3540557 w 8009775"/>
              <a:gd name="connsiteY258" fmla="*/ 1356043 h 6858000"/>
              <a:gd name="connsiteX259" fmla="*/ 3546468 w 8009775"/>
              <a:gd name="connsiteY259" fmla="*/ 1357314 h 6858000"/>
              <a:gd name="connsiteX260" fmla="*/ 3552380 w 8009775"/>
              <a:gd name="connsiteY260" fmla="*/ 1358265 h 6858000"/>
              <a:gd name="connsiteX261" fmla="*/ 3557995 w 8009775"/>
              <a:gd name="connsiteY261" fmla="*/ 1360170 h 6858000"/>
              <a:gd name="connsiteX262" fmla="*/ 3563906 w 8009775"/>
              <a:gd name="connsiteY262" fmla="*/ 1361759 h 6858000"/>
              <a:gd name="connsiteX263" fmla="*/ 3569227 w 8009775"/>
              <a:gd name="connsiteY263" fmla="*/ 1363980 h 6858000"/>
              <a:gd name="connsiteX264" fmla="*/ 3574842 w 8009775"/>
              <a:gd name="connsiteY264" fmla="*/ 1366204 h 6858000"/>
              <a:gd name="connsiteX265" fmla="*/ 3580458 w 8009775"/>
              <a:gd name="connsiteY265" fmla="*/ 1369061 h 6858000"/>
              <a:gd name="connsiteX266" fmla="*/ 3585778 w 8009775"/>
              <a:gd name="connsiteY266" fmla="*/ 1371919 h 6858000"/>
              <a:gd name="connsiteX267" fmla="*/ 3590803 w 8009775"/>
              <a:gd name="connsiteY267" fmla="*/ 1375094 h 6858000"/>
              <a:gd name="connsiteX268" fmla="*/ 3595828 w 8009775"/>
              <a:gd name="connsiteY268" fmla="*/ 1378585 h 6858000"/>
              <a:gd name="connsiteX269" fmla="*/ 3600852 w 8009775"/>
              <a:gd name="connsiteY269" fmla="*/ 1382396 h 6858000"/>
              <a:gd name="connsiteX270" fmla="*/ 3605581 w 8009775"/>
              <a:gd name="connsiteY270" fmla="*/ 1386524 h 6858000"/>
              <a:gd name="connsiteX271" fmla="*/ 3610014 w 8009775"/>
              <a:gd name="connsiteY271" fmla="*/ 1390969 h 6858000"/>
              <a:gd name="connsiteX272" fmla="*/ 3817500 w 8009775"/>
              <a:gd name="connsiteY272" fmla="*/ 1598296 h 6858000"/>
              <a:gd name="connsiteX273" fmla="*/ 3821934 w 8009775"/>
              <a:gd name="connsiteY273" fmla="*/ 1602423 h 6858000"/>
              <a:gd name="connsiteX274" fmla="*/ 3826663 w 8009775"/>
              <a:gd name="connsiteY274" fmla="*/ 1606869 h 6858000"/>
              <a:gd name="connsiteX275" fmla="*/ 3831687 w 8009775"/>
              <a:gd name="connsiteY275" fmla="*/ 1610361 h 6858000"/>
              <a:gd name="connsiteX276" fmla="*/ 3836712 w 8009775"/>
              <a:gd name="connsiteY276" fmla="*/ 1613854 h 6858000"/>
              <a:gd name="connsiteX277" fmla="*/ 3841736 w 8009775"/>
              <a:gd name="connsiteY277" fmla="*/ 1617345 h 6858000"/>
              <a:gd name="connsiteX278" fmla="*/ 3847352 w 8009775"/>
              <a:gd name="connsiteY278" fmla="*/ 1620204 h 6858000"/>
              <a:gd name="connsiteX279" fmla="*/ 3852672 w 8009775"/>
              <a:gd name="connsiteY279" fmla="*/ 1623061 h 6858000"/>
              <a:gd name="connsiteX280" fmla="*/ 3857992 w 8009775"/>
              <a:gd name="connsiteY280" fmla="*/ 1625283 h 6858000"/>
              <a:gd name="connsiteX281" fmla="*/ 3863608 w 8009775"/>
              <a:gd name="connsiteY281" fmla="*/ 1627189 h 6858000"/>
              <a:gd name="connsiteX282" fmla="*/ 3869519 w 8009775"/>
              <a:gd name="connsiteY282" fmla="*/ 1629094 h 6858000"/>
              <a:gd name="connsiteX283" fmla="*/ 3875135 w 8009775"/>
              <a:gd name="connsiteY283" fmla="*/ 1630998 h 6858000"/>
              <a:gd name="connsiteX284" fmla="*/ 3881046 w 8009775"/>
              <a:gd name="connsiteY284" fmla="*/ 1631950 h 6858000"/>
              <a:gd name="connsiteX285" fmla="*/ 3886662 w 8009775"/>
              <a:gd name="connsiteY285" fmla="*/ 1632904 h 6858000"/>
              <a:gd name="connsiteX286" fmla="*/ 3892869 w 8009775"/>
              <a:gd name="connsiteY286" fmla="*/ 1633856 h 6858000"/>
              <a:gd name="connsiteX287" fmla="*/ 3898485 w 8009775"/>
              <a:gd name="connsiteY287" fmla="*/ 1634174 h 6858000"/>
              <a:gd name="connsiteX288" fmla="*/ 3904396 w 8009775"/>
              <a:gd name="connsiteY288" fmla="*/ 1634174 h 6858000"/>
              <a:gd name="connsiteX289" fmla="*/ 3910307 w 8009775"/>
              <a:gd name="connsiteY289" fmla="*/ 1634174 h 6858000"/>
              <a:gd name="connsiteX290" fmla="*/ 3916219 w 8009775"/>
              <a:gd name="connsiteY290" fmla="*/ 1633856 h 6858000"/>
              <a:gd name="connsiteX291" fmla="*/ 3922425 w 8009775"/>
              <a:gd name="connsiteY291" fmla="*/ 1632904 h 6858000"/>
              <a:gd name="connsiteX292" fmla="*/ 3928041 w 8009775"/>
              <a:gd name="connsiteY292" fmla="*/ 1631950 h 6858000"/>
              <a:gd name="connsiteX293" fmla="*/ 3933657 w 8009775"/>
              <a:gd name="connsiteY293" fmla="*/ 1630998 h 6858000"/>
              <a:gd name="connsiteX294" fmla="*/ 3939568 w 8009775"/>
              <a:gd name="connsiteY294" fmla="*/ 1629094 h 6858000"/>
              <a:gd name="connsiteX295" fmla="*/ 3945184 w 8009775"/>
              <a:gd name="connsiteY295" fmla="*/ 1627189 h 6858000"/>
              <a:gd name="connsiteX296" fmla="*/ 3950799 w 8009775"/>
              <a:gd name="connsiteY296" fmla="*/ 1625283 h 6858000"/>
              <a:gd name="connsiteX297" fmla="*/ 3956415 w 8009775"/>
              <a:gd name="connsiteY297" fmla="*/ 1623061 h 6858000"/>
              <a:gd name="connsiteX298" fmla="*/ 3961735 w 8009775"/>
              <a:gd name="connsiteY298" fmla="*/ 1620204 h 6858000"/>
              <a:gd name="connsiteX299" fmla="*/ 3967055 w 8009775"/>
              <a:gd name="connsiteY299" fmla="*/ 1617345 h 6858000"/>
              <a:gd name="connsiteX300" fmla="*/ 3972376 w 8009775"/>
              <a:gd name="connsiteY300" fmla="*/ 1613854 h 6858000"/>
              <a:gd name="connsiteX301" fmla="*/ 3977400 w 8009775"/>
              <a:gd name="connsiteY301" fmla="*/ 1610361 h 6858000"/>
              <a:gd name="connsiteX302" fmla="*/ 3982425 w 8009775"/>
              <a:gd name="connsiteY302" fmla="*/ 1606869 h 6858000"/>
              <a:gd name="connsiteX303" fmla="*/ 3986858 w 8009775"/>
              <a:gd name="connsiteY303" fmla="*/ 1602423 h 6858000"/>
              <a:gd name="connsiteX304" fmla="*/ 3991587 w 8009775"/>
              <a:gd name="connsiteY304" fmla="*/ 1598296 h 6858000"/>
              <a:gd name="connsiteX305" fmla="*/ 3996021 w 8009775"/>
              <a:gd name="connsiteY305" fmla="*/ 1593533 h 6858000"/>
              <a:gd name="connsiteX306" fmla="*/ 4000159 w 8009775"/>
              <a:gd name="connsiteY306" fmla="*/ 1588771 h 6858000"/>
              <a:gd name="connsiteX307" fmla="*/ 4003705 w 8009775"/>
              <a:gd name="connsiteY307" fmla="*/ 1583691 h 6858000"/>
              <a:gd name="connsiteX308" fmla="*/ 4007548 w 8009775"/>
              <a:gd name="connsiteY308" fmla="*/ 1578928 h 6858000"/>
              <a:gd name="connsiteX309" fmla="*/ 4010799 w 8009775"/>
              <a:gd name="connsiteY309" fmla="*/ 1573849 h 6858000"/>
              <a:gd name="connsiteX310" fmla="*/ 4013459 w 8009775"/>
              <a:gd name="connsiteY310" fmla="*/ 1568451 h 6858000"/>
              <a:gd name="connsiteX311" fmla="*/ 4016415 w 8009775"/>
              <a:gd name="connsiteY311" fmla="*/ 1563054 h 6858000"/>
              <a:gd name="connsiteX312" fmla="*/ 4018484 w 8009775"/>
              <a:gd name="connsiteY312" fmla="*/ 1557339 h 6858000"/>
              <a:gd name="connsiteX313" fmla="*/ 4020848 w 8009775"/>
              <a:gd name="connsiteY313" fmla="*/ 1551941 h 6858000"/>
              <a:gd name="connsiteX314" fmla="*/ 4022621 w 8009775"/>
              <a:gd name="connsiteY314" fmla="*/ 1546226 h 6858000"/>
              <a:gd name="connsiteX315" fmla="*/ 4024395 w 8009775"/>
              <a:gd name="connsiteY315" fmla="*/ 1540511 h 6858000"/>
              <a:gd name="connsiteX316" fmla="*/ 4025282 w 8009775"/>
              <a:gd name="connsiteY316" fmla="*/ 1534478 h 6858000"/>
              <a:gd name="connsiteX317" fmla="*/ 4026464 w 8009775"/>
              <a:gd name="connsiteY317" fmla="*/ 1528763 h 6858000"/>
              <a:gd name="connsiteX318" fmla="*/ 4027055 w 8009775"/>
              <a:gd name="connsiteY318" fmla="*/ 1522731 h 6858000"/>
              <a:gd name="connsiteX319" fmla="*/ 4027646 w 8009775"/>
              <a:gd name="connsiteY319" fmla="*/ 1517016 h 6858000"/>
              <a:gd name="connsiteX320" fmla="*/ 4027646 w 8009775"/>
              <a:gd name="connsiteY320" fmla="*/ 1510984 h 6858000"/>
              <a:gd name="connsiteX321" fmla="*/ 4027646 w 8009775"/>
              <a:gd name="connsiteY321" fmla="*/ 1505268 h 6858000"/>
              <a:gd name="connsiteX322" fmla="*/ 4027055 w 8009775"/>
              <a:gd name="connsiteY322" fmla="*/ 1499553 h 6858000"/>
              <a:gd name="connsiteX323" fmla="*/ 4026464 w 8009775"/>
              <a:gd name="connsiteY323" fmla="*/ 1493204 h 6858000"/>
              <a:gd name="connsiteX324" fmla="*/ 4025282 w 8009775"/>
              <a:gd name="connsiteY324" fmla="*/ 1487489 h 6858000"/>
              <a:gd name="connsiteX325" fmla="*/ 4024395 w 8009775"/>
              <a:gd name="connsiteY325" fmla="*/ 1481773 h 6858000"/>
              <a:gd name="connsiteX326" fmla="*/ 4022621 w 8009775"/>
              <a:gd name="connsiteY326" fmla="*/ 1476058 h 6858000"/>
              <a:gd name="connsiteX327" fmla="*/ 4020848 w 8009775"/>
              <a:gd name="connsiteY327" fmla="*/ 1470343 h 6858000"/>
              <a:gd name="connsiteX328" fmla="*/ 4018484 w 8009775"/>
              <a:gd name="connsiteY328" fmla="*/ 1464629 h 6858000"/>
              <a:gd name="connsiteX329" fmla="*/ 4016415 w 8009775"/>
              <a:gd name="connsiteY329" fmla="*/ 1459231 h 6858000"/>
              <a:gd name="connsiteX330" fmla="*/ 4013459 w 8009775"/>
              <a:gd name="connsiteY330" fmla="*/ 1453834 h 6858000"/>
              <a:gd name="connsiteX331" fmla="*/ 4010799 w 8009775"/>
              <a:gd name="connsiteY331" fmla="*/ 1448436 h 6858000"/>
              <a:gd name="connsiteX332" fmla="*/ 4007548 w 8009775"/>
              <a:gd name="connsiteY332" fmla="*/ 1443356 h 6858000"/>
              <a:gd name="connsiteX333" fmla="*/ 4003705 w 8009775"/>
              <a:gd name="connsiteY333" fmla="*/ 1438275 h 6858000"/>
              <a:gd name="connsiteX334" fmla="*/ 4000159 w 8009775"/>
              <a:gd name="connsiteY334" fmla="*/ 1433195 h 6858000"/>
              <a:gd name="connsiteX335" fmla="*/ 3996021 w 8009775"/>
              <a:gd name="connsiteY335" fmla="*/ 1428751 h 6858000"/>
              <a:gd name="connsiteX336" fmla="*/ 3991587 w 8009775"/>
              <a:gd name="connsiteY336" fmla="*/ 1423988 h 6858000"/>
              <a:gd name="connsiteX337" fmla="*/ 3323022 w 8009775"/>
              <a:gd name="connsiteY337" fmla="*/ 755333 h 6858000"/>
              <a:gd name="connsiteX338" fmla="*/ 3316815 w 8009775"/>
              <a:gd name="connsiteY338" fmla="*/ 748348 h 6858000"/>
              <a:gd name="connsiteX339" fmla="*/ 3310904 w 8009775"/>
              <a:gd name="connsiteY339" fmla="*/ 741045 h 6858000"/>
              <a:gd name="connsiteX340" fmla="*/ 3305584 w 8009775"/>
              <a:gd name="connsiteY340" fmla="*/ 733108 h 6858000"/>
              <a:gd name="connsiteX341" fmla="*/ 3300855 w 8009775"/>
              <a:gd name="connsiteY341" fmla="*/ 725170 h 6858000"/>
              <a:gd name="connsiteX342" fmla="*/ 3297308 w 8009775"/>
              <a:gd name="connsiteY342" fmla="*/ 716915 h 6858000"/>
              <a:gd name="connsiteX343" fmla="*/ 3293761 w 8009775"/>
              <a:gd name="connsiteY343" fmla="*/ 708660 h 6858000"/>
              <a:gd name="connsiteX344" fmla="*/ 3291101 w 8009775"/>
              <a:gd name="connsiteY344" fmla="*/ 699770 h 6858000"/>
              <a:gd name="connsiteX345" fmla="*/ 3289328 w 8009775"/>
              <a:gd name="connsiteY345" fmla="*/ 691198 h 6858000"/>
              <a:gd name="connsiteX346" fmla="*/ 2596527 w 8009775"/>
              <a:gd name="connsiteY346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980947 w 8009775"/>
              <a:gd name="connsiteY72" fmla="*/ 2804795 h 6858000"/>
              <a:gd name="connsiteX73" fmla="*/ 3965282 w 8009775"/>
              <a:gd name="connsiteY73" fmla="*/ 2791144 h 6858000"/>
              <a:gd name="connsiteX74" fmla="*/ 3950799 w 8009775"/>
              <a:gd name="connsiteY74" fmla="*/ 2776856 h 6858000"/>
              <a:gd name="connsiteX75" fmla="*/ 3001744 w 8009775"/>
              <a:gd name="connsiteY75" fmla="*/ 1828166 h 6858000"/>
              <a:gd name="connsiteX76" fmla="*/ 2997311 w 8009775"/>
              <a:gd name="connsiteY76" fmla="*/ 1823404 h 6858000"/>
              <a:gd name="connsiteX77" fmla="*/ 2992878 w 8009775"/>
              <a:gd name="connsiteY77" fmla="*/ 1818640 h 6858000"/>
              <a:gd name="connsiteX78" fmla="*/ 2989331 w 8009775"/>
              <a:gd name="connsiteY78" fmla="*/ 1814195 h 6858000"/>
              <a:gd name="connsiteX79" fmla="*/ 2985784 w 8009775"/>
              <a:gd name="connsiteY79" fmla="*/ 1808799 h 6858000"/>
              <a:gd name="connsiteX80" fmla="*/ 2982533 w 8009775"/>
              <a:gd name="connsiteY80" fmla="*/ 1803718 h 6858000"/>
              <a:gd name="connsiteX81" fmla="*/ 2979873 w 8009775"/>
              <a:gd name="connsiteY81" fmla="*/ 1798321 h 6858000"/>
              <a:gd name="connsiteX82" fmla="*/ 2976917 w 8009775"/>
              <a:gd name="connsiteY82" fmla="*/ 1792924 h 6858000"/>
              <a:gd name="connsiteX83" fmla="*/ 2974552 w 8009775"/>
              <a:gd name="connsiteY83" fmla="*/ 1787526 h 6858000"/>
              <a:gd name="connsiteX84" fmla="*/ 2972484 w 8009775"/>
              <a:gd name="connsiteY84" fmla="*/ 1781811 h 6858000"/>
              <a:gd name="connsiteX85" fmla="*/ 2970710 w 8009775"/>
              <a:gd name="connsiteY85" fmla="*/ 1776095 h 6858000"/>
              <a:gd name="connsiteX86" fmla="*/ 2968937 w 8009775"/>
              <a:gd name="connsiteY86" fmla="*/ 1770380 h 6858000"/>
              <a:gd name="connsiteX87" fmla="*/ 2967755 w 8009775"/>
              <a:gd name="connsiteY87" fmla="*/ 1764665 h 6858000"/>
              <a:gd name="connsiteX88" fmla="*/ 2966868 w 8009775"/>
              <a:gd name="connsiteY88" fmla="*/ 1758634 h 6858000"/>
              <a:gd name="connsiteX89" fmla="*/ 2965981 w 8009775"/>
              <a:gd name="connsiteY89" fmla="*/ 1752919 h 6858000"/>
              <a:gd name="connsiteX90" fmla="*/ 2965686 w 8009775"/>
              <a:gd name="connsiteY90" fmla="*/ 1746885 h 6858000"/>
              <a:gd name="connsiteX91" fmla="*/ 2965686 w 8009775"/>
              <a:gd name="connsiteY91" fmla="*/ 1741170 h 6858000"/>
              <a:gd name="connsiteX92" fmla="*/ 2965686 w 8009775"/>
              <a:gd name="connsiteY92" fmla="*/ 1735139 h 6858000"/>
              <a:gd name="connsiteX93" fmla="*/ 2965981 w 8009775"/>
              <a:gd name="connsiteY93" fmla="*/ 1729424 h 6858000"/>
              <a:gd name="connsiteX94" fmla="*/ 2966868 w 8009775"/>
              <a:gd name="connsiteY94" fmla="*/ 1723074 h 6858000"/>
              <a:gd name="connsiteX95" fmla="*/ 2967755 w 8009775"/>
              <a:gd name="connsiteY95" fmla="*/ 1717358 h 6858000"/>
              <a:gd name="connsiteX96" fmla="*/ 2968937 w 8009775"/>
              <a:gd name="connsiteY96" fmla="*/ 1711643 h 6858000"/>
              <a:gd name="connsiteX97" fmla="*/ 2970710 w 8009775"/>
              <a:gd name="connsiteY97" fmla="*/ 1705929 h 6858000"/>
              <a:gd name="connsiteX98" fmla="*/ 2972484 w 8009775"/>
              <a:gd name="connsiteY98" fmla="*/ 1700214 h 6858000"/>
              <a:gd name="connsiteX99" fmla="*/ 2974552 w 8009775"/>
              <a:gd name="connsiteY99" fmla="*/ 1694816 h 6858000"/>
              <a:gd name="connsiteX100" fmla="*/ 2976917 w 8009775"/>
              <a:gd name="connsiteY100" fmla="*/ 1689101 h 6858000"/>
              <a:gd name="connsiteX101" fmla="*/ 2979873 w 8009775"/>
              <a:gd name="connsiteY101" fmla="*/ 1683703 h 6858000"/>
              <a:gd name="connsiteX102" fmla="*/ 2982533 w 8009775"/>
              <a:gd name="connsiteY102" fmla="*/ 1678305 h 6858000"/>
              <a:gd name="connsiteX103" fmla="*/ 2985784 w 8009775"/>
              <a:gd name="connsiteY103" fmla="*/ 1673226 h 6858000"/>
              <a:gd name="connsiteX104" fmla="*/ 2989331 w 8009775"/>
              <a:gd name="connsiteY104" fmla="*/ 1668145 h 6858000"/>
              <a:gd name="connsiteX105" fmla="*/ 2992878 w 8009775"/>
              <a:gd name="connsiteY105" fmla="*/ 1663066 h 6858000"/>
              <a:gd name="connsiteX106" fmla="*/ 2997311 w 8009775"/>
              <a:gd name="connsiteY106" fmla="*/ 1658621 h 6858000"/>
              <a:gd name="connsiteX107" fmla="*/ 3001744 w 8009775"/>
              <a:gd name="connsiteY107" fmla="*/ 1653859 h 6858000"/>
              <a:gd name="connsiteX108" fmla="*/ 3006178 w 8009775"/>
              <a:gd name="connsiteY108" fmla="*/ 1649414 h 6858000"/>
              <a:gd name="connsiteX109" fmla="*/ 3010907 w 8009775"/>
              <a:gd name="connsiteY109" fmla="*/ 1645603 h 6858000"/>
              <a:gd name="connsiteX110" fmla="*/ 3015932 w 8009775"/>
              <a:gd name="connsiteY110" fmla="*/ 1641794 h 6858000"/>
              <a:gd name="connsiteX111" fmla="*/ 3020956 w 8009775"/>
              <a:gd name="connsiteY111" fmla="*/ 1637984 h 6858000"/>
              <a:gd name="connsiteX112" fmla="*/ 3025981 w 8009775"/>
              <a:gd name="connsiteY112" fmla="*/ 1634809 h 6858000"/>
              <a:gd name="connsiteX113" fmla="*/ 3031596 w 8009775"/>
              <a:gd name="connsiteY113" fmla="*/ 1631950 h 6858000"/>
              <a:gd name="connsiteX114" fmla="*/ 3036916 w 8009775"/>
              <a:gd name="connsiteY114" fmla="*/ 1629094 h 6858000"/>
              <a:gd name="connsiteX115" fmla="*/ 3042532 w 8009775"/>
              <a:gd name="connsiteY115" fmla="*/ 1626871 h 6858000"/>
              <a:gd name="connsiteX116" fmla="*/ 3047852 w 8009775"/>
              <a:gd name="connsiteY116" fmla="*/ 1624649 h 6858000"/>
              <a:gd name="connsiteX117" fmla="*/ 3053764 w 8009775"/>
              <a:gd name="connsiteY117" fmla="*/ 1623061 h 6858000"/>
              <a:gd name="connsiteX118" fmla="*/ 3059379 w 8009775"/>
              <a:gd name="connsiteY118" fmla="*/ 1621155 h 6858000"/>
              <a:gd name="connsiteX119" fmla="*/ 3065291 w 8009775"/>
              <a:gd name="connsiteY119" fmla="*/ 1620204 h 6858000"/>
              <a:gd name="connsiteX120" fmla="*/ 3070906 w 8009775"/>
              <a:gd name="connsiteY120" fmla="*/ 1618934 h 6858000"/>
              <a:gd name="connsiteX121" fmla="*/ 3077113 w 8009775"/>
              <a:gd name="connsiteY121" fmla="*/ 1618299 h 6858000"/>
              <a:gd name="connsiteX122" fmla="*/ 3082729 w 8009775"/>
              <a:gd name="connsiteY122" fmla="*/ 1617981 h 6858000"/>
              <a:gd name="connsiteX123" fmla="*/ 3088936 w 8009775"/>
              <a:gd name="connsiteY123" fmla="*/ 1617981 h 6858000"/>
              <a:gd name="connsiteX124" fmla="*/ 3094552 w 8009775"/>
              <a:gd name="connsiteY124" fmla="*/ 1617981 h 6858000"/>
              <a:gd name="connsiteX125" fmla="*/ 3100758 w 8009775"/>
              <a:gd name="connsiteY125" fmla="*/ 1618299 h 6858000"/>
              <a:gd name="connsiteX126" fmla="*/ 3106670 w 8009775"/>
              <a:gd name="connsiteY126" fmla="*/ 1618934 h 6858000"/>
              <a:gd name="connsiteX127" fmla="*/ 3112285 w 8009775"/>
              <a:gd name="connsiteY127" fmla="*/ 1620204 h 6858000"/>
              <a:gd name="connsiteX128" fmla="*/ 3117901 w 8009775"/>
              <a:gd name="connsiteY128" fmla="*/ 1621155 h 6858000"/>
              <a:gd name="connsiteX129" fmla="*/ 3123812 w 8009775"/>
              <a:gd name="connsiteY129" fmla="*/ 1623061 h 6858000"/>
              <a:gd name="connsiteX130" fmla="*/ 3129428 w 8009775"/>
              <a:gd name="connsiteY130" fmla="*/ 1624649 h 6858000"/>
              <a:gd name="connsiteX131" fmla="*/ 3135339 w 8009775"/>
              <a:gd name="connsiteY131" fmla="*/ 1626871 h 6858000"/>
              <a:gd name="connsiteX132" fmla="*/ 3140660 w 8009775"/>
              <a:gd name="connsiteY132" fmla="*/ 1629094 h 6858000"/>
              <a:gd name="connsiteX133" fmla="*/ 3145980 w 8009775"/>
              <a:gd name="connsiteY133" fmla="*/ 1631950 h 6858000"/>
              <a:gd name="connsiteX134" fmla="*/ 3151300 w 8009775"/>
              <a:gd name="connsiteY134" fmla="*/ 1634809 h 6858000"/>
              <a:gd name="connsiteX135" fmla="*/ 3156324 w 8009775"/>
              <a:gd name="connsiteY135" fmla="*/ 1637984 h 6858000"/>
              <a:gd name="connsiteX136" fmla="*/ 3161349 w 8009775"/>
              <a:gd name="connsiteY136" fmla="*/ 1641794 h 6858000"/>
              <a:gd name="connsiteX137" fmla="*/ 3166374 w 8009775"/>
              <a:gd name="connsiteY137" fmla="*/ 1645603 h 6858000"/>
              <a:gd name="connsiteX138" fmla="*/ 3171102 w 8009775"/>
              <a:gd name="connsiteY138" fmla="*/ 1649414 h 6858000"/>
              <a:gd name="connsiteX139" fmla="*/ 3175832 w 8009775"/>
              <a:gd name="connsiteY139" fmla="*/ 1653859 h 6858000"/>
              <a:gd name="connsiteX140" fmla="*/ 3844692 w 8009775"/>
              <a:gd name="connsiteY140" fmla="*/ 2322830 h 6858000"/>
              <a:gd name="connsiteX141" fmla="*/ 3849421 w 8009775"/>
              <a:gd name="connsiteY141" fmla="*/ 2326958 h 6858000"/>
              <a:gd name="connsiteX142" fmla="*/ 3854150 w 8009775"/>
              <a:gd name="connsiteY142" fmla="*/ 2331085 h 6858000"/>
              <a:gd name="connsiteX143" fmla="*/ 3859175 w 8009775"/>
              <a:gd name="connsiteY143" fmla="*/ 2334895 h 6858000"/>
              <a:gd name="connsiteX144" fmla="*/ 3864199 w 8009775"/>
              <a:gd name="connsiteY144" fmla="*/ 2338705 h 6858000"/>
              <a:gd name="connsiteX145" fmla="*/ 3869224 w 8009775"/>
              <a:gd name="connsiteY145" fmla="*/ 2341880 h 6858000"/>
              <a:gd name="connsiteX146" fmla="*/ 3874544 w 8009775"/>
              <a:gd name="connsiteY146" fmla="*/ 2344738 h 6858000"/>
              <a:gd name="connsiteX147" fmla="*/ 3879864 w 8009775"/>
              <a:gd name="connsiteY147" fmla="*/ 2347595 h 6858000"/>
              <a:gd name="connsiteX148" fmla="*/ 3885775 w 8009775"/>
              <a:gd name="connsiteY148" fmla="*/ 2349818 h 6858000"/>
              <a:gd name="connsiteX149" fmla="*/ 3891096 w 8009775"/>
              <a:gd name="connsiteY149" fmla="*/ 2351723 h 6858000"/>
              <a:gd name="connsiteX150" fmla="*/ 3896711 w 8009775"/>
              <a:gd name="connsiteY150" fmla="*/ 2353628 h 6858000"/>
              <a:gd name="connsiteX151" fmla="*/ 3902623 w 8009775"/>
              <a:gd name="connsiteY151" fmla="*/ 2355534 h 6858000"/>
              <a:gd name="connsiteX152" fmla="*/ 3908238 w 8009775"/>
              <a:gd name="connsiteY152" fmla="*/ 2356485 h 6858000"/>
              <a:gd name="connsiteX153" fmla="*/ 3914150 w 8009775"/>
              <a:gd name="connsiteY153" fmla="*/ 2357755 h 6858000"/>
              <a:gd name="connsiteX154" fmla="*/ 3920061 w 8009775"/>
              <a:gd name="connsiteY154" fmla="*/ 2358391 h 6858000"/>
              <a:gd name="connsiteX155" fmla="*/ 3925972 w 8009775"/>
              <a:gd name="connsiteY155" fmla="*/ 2358708 h 6858000"/>
              <a:gd name="connsiteX156" fmla="*/ 3931883 w 8009775"/>
              <a:gd name="connsiteY156" fmla="*/ 2358708 h 6858000"/>
              <a:gd name="connsiteX157" fmla="*/ 3937795 w 8009775"/>
              <a:gd name="connsiteY157" fmla="*/ 2358708 h 6858000"/>
              <a:gd name="connsiteX158" fmla="*/ 3943706 w 8009775"/>
              <a:gd name="connsiteY158" fmla="*/ 2358391 h 6858000"/>
              <a:gd name="connsiteX159" fmla="*/ 3949617 w 8009775"/>
              <a:gd name="connsiteY159" fmla="*/ 2357755 h 6858000"/>
              <a:gd name="connsiteX160" fmla="*/ 3955233 w 8009775"/>
              <a:gd name="connsiteY160" fmla="*/ 2356485 h 6858000"/>
              <a:gd name="connsiteX161" fmla="*/ 3961144 w 8009775"/>
              <a:gd name="connsiteY161" fmla="*/ 2355534 h 6858000"/>
              <a:gd name="connsiteX162" fmla="*/ 3966760 w 8009775"/>
              <a:gd name="connsiteY162" fmla="*/ 2353628 h 6858000"/>
              <a:gd name="connsiteX163" fmla="*/ 3972671 w 8009775"/>
              <a:gd name="connsiteY163" fmla="*/ 2351723 h 6858000"/>
              <a:gd name="connsiteX164" fmla="*/ 3978287 w 8009775"/>
              <a:gd name="connsiteY164" fmla="*/ 2349818 h 6858000"/>
              <a:gd name="connsiteX165" fmla="*/ 3983607 w 8009775"/>
              <a:gd name="connsiteY165" fmla="*/ 2347595 h 6858000"/>
              <a:gd name="connsiteX166" fmla="*/ 3989223 w 8009775"/>
              <a:gd name="connsiteY166" fmla="*/ 2344738 h 6858000"/>
              <a:gd name="connsiteX167" fmla="*/ 3994543 w 8009775"/>
              <a:gd name="connsiteY167" fmla="*/ 2341880 h 6858000"/>
              <a:gd name="connsiteX168" fmla="*/ 3999567 w 8009775"/>
              <a:gd name="connsiteY168" fmla="*/ 2338705 h 6858000"/>
              <a:gd name="connsiteX169" fmla="*/ 4004888 w 8009775"/>
              <a:gd name="connsiteY169" fmla="*/ 2334895 h 6858000"/>
              <a:gd name="connsiteX170" fmla="*/ 4009617 w 8009775"/>
              <a:gd name="connsiteY170" fmla="*/ 2331085 h 6858000"/>
              <a:gd name="connsiteX171" fmla="*/ 4014346 w 8009775"/>
              <a:gd name="connsiteY171" fmla="*/ 2326958 h 6858000"/>
              <a:gd name="connsiteX172" fmla="*/ 4018779 w 8009775"/>
              <a:gd name="connsiteY172" fmla="*/ 2322830 h 6858000"/>
              <a:gd name="connsiteX173" fmla="*/ 4023213 w 8009775"/>
              <a:gd name="connsiteY173" fmla="*/ 2318068 h 6858000"/>
              <a:gd name="connsiteX174" fmla="*/ 4027646 w 8009775"/>
              <a:gd name="connsiteY174" fmla="*/ 2313306 h 6858000"/>
              <a:gd name="connsiteX175" fmla="*/ 4031193 w 8009775"/>
              <a:gd name="connsiteY175" fmla="*/ 2308544 h 6858000"/>
              <a:gd name="connsiteX176" fmla="*/ 4034740 w 8009775"/>
              <a:gd name="connsiteY176" fmla="*/ 2303463 h 6858000"/>
              <a:gd name="connsiteX177" fmla="*/ 4037991 w 8009775"/>
              <a:gd name="connsiteY177" fmla="*/ 2298384 h 6858000"/>
              <a:gd name="connsiteX178" fmla="*/ 4040946 w 8009775"/>
              <a:gd name="connsiteY178" fmla="*/ 2292985 h 6858000"/>
              <a:gd name="connsiteX179" fmla="*/ 4043606 w 8009775"/>
              <a:gd name="connsiteY179" fmla="*/ 2287588 h 6858000"/>
              <a:gd name="connsiteX180" fmla="*/ 4046267 w 8009775"/>
              <a:gd name="connsiteY180" fmla="*/ 2281873 h 6858000"/>
              <a:gd name="connsiteX181" fmla="*/ 4048040 w 8009775"/>
              <a:gd name="connsiteY181" fmla="*/ 2276476 h 6858000"/>
              <a:gd name="connsiteX182" fmla="*/ 4050109 w 8009775"/>
              <a:gd name="connsiteY182" fmla="*/ 2270761 h 6858000"/>
              <a:gd name="connsiteX183" fmla="*/ 4051587 w 8009775"/>
              <a:gd name="connsiteY183" fmla="*/ 2265046 h 6858000"/>
              <a:gd name="connsiteX184" fmla="*/ 4052769 w 8009775"/>
              <a:gd name="connsiteY184" fmla="*/ 2259331 h 6858000"/>
              <a:gd name="connsiteX185" fmla="*/ 4053656 w 8009775"/>
              <a:gd name="connsiteY185" fmla="*/ 2253298 h 6858000"/>
              <a:gd name="connsiteX186" fmla="*/ 4054542 w 8009775"/>
              <a:gd name="connsiteY186" fmla="*/ 2247266 h 6858000"/>
              <a:gd name="connsiteX187" fmla="*/ 4054838 w 8009775"/>
              <a:gd name="connsiteY187" fmla="*/ 2241551 h 6858000"/>
              <a:gd name="connsiteX188" fmla="*/ 4055133 w 8009775"/>
              <a:gd name="connsiteY188" fmla="*/ 2235519 h 6858000"/>
              <a:gd name="connsiteX189" fmla="*/ 4054838 w 8009775"/>
              <a:gd name="connsiteY189" fmla="*/ 2229804 h 6858000"/>
              <a:gd name="connsiteX190" fmla="*/ 4054542 w 8009775"/>
              <a:gd name="connsiteY190" fmla="*/ 2223770 h 6858000"/>
              <a:gd name="connsiteX191" fmla="*/ 4053656 w 8009775"/>
              <a:gd name="connsiteY191" fmla="*/ 2217739 h 6858000"/>
              <a:gd name="connsiteX192" fmla="*/ 4052769 w 8009775"/>
              <a:gd name="connsiteY192" fmla="*/ 2212024 h 6858000"/>
              <a:gd name="connsiteX193" fmla="*/ 4051587 w 8009775"/>
              <a:gd name="connsiteY193" fmla="*/ 2206309 h 6858000"/>
              <a:gd name="connsiteX194" fmla="*/ 4050109 w 8009775"/>
              <a:gd name="connsiteY194" fmla="*/ 2200593 h 6858000"/>
              <a:gd name="connsiteX195" fmla="*/ 4048040 w 8009775"/>
              <a:gd name="connsiteY195" fmla="*/ 2194878 h 6858000"/>
              <a:gd name="connsiteX196" fmla="*/ 4046267 w 8009775"/>
              <a:gd name="connsiteY196" fmla="*/ 2189163 h 6858000"/>
              <a:gd name="connsiteX197" fmla="*/ 4043606 w 8009775"/>
              <a:gd name="connsiteY197" fmla="*/ 2183765 h 6858000"/>
              <a:gd name="connsiteX198" fmla="*/ 4040946 w 8009775"/>
              <a:gd name="connsiteY198" fmla="*/ 2178368 h 6858000"/>
              <a:gd name="connsiteX199" fmla="*/ 4037991 w 8009775"/>
              <a:gd name="connsiteY199" fmla="*/ 2172970 h 6858000"/>
              <a:gd name="connsiteX200" fmla="*/ 4034740 w 8009775"/>
              <a:gd name="connsiteY200" fmla="*/ 2167890 h 6858000"/>
              <a:gd name="connsiteX201" fmla="*/ 4031193 w 8009775"/>
              <a:gd name="connsiteY201" fmla="*/ 2162494 h 6858000"/>
              <a:gd name="connsiteX202" fmla="*/ 4027646 w 8009775"/>
              <a:gd name="connsiteY202" fmla="*/ 2157730 h 6858000"/>
              <a:gd name="connsiteX203" fmla="*/ 4023213 w 8009775"/>
              <a:gd name="connsiteY203" fmla="*/ 2153285 h 6858000"/>
              <a:gd name="connsiteX204" fmla="*/ 4018779 w 8009775"/>
              <a:gd name="connsiteY204" fmla="*/ 2148523 h 6858000"/>
              <a:gd name="connsiteX205" fmla="*/ 3632182 w 8009775"/>
              <a:gd name="connsiteY205" fmla="*/ 1761490 h 6858000"/>
              <a:gd name="connsiteX206" fmla="*/ 3435928 w 8009775"/>
              <a:gd name="connsiteY206" fmla="*/ 1565276 h 6858000"/>
              <a:gd name="connsiteX207" fmla="*/ 3431198 w 8009775"/>
              <a:gd name="connsiteY207" fmla="*/ 1560514 h 6858000"/>
              <a:gd name="connsiteX208" fmla="*/ 3427356 w 8009775"/>
              <a:gd name="connsiteY208" fmla="*/ 1555751 h 6858000"/>
              <a:gd name="connsiteX209" fmla="*/ 3423218 w 8009775"/>
              <a:gd name="connsiteY209" fmla="*/ 1550671 h 6858000"/>
              <a:gd name="connsiteX210" fmla="*/ 3420262 w 8009775"/>
              <a:gd name="connsiteY210" fmla="*/ 1545909 h 6858000"/>
              <a:gd name="connsiteX211" fmla="*/ 3417012 w 8009775"/>
              <a:gd name="connsiteY211" fmla="*/ 1540829 h 6858000"/>
              <a:gd name="connsiteX212" fmla="*/ 3413760 w 8009775"/>
              <a:gd name="connsiteY212" fmla="*/ 1535430 h 6858000"/>
              <a:gd name="connsiteX213" fmla="*/ 3411100 w 8009775"/>
              <a:gd name="connsiteY213" fmla="*/ 1530034 h 6858000"/>
              <a:gd name="connsiteX214" fmla="*/ 3408736 w 8009775"/>
              <a:gd name="connsiteY214" fmla="*/ 1524635 h 6858000"/>
              <a:gd name="connsiteX215" fmla="*/ 3406371 w 8009775"/>
              <a:gd name="connsiteY215" fmla="*/ 1518920 h 6858000"/>
              <a:gd name="connsiteX216" fmla="*/ 3404598 w 8009775"/>
              <a:gd name="connsiteY216" fmla="*/ 1513205 h 6858000"/>
              <a:gd name="connsiteX217" fmla="*/ 3403120 w 8009775"/>
              <a:gd name="connsiteY217" fmla="*/ 1507174 h 6858000"/>
              <a:gd name="connsiteX218" fmla="*/ 3401938 w 8009775"/>
              <a:gd name="connsiteY218" fmla="*/ 1501459 h 6858000"/>
              <a:gd name="connsiteX219" fmla="*/ 3401051 w 8009775"/>
              <a:gd name="connsiteY219" fmla="*/ 1495744 h 6858000"/>
              <a:gd name="connsiteX220" fmla="*/ 3400460 w 8009775"/>
              <a:gd name="connsiteY220" fmla="*/ 1489710 h 6858000"/>
              <a:gd name="connsiteX221" fmla="*/ 3399869 w 8009775"/>
              <a:gd name="connsiteY221" fmla="*/ 1483995 h 6858000"/>
              <a:gd name="connsiteX222" fmla="*/ 3399573 w 8009775"/>
              <a:gd name="connsiteY222" fmla="*/ 1478281 h 6858000"/>
              <a:gd name="connsiteX223" fmla="*/ 3399869 w 8009775"/>
              <a:gd name="connsiteY223" fmla="*/ 1472249 h 6858000"/>
              <a:gd name="connsiteX224" fmla="*/ 3400460 w 8009775"/>
              <a:gd name="connsiteY224" fmla="*/ 1466215 h 6858000"/>
              <a:gd name="connsiteX225" fmla="*/ 3401051 w 8009775"/>
              <a:gd name="connsiteY225" fmla="*/ 1460183 h 6858000"/>
              <a:gd name="connsiteX226" fmla="*/ 3401938 w 8009775"/>
              <a:gd name="connsiteY226" fmla="*/ 1454468 h 6858000"/>
              <a:gd name="connsiteX227" fmla="*/ 3403120 w 8009775"/>
              <a:gd name="connsiteY227" fmla="*/ 1448754 h 6858000"/>
              <a:gd name="connsiteX228" fmla="*/ 3404598 w 8009775"/>
              <a:gd name="connsiteY228" fmla="*/ 1443039 h 6858000"/>
              <a:gd name="connsiteX229" fmla="*/ 3406371 w 8009775"/>
              <a:gd name="connsiteY229" fmla="*/ 1437324 h 6858000"/>
              <a:gd name="connsiteX230" fmla="*/ 3408736 w 8009775"/>
              <a:gd name="connsiteY230" fmla="*/ 1431609 h 6858000"/>
              <a:gd name="connsiteX231" fmla="*/ 3411100 w 8009775"/>
              <a:gd name="connsiteY231" fmla="*/ 1426211 h 6858000"/>
              <a:gd name="connsiteX232" fmla="*/ 3413760 w 8009775"/>
              <a:gd name="connsiteY232" fmla="*/ 1420814 h 6858000"/>
              <a:gd name="connsiteX233" fmla="*/ 3417012 w 8009775"/>
              <a:gd name="connsiteY233" fmla="*/ 1415416 h 6858000"/>
              <a:gd name="connsiteX234" fmla="*/ 3420262 w 8009775"/>
              <a:gd name="connsiteY234" fmla="*/ 1410336 h 6858000"/>
              <a:gd name="connsiteX235" fmla="*/ 3423218 w 8009775"/>
              <a:gd name="connsiteY235" fmla="*/ 1405256 h 6858000"/>
              <a:gd name="connsiteX236" fmla="*/ 3427356 w 8009775"/>
              <a:gd name="connsiteY236" fmla="*/ 1400175 h 6858000"/>
              <a:gd name="connsiteX237" fmla="*/ 3431198 w 8009775"/>
              <a:gd name="connsiteY237" fmla="*/ 1395731 h 6858000"/>
              <a:gd name="connsiteX238" fmla="*/ 3435928 w 8009775"/>
              <a:gd name="connsiteY238" fmla="*/ 1390969 h 6858000"/>
              <a:gd name="connsiteX239" fmla="*/ 3440361 w 8009775"/>
              <a:gd name="connsiteY239" fmla="*/ 1386524 h 6858000"/>
              <a:gd name="connsiteX240" fmla="*/ 3445386 w 8009775"/>
              <a:gd name="connsiteY240" fmla="*/ 1382396 h 6858000"/>
              <a:gd name="connsiteX241" fmla="*/ 3449819 w 8009775"/>
              <a:gd name="connsiteY241" fmla="*/ 1378585 h 6858000"/>
              <a:gd name="connsiteX242" fmla="*/ 3454844 w 8009775"/>
              <a:gd name="connsiteY242" fmla="*/ 1375094 h 6858000"/>
              <a:gd name="connsiteX243" fmla="*/ 3460459 w 8009775"/>
              <a:gd name="connsiteY243" fmla="*/ 1371919 h 6858000"/>
              <a:gd name="connsiteX244" fmla="*/ 3465780 w 8009775"/>
              <a:gd name="connsiteY244" fmla="*/ 1369061 h 6858000"/>
              <a:gd name="connsiteX245" fmla="*/ 3471100 w 8009775"/>
              <a:gd name="connsiteY245" fmla="*/ 1366204 h 6858000"/>
              <a:gd name="connsiteX246" fmla="*/ 3476420 w 8009775"/>
              <a:gd name="connsiteY246" fmla="*/ 1363980 h 6858000"/>
              <a:gd name="connsiteX247" fmla="*/ 3482331 w 8009775"/>
              <a:gd name="connsiteY247" fmla="*/ 1361759 h 6858000"/>
              <a:gd name="connsiteX248" fmla="*/ 3487947 w 8009775"/>
              <a:gd name="connsiteY248" fmla="*/ 1360170 h 6858000"/>
              <a:gd name="connsiteX249" fmla="*/ 3493858 w 8009775"/>
              <a:gd name="connsiteY249" fmla="*/ 1358265 h 6858000"/>
              <a:gd name="connsiteX250" fmla="*/ 3499474 w 8009775"/>
              <a:gd name="connsiteY250" fmla="*/ 1357314 h 6858000"/>
              <a:gd name="connsiteX251" fmla="*/ 3505385 w 8009775"/>
              <a:gd name="connsiteY251" fmla="*/ 1356043 h 6858000"/>
              <a:gd name="connsiteX252" fmla="*/ 3511001 w 8009775"/>
              <a:gd name="connsiteY252" fmla="*/ 1355409 h 6858000"/>
              <a:gd name="connsiteX253" fmla="*/ 3517208 w 8009775"/>
              <a:gd name="connsiteY253" fmla="*/ 1355090 h 6858000"/>
              <a:gd name="connsiteX254" fmla="*/ 3522823 w 8009775"/>
              <a:gd name="connsiteY254" fmla="*/ 1354773 h 6858000"/>
              <a:gd name="connsiteX255" fmla="*/ 3529030 w 8009775"/>
              <a:gd name="connsiteY255" fmla="*/ 1355090 h 6858000"/>
              <a:gd name="connsiteX256" fmla="*/ 3534646 w 8009775"/>
              <a:gd name="connsiteY256" fmla="*/ 1355409 h 6858000"/>
              <a:gd name="connsiteX257" fmla="*/ 3540557 w 8009775"/>
              <a:gd name="connsiteY257" fmla="*/ 1356043 h 6858000"/>
              <a:gd name="connsiteX258" fmla="*/ 3546468 w 8009775"/>
              <a:gd name="connsiteY258" fmla="*/ 1357314 h 6858000"/>
              <a:gd name="connsiteX259" fmla="*/ 3552380 w 8009775"/>
              <a:gd name="connsiteY259" fmla="*/ 1358265 h 6858000"/>
              <a:gd name="connsiteX260" fmla="*/ 3557995 w 8009775"/>
              <a:gd name="connsiteY260" fmla="*/ 1360170 h 6858000"/>
              <a:gd name="connsiteX261" fmla="*/ 3563906 w 8009775"/>
              <a:gd name="connsiteY261" fmla="*/ 1361759 h 6858000"/>
              <a:gd name="connsiteX262" fmla="*/ 3569227 w 8009775"/>
              <a:gd name="connsiteY262" fmla="*/ 1363980 h 6858000"/>
              <a:gd name="connsiteX263" fmla="*/ 3574842 w 8009775"/>
              <a:gd name="connsiteY263" fmla="*/ 1366204 h 6858000"/>
              <a:gd name="connsiteX264" fmla="*/ 3580458 w 8009775"/>
              <a:gd name="connsiteY264" fmla="*/ 1369061 h 6858000"/>
              <a:gd name="connsiteX265" fmla="*/ 3585778 w 8009775"/>
              <a:gd name="connsiteY265" fmla="*/ 1371919 h 6858000"/>
              <a:gd name="connsiteX266" fmla="*/ 3590803 w 8009775"/>
              <a:gd name="connsiteY266" fmla="*/ 1375094 h 6858000"/>
              <a:gd name="connsiteX267" fmla="*/ 3595828 w 8009775"/>
              <a:gd name="connsiteY267" fmla="*/ 1378585 h 6858000"/>
              <a:gd name="connsiteX268" fmla="*/ 3600852 w 8009775"/>
              <a:gd name="connsiteY268" fmla="*/ 1382396 h 6858000"/>
              <a:gd name="connsiteX269" fmla="*/ 3605581 w 8009775"/>
              <a:gd name="connsiteY269" fmla="*/ 1386524 h 6858000"/>
              <a:gd name="connsiteX270" fmla="*/ 3610014 w 8009775"/>
              <a:gd name="connsiteY270" fmla="*/ 1390969 h 6858000"/>
              <a:gd name="connsiteX271" fmla="*/ 3817500 w 8009775"/>
              <a:gd name="connsiteY271" fmla="*/ 1598296 h 6858000"/>
              <a:gd name="connsiteX272" fmla="*/ 3821934 w 8009775"/>
              <a:gd name="connsiteY272" fmla="*/ 1602423 h 6858000"/>
              <a:gd name="connsiteX273" fmla="*/ 3826663 w 8009775"/>
              <a:gd name="connsiteY273" fmla="*/ 1606869 h 6858000"/>
              <a:gd name="connsiteX274" fmla="*/ 3831687 w 8009775"/>
              <a:gd name="connsiteY274" fmla="*/ 1610361 h 6858000"/>
              <a:gd name="connsiteX275" fmla="*/ 3836712 w 8009775"/>
              <a:gd name="connsiteY275" fmla="*/ 1613854 h 6858000"/>
              <a:gd name="connsiteX276" fmla="*/ 3841736 w 8009775"/>
              <a:gd name="connsiteY276" fmla="*/ 1617345 h 6858000"/>
              <a:gd name="connsiteX277" fmla="*/ 3847352 w 8009775"/>
              <a:gd name="connsiteY277" fmla="*/ 1620204 h 6858000"/>
              <a:gd name="connsiteX278" fmla="*/ 3852672 w 8009775"/>
              <a:gd name="connsiteY278" fmla="*/ 1623061 h 6858000"/>
              <a:gd name="connsiteX279" fmla="*/ 3857992 w 8009775"/>
              <a:gd name="connsiteY279" fmla="*/ 1625283 h 6858000"/>
              <a:gd name="connsiteX280" fmla="*/ 3863608 w 8009775"/>
              <a:gd name="connsiteY280" fmla="*/ 1627189 h 6858000"/>
              <a:gd name="connsiteX281" fmla="*/ 3869519 w 8009775"/>
              <a:gd name="connsiteY281" fmla="*/ 1629094 h 6858000"/>
              <a:gd name="connsiteX282" fmla="*/ 3875135 w 8009775"/>
              <a:gd name="connsiteY282" fmla="*/ 1630998 h 6858000"/>
              <a:gd name="connsiteX283" fmla="*/ 3881046 w 8009775"/>
              <a:gd name="connsiteY283" fmla="*/ 1631950 h 6858000"/>
              <a:gd name="connsiteX284" fmla="*/ 3886662 w 8009775"/>
              <a:gd name="connsiteY284" fmla="*/ 1632904 h 6858000"/>
              <a:gd name="connsiteX285" fmla="*/ 3892869 w 8009775"/>
              <a:gd name="connsiteY285" fmla="*/ 1633856 h 6858000"/>
              <a:gd name="connsiteX286" fmla="*/ 3898485 w 8009775"/>
              <a:gd name="connsiteY286" fmla="*/ 1634174 h 6858000"/>
              <a:gd name="connsiteX287" fmla="*/ 3904396 w 8009775"/>
              <a:gd name="connsiteY287" fmla="*/ 1634174 h 6858000"/>
              <a:gd name="connsiteX288" fmla="*/ 3910307 w 8009775"/>
              <a:gd name="connsiteY288" fmla="*/ 1634174 h 6858000"/>
              <a:gd name="connsiteX289" fmla="*/ 3916219 w 8009775"/>
              <a:gd name="connsiteY289" fmla="*/ 1633856 h 6858000"/>
              <a:gd name="connsiteX290" fmla="*/ 3922425 w 8009775"/>
              <a:gd name="connsiteY290" fmla="*/ 1632904 h 6858000"/>
              <a:gd name="connsiteX291" fmla="*/ 3928041 w 8009775"/>
              <a:gd name="connsiteY291" fmla="*/ 1631950 h 6858000"/>
              <a:gd name="connsiteX292" fmla="*/ 3933657 w 8009775"/>
              <a:gd name="connsiteY292" fmla="*/ 1630998 h 6858000"/>
              <a:gd name="connsiteX293" fmla="*/ 3939568 w 8009775"/>
              <a:gd name="connsiteY293" fmla="*/ 1629094 h 6858000"/>
              <a:gd name="connsiteX294" fmla="*/ 3945184 w 8009775"/>
              <a:gd name="connsiteY294" fmla="*/ 1627189 h 6858000"/>
              <a:gd name="connsiteX295" fmla="*/ 3950799 w 8009775"/>
              <a:gd name="connsiteY295" fmla="*/ 1625283 h 6858000"/>
              <a:gd name="connsiteX296" fmla="*/ 3956415 w 8009775"/>
              <a:gd name="connsiteY296" fmla="*/ 1623061 h 6858000"/>
              <a:gd name="connsiteX297" fmla="*/ 3961735 w 8009775"/>
              <a:gd name="connsiteY297" fmla="*/ 1620204 h 6858000"/>
              <a:gd name="connsiteX298" fmla="*/ 3967055 w 8009775"/>
              <a:gd name="connsiteY298" fmla="*/ 1617345 h 6858000"/>
              <a:gd name="connsiteX299" fmla="*/ 3972376 w 8009775"/>
              <a:gd name="connsiteY299" fmla="*/ 1613854 h 6858000"/>
              <a:gd name="connsiteX300" fmla="*/ 3977400 w 8009775"/>
              <a:gd name="connsiteY300" fmla="*/ 1610361 h 6858000"/>
              <a:gd name="connsiteX301" fmla="*/ 3982425 w 8009775"/>
              <a:gd name="connsiteY301" fmla="*/ 1606869 h 6858000"/>
              <a:gd name="connsiteX302" fmla="*/ 3986858 w 8009775"/>
              <a:gd name="connsiteY302" fmla="*/ 1602423 h 6858000"/>
              <a:gd name="connsiteX303" fmla="*/ 3991587 w 8009775"/>
              <a:gd name="connsiteY303" fmla="*/ 1598296 h 6858000"/>
              <a:gd name="connsiteX304" fmla="*/ 3996021 w 8009775"/>
              <a:gd name="connsiteY304" fmla="*/ 1593533 h 6858000"/>
              <a:gd name="connsiteX305" fmla="*/ 4000159 w 8009775"/>
              <a:gd name="connsiteY305" fmla="*/ 1588771 h 6858000"/>
              <a:gd name="connsiteX306" fmla="*/ 4003705 w 8009775"/>
              <a:gd name="connsiteY306" fmla="*/ 1583691 h 6858000"/>
              <a:gd name="connsiteX307" fmla="*/ 4007548 w 8009775"/>
              <a:gd name="connsiteY307" fmla="*/ 1578928 h 6858000"/>
              <a:gd name="connsiteX308" fmla="*/ 4010799 w 8009775"/>
              <a:gd name="connsiteY308" fmla="*/ 1573849 h 6858000"/>
              <a:gd name="connsiteX309" fmla="*/ 4013459 w 8009775"/>
              <a:gd name="connsiteY309" fmla="*/ 1568451 h 6858000"/>
              <a:gd name="connsiteX310" fmla="*/ 4016415 w 8009775"/>
              <a:gd name="connsiteY310" fmla="*/ 1563054 h 6858000"/>
              <a:gd name="connsiteX311" fmla="*/ 4018484 w 8009775"/>
              <a:gd name="connsiteY311" fmla="*/ 1557339 h 6858000"/>
              <a:gd name="connsiteX312" fmla="*/ 4020848 w 8009775"/>
              <a:gd name="connsiteY312" fmla="*/ 1551941 h 6858000"/>
              <a:gd name="connsiteX313" fmla="*/ 4022621 w 8009775"/>
              <a:gd name="connsiteY313" fmla="*/ 1546226 h 6858000"/>
              <a:gd name="connsiteX314" fmla="*/ 4024395 w 8009775"/>
              <a:gd name="connsiteY314" fmla="*/ 1540511 h 6858000"/>
              <a:gd name="connsiteX315" fmla="*/ 4025282 w 8009775"/>
              <a:gd name="connsiteY315" fmla="*/ 1534478 h 6858000"/>
              <a:gd name="connsiteX316" fmla="*/ 4026464 w 8009775"/>
              <a:gd name="connsiteY316" fmla="*/ 1528763 h 6858000"/>
              <a:gd name="connsiteX317" fmla="*/ 4027055 w 8009775"/>
              <a:gd name="connsiteY317" fmla="*/ 1522731 h 6858000"/>
              <a:gd name="connsiteX318" fmla="*/ 4027646 w 8009775"/>
              <a:gd name="connsiteY318" fmla="*/ 1517016 h 6858000"/>
              <a:gd name="connsiteX319" fmla="*/ 4027646 w 8009775"/>
              <a:gd name="connsiteY319" fmla="*/ 1510984 h 6858000"/>
              <a:gd name="connsiteX320" fmla="*/ 4027646 w 8009775"/>
              <a:gd name="connsiteY320" fmla="*/ 1505268 h 6858000"/>
              <a:gd name="connsiteX321" fmla="*/ 4027055 w 8009775"/>
              <a:gd name="connsiteY321" fmla="*/ 1499553 h 6858000"/>
              <a:gd name="connsiteX322" fmla="*/ 4026464 w 8009775"/>
              <a:gd name="connsiteY322" fmla="*/ 1493204 h 6858000"/>
              <a:gd name="connsiteX323" fmla="*/ 4025282 w 8009775"/>
              <a:gd name="connsiteY323" fmla="*/ 1487489 h 6858000"/>
              <a:gd name="connsiteX324" fmla="*/ 4024395 w 8009775"/>
              <a:gd name="connsiteY324" fmla="*/ 1481773 h 6858000"/>
              <a:gd name="connsiteX325" fmla="*/ 4022621 w 8009775"/>
              <a:gd name="connsiteY325" fmla="*/ 1476058 h 6858000"/>
              <a:gd name="connsiteX326" fmla="*/ 4020848 w 8009775"/>
              <a:gd name="connsiteY326" fmla="*/ 1470343 h 6858000"/>
              <a:gd name="connsiteX327" fmla="*/ 4018484 w 8009775"/>
              <a:gd name="connsiteY327" fmla="*/ 1464629 h 6858000"/>
              <a:gd name="connsiteX328" fmla="*/ 4016415 w 8009775"/>
              <a:gd name="connsiteY328" fmla="*/ 1459231 h 6858000"/>
              <a:gd name="connsiteX329" fmla="*/ 4013459 w 8009775"/>
              <a:gd name="connsiteY329" fmla="*/ 1453834 h 6858000"/>
              <a:gd name="connsiteX330" fmla="*/ 4010799 w 8009775"/>
              <a:gd name="connsiteY330" fmla="*/ 1448436 h 6858000"/>
              <a:gd name="connsiteX331" fmla="*/ 4007548 w 8009775"/>
              <a:gd name="connsiteY331" fmla="*/ 1443356 h 6858000"/>
              <a:gd name="connsiteX332" fmla="*/ 4003705 w 8009775"/>
              <a:gd name="connsiteY332" fmla="*/ 1438275 h 6858000"/>
              <a:gd name="connsiteX333" fmla="*/ 4000159 w 8009775"/>
              <a:gd name="connsiteY333" fmla="*/ 1433195 h 6858000"/>
              <a:gd name="connsiteX334" fmla="*/ 3996021 w 8009775"/>
              <a:gd name="connsiteY334" fmla="*/ 1428751 h 6858000"/>
              <a:gd name="connsiteX335" fmla="*/ 3991587 w 8009775"/>
              <a:gd name="connsiteY335" fmla="*/ 1423988 h 6858000"/>
              <a:gd name="connsiteX336" fmla="*/ 3323022 w 8009775"/>
              <a:gd name="connsiteY336" fmla="*/ 755333 h 6858000"/>
              <a:gd name="connsiteX337" fmla="*/ 3316815 w 8009775"/>
              <a:gd name="connsiteY337" fmla="*/ 748348 h 6858000"/>
              <a:gd name="connsiteX338" fmla="*/ 3310904 w 8009775"/>
              <a:gd name="connsiteY338" fmla="*/ 741045 h 6858000"/>
              <a:gd name="connsiteX339" fmla="*/ 3305584 w 8009775"/>
              <a:gd name="connsiteY339" fmla="*/ 733108 h 6858000"/>
              <a:gd name="connsiteX340" fmla="*/ 3300855 w 8009775"/>
              <a:gd name="connsiteY340" fmla="*/ 725170 h 6858000"/>
              <a:gd name="connsiteX341" fmla="*/ 3297308 w 8009775"/>
              <a:gd name="connsiteY341" fmla="*/ 716915 h 6858000"/>
              <a:gd name="connsiteX342" fmla="*/ 3293761 w 8009775"/>
              <a:gd name="connsiteY342" fmla="*/ 708660 h 6858000"/>
              <a:gd name="connsiteX343" fmla="*/ 3291101 w 8009775"/>
              <a:gd name="connsiteY343" fmla="*/ 699770 h 6858000"/>
              <a:gd name="connsiteX344" fmla="*/ 3289328 w 8009775"/>
              <a:gd name="connsiteY344" fmla="*/ 691198 h 6858000"/>
              <a:gd name="connsiteX345" fmla="*/ 2596527 w 8009775"/>
              <a:gd name="connsiteY345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980947 w 8009775"/>
              <a:gd name="connsiteY72" fmla="*/ 2804795 h 6858000"/>
              <a:gd name="connsiteX73" fmla="*/ 3965282 w 8009775"/>
              <a:gd name="connsiteY73" fmla="*/ 2791144 h 6858000"/>
              <a:gd name="connsiteX74" fmla="*/ 3001744 w 8009775"/>
              <a:gd name="connsiteY74" fmla="*/ 1828166 h 6858000"/>
              <a:gd name="connsiteX75" fmla="*/ 2997311 w 8009775"/>
              <a:gd name="connsiteY75" fmla="*/ 1823404 h 6858000"/>
              <a:gd name="connsiteX76" fmla="*/ 2992878 w 8009775"/>
              <a:gd name="connsiteY76" fmla="*/ 1818640 h 6858000"/>
              <a:gd name="connsiteX77" fmla="*/ 2989331 w 8009775"/>
              <a:gd name="connsiteY77" fmla="*/ 1814195 h 6858000"/>
              <a:gd name="connsiteX78" fmla="*/ 2985784 w 8009775"/>
              <a:gd name="connsiteY78" fmla="*/ 1808799 h 6858000"/>
              <a:gd name="connsiteX79" fmla="*/ 2982533 w 8009775"/>
              <a:gd name="connsiteY79" fmla="*/ 1803718 h 6858000"/>
              <a:gd name="connsiteX80" fmla="*/ 2979873 w 8009775"/>
              <a:gd name="connsiteY80" fmla="*/ 1798321 h 6858000"/>
              <a:gd name="connsiteX81" fmla="*/ 2976917 w 8009775"/>
              <a:gd name="connsiteY81" fmla="*/ 1792924 h 6858000"/>
              <a:gd name="connsiteX82" fmla="*/ 2974552 w 8009775"/>
              <a:gd name="connsiteY82" fmla="*/ 1787526 h 6858000"/>
              <a:gd name="connsiteX83" fmla="*/ 2972484 w 8009775"/>
              <a:gd name="connsiteY83" fmla="*/ 1781811 h 6858000"/>
              <a:gd name="connsiteX84" fmla="*/ 2970710 w 8009775"/>
              <a:gd name="connsiteY84" fmla="*/ 1776095 h 6858000"/>
              <a:gd name="connsiteX85" fmla="*/ 2968937 w 8009775"/>
              <a:gd name="connsiteY85" fmla="*/ 1770380 h 6858000"/>
              <a:gd name="connsiteX86" fmla="*/ 2967755 w 8009775"/>
              <a:gd name="connsiteY86" fmla="*/ 1764665 h 6858000"/>
              <a:gd name="connsiteX87" fmla="*/ 2966868 w 8009775"/>
              <a:gd name="connsiteY87" fmla="*/ 1758634 h 6858000"/>
              <a:gd name="connsiteX88" fmla="*/ 2965981 w 8009775"/>
              <a:gd name="connsiteY88" fmla="*/ 1752919 h 6858000"/>
              <a:gd name="connsiteX89" fmla="*/ 2965686 w 8009775"/>
              <a:gd name="connsiteY89" fmla="*/ 1746885 h 6858000"/>
              <a:gd name="connsiteX90" fmla="*/ 2965686 w 8009775"/>
              <a:gd name="connsiteY90" fmla="*/ 1741170 h 6858000"/>
              <a:gd name="connsiteX91" fmla="*/ 2965686 w 8009775"/>
              <a:gd name="connsiteY91" fmla="*/ 1735139 h 6858000"/>
              <a:gd name="connsiteX92" fmla="*/ 2965981 w 8009775"/>
              <a:gd name="connsiteY92" fmla="*/ 1729424 h 6858000"/>
              <a:gd name="connsiteX93" fmla="*/ 2966868 w 8009775"/>
              <a:gd name="connsiteY93" fmla="*/ 1723074 h 6858000"/>
              <a:gd name="connsiteX94" fmla="*/ 2967755 w 8009775"/>
              <a:gd name="connsiteY94" fmla="*/ 1717358 h 6858000"/>
              <a:gd name="connsiteX95" fmla="*/ 2968937 w 8009775"/>
              <a:gd name="connsiteY95" fmla="*/ 1711643 h 6858000"/>
              <a:gd name="connsiteX96" fmla="*/ 2970710 w 8009775"/>
              <a:gd name="connsiteY96" fmla="*/ 1705929 h 6858000"/>
              <a:gd name="connsiteX97" fmla="*/ 2972484 w 8009775"/>
              <a:gd name="connsiteY97" fmla="*/ 1700214 h 6858000"/>
              <a:gd name="connsiteX98" fmla="*/ 2974552 w 8009775"/>
              <a:gd name="connsiteY98" fmla="*/ 1694816 h 6858000"/>
              <a:gd name="connsiteX99" fmla="*/ 2976917 w 8009775"/>
              <a:gd name="connsiteY99" fmla="*/ 1689101 h 6858000"/>
              <a:gd name="connsiteX100" fmla="*/ 2979873 w 8009775"/>
              <a:gd name="connsiteY100" fmla="*/ 1683703 h 6858000"/>
              <a:gd name="connsiteX101" fmla="*/ 2982533 w 8009775"/>
              <a:gd name="connsiteY101" fmla="*/ 1678305 h 6858000"/>
              <a:gd name="connsiteX102" fmla="*/ 2985784 w 8009775"/>
              <a:gd name="connsiteY102" fmla="*/ 1673226 h 6858000"/>
              <a:gd name="connsiteX103" fmla="*/ 2989331 w 8009775"/>
              <a:gd name="connsiteY103" fmla="*/ 1668145 h 6858000"/>
              <a:gd name="connsiteX104" fmla="*/ 2992878 w 8009775"/>
              <a:gd name="connsiteY104" fmla="*/ 1663066 h 6858000"/>
              <a:gd name="connsiteX105" fmla="*/ 2997311 w 8009775"/>
              <a:gd name="connsiteY105" fmla="*/ 1658621 h 6858000"/>
              <a:gd name="connsiteX106" fmla="*/ 3001744 w 8009775"/>
              <a:gd name="connsiteY106" fmla="*/ 1653859 h 6858000"/>
              <a:gd name="connsiteX107" fmla="*/ 3006178 w 8009775"/>
              <a:gd name="connsiteY107" fmla="*/ 1649414 h 6858000"/>
              <a:gd name="connsiteX108" fmla="*/ 3010907 w 8009775"/>
              <a:gd name="connsiteY108" fmla="*/ 1645603 h 6858000"/>
              <a:gd name="connsiteX109" fmla="*/ 3015932 w 8009775"/>
              <a:gd name="connsiteY109" fmla="*/ 1641794 h 6858000"/>
              <a:gd name="connsiteX110" fmla="*/ 3020956 w 8009775"/>
              <a:gd name="connsiteY110" fmla="*/ 1637984 h 6858000"/>
              <a:gd name="connsiteX111" fmla="*/ 3025981 w 8009775"/>
              <a:gd name="connsiteY111" fmla="*/ 1634809 h 6858000"/>
              <a:gd name="connsiteX112" fmla="*/ 3031596 w 8009775"/>
              <a:gd name="connsiteY112" fmla="*/ 1631950 h 6858000"/>
              <a:gd name="connsiteX113" fmla="*/ 3036916 w 8009775"/>
              <a:gd name="connsiteY113" fmla="*/ 1629094 h 6858000"/>
              <a:gd name="connsiteX114" fmla="*/ 3042532 w 8009775"/>
              <a:gd name="connsiteY114" fmla="*/ 1626871 h 6858000"/>
              <a:gd name="connsiteX115" fmla="*/ 3047852 w 8009775"/>
              <a:gd name="connsiteY115" fmla="*/ 1624649 h 6858000"/>
              <a:gd name="connsiteX116" fmla="*/ 3053764 w 8009775"/>
              <a:gd name="connsiteY116" fmla="*/ 1623061 h 6858000"/>
              <a:gd name="connsiteX117" fmla="*/ 3059379 w 8009775"/>
              <a:gd name="connsiteY117" fmla="*/ 1621155 h 6858000"/>
              <a:gd name="connsiteX118" fmla="*/ 3065291 w 8009775"/>
              <a:gd name="connsiteY118" fmla="*/ 1620204 h 6858000"/>
              <a:gd name="connsiteX119" fmla="*/ 3070906 w 8009775"/>
              <a:gd name="connsiteY119" fmla="*/ 1618934 h 6858000"/>
              <a:gd name="connsiteX120" fmla="*/ 3077113 w 8009775"/>
              <a:gd name="connsiteY120" fmla="*/ 1618299 h 6858000"/>
              <a:gd name="connsiteX121" fmla="*/ 3082729 w 8009775"/>
              <a:gd name="connsiteY121" fmla="*/ 1617981 h 6858000"/>
              <a:gd name="connsiteX122" fmla="*/ 3088936 w 8009775"/>
              <a:gd name="connsiteY122" fmla="*/ 1617981 h 6858000"/>
              <a:gd name="connsiteX123" fmla="*/ 3094552 w 8009775"/>
              <a:gd name="connsiteY123" fmla="*/ 1617981 h 6858000"/>
              <a:gd name="connsiteX124" fmla="*/ 3100758 w 8009775"/>
              <a:gd name="connsiteY124" fmla="*/ 1618299 h 6858000"/>
              <a:gd name="connsiteX125" fmla="*/ 3106670 w 8009775"/>
              <a:gd name="connsiteY125" fmla="*/ 1618934 h 6858000"/>
              <a:gd name="connsiteX126" fmla="*/ 3112285 w 8009775"/>
              <a:gd name="connsiteY126" fmla="*/ 1620204 h 6858000"/>
              <a:gd name="connsiteX127" fmla="*/ 3117901 w 8009775"/>
              <a:gd name="connsiteY127" fmla="*/ 1621155 h 6858000"/>
              <a:gd name="connsiteX128" fmla="*/ 3123812 w 8009775"/>
              <a:gd name="connsiteY128" fmla="*/ 1623061 h 6858000"/>
              <a:gd name="connsiteX129" fmla="*/ 3129428 w 8009775"/>
              <a:gd name="connsiteY129" fmla="*/ 1624649 h 6858000"/>
              <a:gd name="connsiteX130" fmla="*/ 3135339 w 8009775"/>
              <a:gd name="connsiteY130" fmla="*/ 1626871 h 6858000"/>
              <a:gd name="connsiteX131" fmla="*/ 3140660 w 8009775"/>
              <a:gd name="connsiteY131" fmla="*/ 1629094 h 6858000"/>
              <a:gd name="connsiteX132" fmla="*/ 3145980 w 8009775"/>
              <a:gd name="connsiteY132" fmla="*/ 1631950 h 6858000"/>
              <a:gd name="connsiteX133" fmla="*/ 3151300 w 8009775"/>
              <a:gd name="connsiteY133" fmla="*/ 1634809 h 6858000"/>
              <a:gd name="connsiteX134" fmla="*/ 3156324 w 8009775"/>
              <a:gd name="connsiteY134" fmla="*/ 1637984 h 6858000"/>
              <a:gd name="connsiteX135" fmla="*/ 3161349 w 8009775"/>
              <a:gd name="connsiteY135" fmla="*/ 1641794 h 6858000"/>
              <a:gd name="connsiteX136" fmla="*/ 3166374 w 8009775"/>
              <a:gd name="connsiteY136" fmla="*/ 1645603 h 6858000"/>
              <a:gd name="connsiteX137" fmla="*/ 3171102 w 8009775"/>
              <a:gd name="connsiteY137" fmla="*/ 1649414 h 6858000"/>
              <a:gd name="connsiteX138" fmla="*/ 3175832 w 8009775"/>
              <a:gd name="connsiteY138" fmla="*/ 1653859 h 6858000"/>
              <a:gd name="connsiteX139" fmla="*/ 3844692 w 8009775"/>
              <a:gd name="connsiteY139" fmla="*/ 2322830 h 6858000"/>
              <a:gd name="connsiteX140" fmla="*/ 3849421 w 8009775"/>
              <a:gd name="connsiteY140" fmla="*/ 2326958 h 6858000"/>
              <a:gd name="connsiteX141" fmla="*/ 3854150 w 8009775"/>
              <a:gd name="connsiteY141" fmla="*/ 2331085 h 6858000"/>
              <a:gd name="connsiteX142" fmla="*/ 3859175 w 8009775"/>
              <a:gd name="connsiteY142" fmla="*/ 2334895 h 6858000"/>
              <a:gd name="connsiteX143" fmla="*/ 3864199 w 8009775"/>
              <a:gd name="connsiteY143" fmla="*/ 2338705 h 6858000"/>
              <a:gd name="connsiteX144" fmla="*/ 3869224 w 8009775"/>
              <a:gd name="connsiteY144" fmla="*/ 2341880 h 6858000"/>
              <a:gd name="connsiteX145" fmla="*/ 3874544 w 8009775"/>
              <a:gd name="connsiteY145" fmla="*/ 2344738 h 6858000"/>
              <a:gd name="connsiteX146" fmla="*/ 3879864 w 8009775"/>
              <a:gd name="connsiteY146" fmla="*/ 2347595 h 6858000"/>
              <a:gd name="connsiteX147" fmla="*/ 3885775 w 8009775"/>
              <a:gd name="connsiteY147" fmla="*/ 2349818 h 6858000"/>
              <a:gd name="connsiteX148" fmla="*/ 3891096 w 8009775"/>
              <a:gd name="connsiteY148" fmla="*/ 2351723 h 6858000"/>
              <a:gd name="connsiteX149" fmla="*/ 3896711 w 8009775"/>
              <a:gd name="connsiteY149" fmla="*/ 2353628 h 6858000"/>
              <a:gd name="connsiteX150" fmla="*/ 3902623 w 8009775"/>
              <a:gd name="connsiteY150" fmla="*/ 2355534 h 6858000"/>
              <a:gd name="connsiteX151" fmla="*/ 3908238 w 8009775"/>
              <a:gd name="connsiteY151" fmla="*/ 2356485 h 6858000"/>
              <a:gd name="connsiteX152" fmla="*/ 3914150 w 8009775"/>
              <a:gd name="connsiteY152" fmla="*/ 2357755 h 6858000"/>
              <a:gd name="connsiteX153" fmla="*/ 3920061 w 8009775"/>
              <a:gd name="connsiteY153" fmla="*/ 2358391 h 6858000"/>
              <a:gd name="connsiteX154" fmla="*/ 3925972 w 8009775"/>
              <a:gd name="connsiteY154" fmla="*/ 2358708 h 6858000"/>
              <a:gd name="connsiteX155" fmla="*/ 3931883 w 8009775"/>
              <a:gd name="connsiteY155" fmla="*/ 2358708 h 6858000"/>
              <a:gd name="connsiteX156" fmla="*/ 3937795 w 8009775"/>
              <a:gd name="connsiteY156" fmla="*/ 2358708 h 6858000"/>
              <a:gd name="connsiteX157" fmla="*/ 3943706 w 8009775"/>
              <a:gd name="connsiteY157" fmla="*/ 2358391 h 6858000"/>
              <a:gd name="connsiteX158" fmla="*/ 3949617 w 8009775"/>
              <a:gd name="connsiteY158" fmla="*/ 2357755 h 6858000"/>
              <a:gd name="connsiteX159" fmla="*/ 3955233 w 8009775"/>
              <a:gd name="connsiteY159" fmla="*/ 2356485 h 6858000"/>
              <a:gd name="connsiteX160" fmla="*/ 3961144 w 8009775"/>
              <a:gd name="connsiteY160" fmla="*/ 2355534 h 6858000"/>
              <a:gd name="connsiteX161" fmla="*/ 3966760 w 8009775"/>
              <a:gd name="connsiteY161" fmla="*/ 2353628 h 6858000"/>
              <a:gd name="connsiteX162" fmla="*/ 3972671 w 8009775"/>
              <a:gd name="connsiteY162" fmla="*/ 2351723 h 6858000"/>
              <a:gd name="connsiteX163" fmla="*/ 3978287 w 8009775"/>
              <a:gd name="connsiteY163" fmla="*/ 2349818 h 6858000"/>
              <a:gd name="connsiteX164" fmla="*/ 3983607 w 8009775"/>
              <a:gd name="connsiteY164" fmla="*/ 2347595 h 6858000"/>
              <a:gd name="connsiteX165" fmla="*/ 3989223 w 8009775"/>
              <a:gd name="connsiteY165" fmla="*/ 2344738 h 6858000"/>
              <a:gd name="connsiteX166" fmla="*/ 3994543 w 8009775"/>
              <a:gd name="connsiteY166" fmla="*/ 2341880 h 6858000"/>
              <a:gd name="connsiteX167" fmla="*/ 3999567 w 8009775"/>
              <a:gd name="connsiteY167" fmla="*/ 2338705 h 6858000"/>
              <a:gd name="connsiteX168" fmla="*/ 4004888 w 8009775"/>
              <a:gd name="connsiteY168" fmla="*/ 2334895 h 6858000"/>
              <a:gd name="connsiteX169" fmla="*/ 4009617 w 8009775"/>
              <a:gd name="connsiteY169" fmla="*/ 2331085 h 6858000"/>
              <a:gd name="connsiteX170" fmla="*/ 4014346 w 8009775"/>
              <a:gd name="connsiteY170" fmla="*/ 2326958 h 6858000"/>
              <a:gd name="connsiteX171" fmla="*/ 4018779 w 8009775"/>
              <a:gd name="connsiteY171" fmla="*/ 2322830 h 6858000"/>
              <a:gd name="connsiteX172" fmla="*/ 4023213 w 8009775"/>
              <a:gd name="connsiteY172" fmla="*/ 2318068 h 6858000"/>
              <a:gd name="connsiteX173" fmla="*/ 4027646 w 8009775"/>
              <a:gd name="connsiteY173" fmla="*/ 2313306 h 6858000"/>
              <a:gd name="connsiteX174" fmla="*/ 4031193 w 8009775"/>
              <a:gd name="connsiteY174" fmla="*/ 2308544 h 6858000"/>
              <a:gd name="connsiteX175" fmla="*/ 4034740 w 8009775"/>
              <a:gd name="connsiteY175" fmla="*/ 2303463 h 6858000"/>
              <a:gd name="connsiteX176" fmla="*/ 4037991 w 8009775"/>
              <a:gd name="connsiteY176" fmla="*/ 2298384 h 6858000"/>
              <a:gd name="connsiteX177" fmla="*/ 4040946 w 8009775"/>
              <a:gd name="connsiteY177" fmla="*/ 2292985 h 6858000"/>
              <a:gd name="connsiteX178" fmla="*/ 4043606 w 8009775"/>
              <a:gd name="connsiteY178" fmla="*/ 2287588 h 6858000"/>
              <a:gd name="connsiteX179" fmla="*/ 4046267 w 8009775"/>
              <a:gd name="connsiteY179" fmla="*/ 2281873 h 6858000"/>
              <a:gd name="connsiteX180" fmla="*/ 4048040 w 8009775"/>
              <a:gd name="connsiteY180" fmla="*/ 2276476 h 6858000"/>
              <a:gd name="connsiteX181" fmla="*/ 4050109 w 8009775"/>
              <a:gd name="connsiteY181" fmla="*/ 2270761 h 6858000"/>
              <a:gd name="connsiteX182" fmla="*/ 4051587 w 8009775"/>
              <a:gd name="connsiteY182" fmla="*/ 2265046 h 6858000"/>
              <a:gd name="connsiteX183" fmla="*/ 4052769 w 8009775"/>
              <a:gd name="connsiteY183" fmla="*/ 2259331 h 6858000"/>
              <a:gd name="connsiteX184" fmla="*/ 4053656 w 8009775"/>
              <a:gd name="connsiteY184" fmla="*/ 2253298 h 6858000"/>
              <a:gd name="connsiteX185" fmla="*/ 4054542 w 8009775"/>
              <a:gd name="connsiteY185" fmla="*/ 2247266 h 6858000"/>
              <a:gd name="connsiteX186" fmla="*/ 4054838 w 8009775"/>
              <a:gd name="connsiteY186" fmla="*/ 2241551 h 6858000"/>
              <a:gd name="connsiteX187" fmla="*/ 4055133 w 8009775"/>
              <a:gd name="connsiteY187" fmla="*/ 2235519 h 6858000"/>
              <a:gd name="connsiteX188" fmla="*/ 4054838 w 8009775"/>
              <a:gd name="connsiteY188" fmla="*/ 2229804 h 6858000"/>
              <a:gd name="connsiteX189" fmla="*/ 4054542 w 8009775"/>
              <a:gd name="connsiteY189" fmla="*/ 2223770 h 6858000"/>
              <a:gd name="connsiteX190" fmla="*/ 4053656 w 8009775"/>
              <a:gd name="connsiteY190" fmla="*/ 2217739 h 6858000"/>
              <a:gd name="connsiteX191" fmla="*/ 4052769 w 8009775"/>
              <a:gd name="connsiteY191" fmla="*/ 2212024 h 6858000"/>
              <a:gd name="connsiteX192" fmla="*/ 4051587 w 8009775"/>
              <a:gd name="connsiteY192" fmla="*/ 2206309 h 6858000"/>
              <a:gd name="connsiteX193" fmla="*/ 4050109 w 8009775"/>
              <a:gd name="connsiteY193" fmla="*/ 2200593 h 6858000"/>
              <a:gd name="connsiteX194" fmla="*/ 4048040 w 8009775"/>
              <a:gd name="connsiteY194" fmla="*/ 2194878 h 6858000"/>
              <a:gd name="connsiteX195" fmla="*/ 4046267 w 8009775"/>
              <a:gd name="connsiteY195" fmla="*/ 2189163 h 6858000"/>
              <a:gd name="connsiteX196" fmla="*/ 4043606 w 8009775"/>
              <a:gd name="connsiteY196" fmla="*/ 2183765 h 6858000"/>
              <a:gd name="connsiteX197" fmla="*/ 4040946 w 8009775"/>
              <a:gd name="connsiteY197" fmla="*/ 2178368 h 6858000"/>
              <a:gd name="connsiteX198" fmla="*/ 4037991 w 8009775"/>
              <a:gd name="connsiteY198" fmla="*/ 2172970 h 6858000"/>
              <a:gd name="connsiteX199" fmla="*/ 4034740 w 8009775"/>
              <a:gd name="connsiteY199" fmla="*/ 2167890 h 6858000"/>
              <a:gd name="connsiteX200" fmla="*/ 4031193 w 8009775"/>
              <a:gd name="connsiteY200" fmla="*/ 2162494 h 6858000"/>
              <a:gd name="connsiteX201" fmla="*/ 4027646 w 8009775"/>
              <a:gd name="connsiteY201" fmla="*/ 2157730 h 6858000"/>
              <a:gd name="connsiteX202" fmla="*/ 4023213 w 8009775"/>
              <a:gd name="connsiteY202" fmla="*/ 2153285 h 6858000"/>
              <a:gd name="connsiteX203" fmla="*/ 4018779 w 8009775"/>
              <a:gd name="connsiteY203" fmla="*/ 2148523 h 6858000"/>
              <a:gd name="connsiteX204" fmla="*/ 3632182 w 8009775"/>
              <a:gd name="connsiteY204" fmla="*/ 1761490 h 6858000"/>
              <a:gd name="connsiteX205" fmla="*/ 3435928 w 8009775"/>
              <a:gd name="connsiteY205" fmla="*/ 1565276 h 6858000"/>
              <a:gd name="connsiteX206" fmla="*/ 3431198 w 8009775"/>
              <a:gd name="connsiteY206" fmla="*/ 1560514 h 6858000"/>
              <a:gd name="connsiteX207" fmla="*/ 3427356 w 8009775"/>
              <a:gd name="connsiteY207" fmla="*/ 1555751 h 6858000"/>
              <a:gd name="connsiteX208" fmla="*/ 3423218 w 8009775"/>
              <a:gd name="connsiteY208" fmla="*/ 1550671 h 6858000"/>
              <a:gd name="connsiteX209" fmla="*/ 3420262 w 8009775"/>
              <a:gd name="connsiteY209" fmla="*/ 1545909 h 6858000"/>
              <a:gd name="connsiteX210" fmla="*/ 3417012 w 8009775"/>
              <a:gd name="connsiteY210" fmla="*/ 1540829 h 6858000"/>
              <a:gd name="connsiteX211" fmla="*/ 3413760 w 8009775"/>
              <a:gd name="connsiteY211" fmla="*/ 1535430 h 6858000"/>
              <a:gd name="connsiteX212" fmla="*/ 3411100 w 8009775"/>
              <a:gd name="connsiteY212" fmla="*/ 1530034 h 6858000"/>
              <a:gd name="connsiteX213" fmla="*/ 3408736 w 8009775"/>
              <a:gd name="connsiteY213" fmla="*/ 1524635 h 6858000"/>
              <a:gd name="connsiteX214" fmla="*/ 3406371 w 8009775"/>
              <a:gd name="connsiteY214" fmla="*/ 1518920 h 6858000"/>
              <a:gd name="connsiteX215" fmla="*/ 3404598 w 8009775"/>
              <a:gd name="connsiteY215" fmla="*/ 1513205 h 6858000"/>
              <a:gd name="connsiteX216" fmla="*/ 3403120 w 8009775"/>
              <a:gd name="connsiteY216" fmla="*/ 1507174 h 6858000"/>
              <a:gd name="connsiteX217" fmla="*/ 3401938 w 8009775"/>
              <a:gd name="connsiteY217" fmla="*/ 1501459 h 6858000"/>
              <a:gd name="connsiteX218" fmla="*/ 3401051 w 8009775"/>
              <a:gd name="connsiteY218" fmla="*/ 1495744 h 6858000"/>
              <a:gd name="connsiteX219" fmla="*/ 3400460 w 8009775"/>
              <a:gd name="connsiteY219" fmla="*/ 1489710 h 6858000"/>
              <a:gd name="connsiteX220" fmla="*/ 3399869 w 8009775"/>
              <a:gd name="connsiteY220" fmla="*/ 1483995 h 6858000"/>
              <a:gd name="connsiteX221" fmla="*/ 3399573 w 8009775"/>
              <a:gd name="connsiteY221" fmla="*/ 1478281 h 6858000"/>
              <a:gd name="connsiteX222" fmla="*/ 3399869 w 8009775"/>
              <a:gd name="connsiteY222" fmla="*/ 1472249 h 6858000"/>
              <a:gd name="connsiteX223" fmla="*/ 3400460 w 8009775"/>
              <a:gd name="connsiteY223" fmla="*/ 1466215 h 6858000"/>
              <a:gd name="connsiteX224" fmla="*/ 3401051 w 8009775"/>
              <a:gd name="connsiteY224" fmla="*/ 1460183 h 6858000"/>
              <a:gd name="connsiteX225" fmla="*/ 3401938 w 8009775"/>
              <a:gd name="connsiteY225" fmla="*/ 1454468 h 6858000"/>
              <a:gd name="connsiteX226" fmla="*/ 3403120 w 8009775"/>
              <a:gd name="connsiteY226" fmla="*/ 1448754 h 6858000"/>
              <a:gd name="connsiteX227" fmla="*/ 3404598 w 8009775"/>
              <a:gd name="connsiteY227" fmla="*/ 1443039 h 6858000"/>
              <a:gd name="connsiteX228" fmla="*/ 3406371 w 8009775"/>
              <a:gd name="connsiteY228" fmla="*/ 1437324 h 6858000"/>
              <a:gd name="connsiteX229" fmla="*/ 3408736 w 8009775"/>
              <a:gd name="connsiteY229" fmla="*/ 1431609 h 6858000"/>
              <a:gd name="connsiteX230" fmla="*/ 3411100 w 8009775"/>
              <a:gd name="connsiteY230" fmla="*/ 1426211 h 6858000"/>
              <a:gd name="connsiteX231" fmla="*/ 3413760 w 8009775"/>
              <a:gd name="connsiteY231" fmla="*/ 1420814 h 6858000"/>
              <a:gd name="connsiteX232" fmla="*/ 3417012 w 8009775"/>
              <a:gd name="connsiteY232" fmla="*/ 1415416 h 6858000"/>
              <a:gd name="connsiteX233" fmla="*/ 3420262 w 8009775"/>
              <a:gd name="connsiteY233" fmla="*/ 1410336 h 6858000"/>
              <a:gd name="connsiteX234" fmla="*/ 3423218 w 8009775"/>
              <a:gd name="connsiteY234" fmla="*/ 1405256 h 6858000"/>
              <a:gd name="connsiteX235" fmla="*/ 3427356 w 8009775"/>
              <a:gd name="connsiteY235" fmla="*/ 1400175 h 6858000"/>
              <a:gd name="connsiteX236" fmla="*/ 3431198 w 8009775"/>
              <a:gd name="connsiteY236" fmla="*/ 1395731 h 6858000"/>
              <a:gd name="connsiteX237" fmla="*/ 3435928 w 8009775"/>
              <a:gd name="connsiteY237" fmla="*/ 1390969 h 6858000"/>
              <a:gd name="connsiteX238" fmla="*/ 3440361 w 8009775"/>
              <a:gd name="connsiteY238" fmla="*/ 1386524 h 6858000"/>
              <a:gd name="connsiteX239" fmla="*/ 3445386 w 8009775"/>
              <a:gd name="connsiteY239" fmla="*/ 1382396 h 6858000"/>
              <a:gd name="connsiteX240" fmla="*/ 3449819 w 8009775"/>
              <a:gd name="connsiteY240" fmla="*/ 1378585 h 6858000"/>
              <a:gd name="connsiteX241" fmla="*/ 3454844 w 8009775"/>
              <a:gd name="connsiteY241" fmla="*/ 1375094 h 6858000"/>
              <a:gd name="connsiteX242" fmla="*/ 3460459 w 8009775"/>
              <a:gd name="connsiteY242" fmla="*/ 1371919 h 6858000"/>
              <a:gd name="connsiteX243" fmla="*/ 3465780 w 8009775"/>
              <a:gd name="connsiteY243" fmla="*/ 1369061 h 6858000"/>
              <a:gd name="connsiteX244" fmla="*/ 3471100 w 8009775"/>
              <a:gd name="connsiteY244" fmla="*/ 1366204 h 6858000"/>
              <a:gd name="connsiteX245" fmla="*/ 3476420 w 8009775"/>
              <a:gd name="connsiteY245" fmla="*/ 1363980 h 6858000"/>
              <a:gd name="connsiteX246" fmla="*/ 3482331 w 8009775"/>
              <a:gd name="connsiteY246" fmla="*/ 1361759 h 6858000"/>
              <a:gd name="connsiteX247" fmla="*/ 3487947 w 8009775"/>
              <a:gd name="connsiteY247" fmla="*/ 1360170 h 6858000"/>
              <a:gd name="connsiteX248" fmla="*/ 3493858 w 8009775"/>
              <a:gd name="connsiteY248" fmla="*/ 1358265 h 6858000"/>
              <a:gd name="connsiteX249" fmla="*/ 3499474 w 8009775"/>
              <a:gd name="connsiteY249" fmla="*/ 1357314 h 6858000"/>
              <a:gd name="connsiteX250" fmla="*/ 3505385 w 8009775"/>
              <a:gd name="connsiteY250" fmla="*/ 1356043 h 6858000"/>
              <a:gd name="connsiteX251" fmla="*/ 3511001 w 8009775"/>
              <a:gd name="connsiteY251" fmla="*/ 1355409 h 6858000"/>
              <a:gd name="connsiteX252" fmla="*/ 3517208 w 8009775"/>
              <a:gd name="connsiteY252" fmla="*/ 1355090 h 6858000"/>
              <a:gd name="connsiteX253" fmla="*/ 3522823 w 8009775"/>
              <a:gd name="connsiteY253" fmla="*/ 1354773 h 6858000"/>
              <a:gd name="connsiteX254" fmla="*/ 3529030 w 8009775"/>
              <a:gd name="connsiteY254" fmla="*/ 1355090 h 6858000"/>
              <a:gd name="connsiteX255" fmla="*/ 3534646 w 8009775"/>
              <a:gd name="connsiteY255" fmla="*/ 1355409 h 6858000"/>
              <a:gd name="connsiteX256" fmla="*/ 3540557 w 8009775"/>
              <a:gd name="connsiteY256" fmla="*/ 1356043 h 6858000"/>
              <a:gd name="connsiteX257" fmla="*/ 3546468 w 8009775"/>
              <a:gd name="connsiteY257" fmla="*/ 1357314 h 6858000"/>
              <a:gd name="connsiteX258" fmla="*/ 3552380 w 8009775"/>
              <a:gd name="connsiteY258" fmla="*/ 1358265 h 6858000"/>
              <a:gd name="connsiteX259" fmla="*/ 3557995 w 8009775"/>
              <a:gd name="connsiteY259" fmla="*/ 1360170 h 6858000"/>
              <a:gd name="connsiteX260" fmla="*/ 3563906 w 8009775"/>
              <a:gd name="connsiteY260" fmla="*/ 1361759 h 6858000"/>
              <a:gd name="connsiteX261" fmla="*/ 3569227 w 8009775"/>
              <a:gd name="connsiteY261" fmla="*/ 1363980 h 6858000"/>
              <a:gd name="connsiteX262" fmla="*/ 3574842 w 8009775"/>
              <a:gd name="connsiteY262" fmla="*/ 1366204 h 6858000"/>
              <a:gd name="connsiteX263" fmla="*/ 3580458 w 8009775"/>
              <a:gd name="connsiteY263" fmla="*/ 1369061 h 6858000"/>
              <a:gd name="connsiteX264" fmla="*/ 3585778 w 8009775"/>
              <a:gd name="connsiteY264" fmla="*/ 1371919 h 6858000"/>
              <a:gd name="connsiteX265" fmla="*/ 3590803 w 8009775"/>
              <a:gd name="connsiteY265" fmla="*/ 1375094 h 6858000"/>
              <a:gd name="connsiteX266" fmla="*/ 3595828 w 8009775"/>
              <a:gd name="connsiteY266" fmla="*/ 1378585 h 6858000"/>
              <a:gd name="connsiteX267" fmla="*/ 3600852 w 8009775"/>
              <a:gd name="connsiteY267" fmla="*/ 1382396 h 6858000"/>
              <a:gd name="connsiteX268" fmla="*/ 3605581 w 8009775"/>
              <a:gd name="connsiteY268" fmla="*/ 1386524 h 6858000"/>
              <a:gd name="connsiteX269" fmla="*/ 3610014 w 8009775"/>
              <a:gd name="connsiteY269" fmla="*/ 1390969 h 6858000"/>
              <a:gd name="connsiteX270" fmla="*/ 3817500 w 8009775"/>
              <a:gd name="connsiteY270" fmla="*/ 1598296 h 6858000"/>
              <a:gd name="connsiteX271" fmla="*/ 3821934 w 8009775"/>
              <a:gd name="connsiteY271" fmla="*/ 1602423 h 6858000"/>
              <a:gd name="connsiteX272" fmla="*/ 3826663 w 8009775"/>
              <a:gd name="connsiteY272" fmla="*/ 1606869 h 6858000"/>
              <a:gd name="connsiteX273" fmla="*/ 3831687 w 8009775"/>
              <a:gd name="connsiteY273" fmla="*/ 1610361 h 6858000"/>
              <a:gd name="connsiteX274" fmla="*/ 3836712 w 8009775"/>
              <a:gd name="connsiteY274" fmla="*/ 1613854 h 6858000"/>
              <a:gd name="connsiteX275" fmla="*/ 3841736 w 8009775"/>
              <a:gd name="connsiteY275" fmla="*/ 1617345 h 6858000"/>
              <a:gd name="connsiteX276" fmla="*/ 3847352 w 8009775"/>
              <a:gd name="connsiteY276" fmla="*/ 1620204 h 6858000"/>
              <a:gd name="connsiteX277" fmla="*/ 3852672 w 8009775"/>
              <a:gd name="connsiteY277" fmla="*/ 1623061 h 6858000"/>
              <a:gd name="connsiteX278" fmla="*/ 3857992 w 8009775"/>
              <a:gd name="connsiteY278" fmla="*/ 1625283 h 6858000"/>
              <a:gd name="connsiteX279" fmla="*/ 3863608 w 8009775"/>
              <a:gd name="connsiteY279" fmla="*/ 1627189 h 6858000"/>
              <a:gd name="connsiteX280" fmla="*/ 3869519 w 8009775"/>
              <a:gd name="connsiteY280" fmla="*/ 1629094 h 6858000"/>
              <a:gd name="connsiteX281" fmla="*/ 3875135 w 8009775"/>
              <a:gd name="connsiteY281" fmla="*/ 1630998 h 6858000"/>
              <a:gd name="connsiteX282" fmla="*/ 3881046 w 8009775"/>
              <a:gd name="connsiteY282" fmla="*/ 1631950 h 6858000"/>
              <a:gd name="connsiteX283" fmla="*/ 3886662 w 8009775"/>
              <a:gd name="connsiteY283" fmla="*/ 1632904 h 6858000"/>
              <a:gd name="connsiteX284" fmla="*/ 3892869 w 8009775"/>
              <a:gd name="connsiteY284" fmla="*/ 1633856 h 6858000"/>
              <a:gd name="connsiteX285" fmla="*/ 3898485 w 8009775"/>
              <a:gd name="connsiteY285" fmla="*/ 1634174 h 6858000"/>
              <a:gd name="connsiteX286" fmla="*/ 3904396 w 8009775"/>
              <a:gd name="connsiteY286" fmla="*/ 1634174 h 6858000"/>
              <a:gd name="connsiteX287" fmla="*/ 3910307 w 8009775"/>
              <a:gd name="connsiteY287" fmla="*/ 1634174 h 6858000"/>
              <a:gd name="connsiteX288" fmla="*/ 3916219 w 8009775"/>
              <a:gd name="connsiteY288" fmla="*/ 1633856 h 6858000"/>
              <a:gd name="connsiteX289" fmla="*/ 3922425 w 8009775"/>
              <a:gd name="connsiteY289" fmla="*/ 1632904 h 6858000"/>
              <a:gd name="connsiteX290" fmla="*/ 3928041 w 8009775"/>
              <a:gd name="connsiteY290" fmla="*/ 1631950 h 6858000"/>
              <a:gd name="connsiteX291" fmla="*/ 3933657 w 8009775"/>
              <a:gd name="connsiteY291" fmla="*/ 1630998 h 6858000"/>
              <a:gd name="connsiteX292" fmla="*/ 3939568 w 8009775"/>
              <a:gd name="connsiteY292" fmla="*/ 1629094 h 6858000"/>
              <a:gd name="connsiteX293" fmla="*/ 3945184 w 8009775"/>
              <a:gd name="connsiteY293" fmla="*/ 1627189 h 6858000"/>
              <a:gd name="connsiteX294" fmla="*/ 3950799 w 8009775"/>
              <a:gd name="connsiteY294" fmla="*/ 1625283 h 6858000"/>
              <a:gd name="connsiteX295" fmla="*/ 3956415 w 8009775"/>
              <a:gd name="connsiteY295" fmla="*/ 1623061 h 6858000"/>
              <a:gd name="connsiteX296" fmla="*/ 3961735 w 8009775"/>
              <a:gd name="connsiteY296" fmla="*/ 1620204 h 6858000"/>
              <a:gd name="connsiteX297" fmla="*/ 3967055 w 8009775"/>
              <a:gd name="connsiteY297" fmla="*/ 1617345 h 6858000"/>
              <a:gd name="connsiteX298" fmla="*/ 3972376 w 8009775"/>
              <a:gd name="connsiteY298" fmla="*/ 1613854 h 6858000"/>
              <a:gd name="connsiteX299" fmla="*/ 3977400 w 8009775"/>
              <a:gd name="connsiteY299" fmla="*/ 1610361 h 6858000"/>
              <a:gd name="connsiteX300" fmla="*/ 3982425 w 8009775"/>
              <a:gd name="connsiteY300" fmla="*/ 1606869 h 6858000"/>
              <a:gd name="connsiteX301" fmla="*/ 3986858 w 8009775"/>
              <a:gd name="connsiteY301" fmla="*/ 1602423 h 6858000"/>
              <a:gd name="connsiteX302" fmla="*/ 3991587 w 8009775"/>
              <a:gd name="connsiteY302" fmla="*/ 1598296 h 6858000"/>
              <a:gd name="connsiteX303" fmla="*/ 3996021 w 8009775"/>
              <a:gd name="connsiteY303" fmla="*/ 1593533 h 6858000"/>
              <a:gd name="connsiteX304" fmla="*/ 4000159 w 8009775"/>
              <a:gd name="connsiteY304" fmla="*/ 1588771 h 6858000"/>
              <a:gd name="connsiteX305" fmla="*/ 4003705 w 8009775"/>
              <a:gd name="connsiteY305" fmla="*/ 1583691 h 6858000"/>
              <a:gd name="connsiteX306" fmla="*/ 4007548 w 8009775"/>
              <a:gd name="connsiteY306" fmla="*/ 1578928 h 6858000"/>
              <a:gd name="connsiteX307" fmla="*/ 4010799 w 8009775"/>
              <a:gd name="connsiteY307" fmla="*/ 1573849 h 6858000"/>
              <a:gd name="connsiteX308" fmla="*/ 4013459 w 8009775"/>
              <a:gd name="connsiteY308" fmla="*/ 1568451 h 6858000"/>
              <a:gd name="connsiteX309" fmla="*/ 4016415 w 8009775"/>
              <a:gd name="connsiteY309" fmla="*/ 1563054 h 6858000"/>
              <a:gd name="connsiteX310" fmla="*/ 4018484 w 8009775"/>
              <a:gd name="connsiteY310" fmla="*/ 1557339 h 6858000"/>
              <a:gd name="connsiteX311" fmla="*/ 4020848 w 8009775"/>
              <a:gd name="connsiteY311" fmla="*/ 1551941 h 6858000"/>
              <a:gd name="connsiteX312" fmla="*/ 4022621 w 8009775"/>
              <a:gd name="connsiteY312" fmla="*/ 1546226 h 6858000"/>
              <a:gd name="connsiteX313" fmla="*/ 4024395 w 8009775"/>
              <a:gd name="connsiteY313" fmla="*/ 1540511 h 6858000"/>
              <a:gd name="connsiteX314" fmla="*/ 4025282 w 8009775"/>
              <a:gd name="connsiteY314" fmla="*/ 1534478 h 6858000"/>
              <a:gd name="connsiteX315" fmla="*/ 4026464 w 8009775"/>
              <a:gd name="connsiteY315" fmla="*/ 1528763 h 6858000"/>
              <a:gd name="connsiteX316" fmla="*/ 4027055 w 8009775"/>
              <a:gd name="connsiteY316" fmla="*/ 1522731 h 6858000"/>
              <a:gd name="connsiteX317" fmla="*/ 4027646 w 8009775"/>
              <a:gd name="connsiteY317" fmla="*/ 1517016 h 6858000"/>
              <a:gd name="connsiteX318" fmla="*/ 4027646 w 8009775"/>
              <a:gd name="connsiteY318" fmla="*/ 1510984 h 6858000"/>
              <a:gd name="connsiteX319" fmla="*/ 4027646 w 8009775"/>
              <a:gd name="connsiteY319" fmla="*/ 1505268 h 6858000"/>
              <a:gd name="connsiteX320" fmla="*/ 4027055 w 8009775"/>
              <a:gd name="connsiteY320" fmla="*/ 1499553 h 6858000"/>
              <a:gd name="connsiteX321" fmla="*/ 4026464 w 8009775"/>
              <a:gd name="connsiteY321" fmla="*/ 1493204 h 6858000"/>
              <a:gd name="connsiteX322" fmla="*/ 4025282 w 8009775"/>
              <a:gd name="connsiteY322" fmla="*/ 1487489 h 6858000"/>
              <a:gd name="connsiteX323" fmla="*/ 4024395 w 8009775"/>
              <a:gd name="connsiteY323" fmla="*/ 1481773 h 6858000"/>
              <a:gd name="connsiteX324" fmla="*/ 4022621 w 8009775"/>
              <a:gd name="connsiteY324" fmla="*/ 1476058 h 6858000"/>
              <a:gd name="connsiteX325" fmla="*/ 4020848 w 8009775"/>
              <a:gd name="connsiteY325" fmla="*/ 1470343 h 6858000"/>
              <a:gd name="connsiteX326" fmla="*/ 4018484 w 8009775"/>
              <a:gd name="connsiteY326" fmla="*/ 1464629 h 6858000"/>
              <a:gd name="connsiteX327" fmla="*/ 4016415 w 8009775"/>
              <a:gd name="connsiteY327" fmla="*/ 1459231 h 6858000"/>
              <a:gd name="connsiteX328" fmla="*/ 4013459 w 8009775"/>
              <a:gd name="connsiteY328" fmla="*/ 1453834 h 6858000"/>
              <a:gd name="connsiteX329" fmla="*/ 4010799 w 8009775"/>
              <a:gd name="connsiteY329" fmla="*/ 1448436 h 6858000"/>
              <a:gd name="connsiteX330" fmla="*/ 4007548 w 8009775"/>
              <a:gd name="connsiteY330" fmla="*/ 1443356 h 6858000"/>
              <a:gd name="connsiteX331" fmla="*/ 4003705 w 8009775"/>
              <a:gd name="connsiteY331" fmla="*/ 1438275 h 6858000"/>
              <a:gd name="connsiteX332" fmla="*/ 4000159 w 8009775"/>
              <a:gd name="connsiteY332" fmla="*/ 1433195 h 6858000"/>
              <a:gd name="connsiteX333" fmla="*/ 3996021 w 8009775"/>
              <a:gd name="connsiteY333" fmla="*/ 1428751 h 6858000"/>
              <a:gd name="connsiteX334" fmla="*/ 3991587 w 8009775"/>
              <a:gd name="connsiteY334" fmla="*/ 1423988 h 6858000"/>
              <a:gd name="connsiteX335" fmla="*/ 3323022 w 8009775"/>
              <a:gd name="connsiteY335" fmla="*/ 755333 h 6858000"/>
              <a:gd name="connsiteX336" fmla="*/ 3316815 w 8009775"/>
              <a:gd name="connsiteY336" fmla="*/ 748348 h 6858000"/>
              <a:gd name="connsiteX337" fmla="*/ 3310904 w 8009775"/>
              <a:gd name="connsiteY337" fmla="*/ 741045 h 6858000"/>
              <a:gd name="connsiteX338" fmla="*/ 3305584 w 8009775"/>
              <a:gd name="connsiteY338" fmla="*/ 733108 h 6858000"/>
              <a:gd name="connsiteX339" fmla="*/ 3300855 w 8009775"/>
              <a:gd name="connsiteY339" fmla="*/ 725170 h 6858000"/>
              <a:gd name="connsiteX340" fmla="*/ 3297308 w 8009775"/>
              <a:gd name="connsiteY340" fmla="*/ 716915 h 6858000"/>
              <a:gd name="connsiteX341" fmla="*/ 3293761 w 8009775"/>
              <a:gd name="connsiteY341" fmla="*/ 708660 h 6858000"/>
              <a:gd name="connsiteX342" fmla="*/ 3291101 w 8009775"/>
              <a:gd name="connsiteY342" fmla="*/ 699770 h 6858000"/>
              <a:gd name="connsiteX343" fmla="*/ 3289328 w 8009775"/>
              <a:gd name="connsiteY343" fmla="*/ 691198 h 6858000"/>
              <a:gd name="connsiteX344" fmla="*/ 2596527 w 8009775"/>
              <a:gd name="connsiteY344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980947 w 8009775"/>
              <a:gd name="connsiteY72" fmla="*/ 2804795 h 6858000"/>
              <a:gd name="connsiteX73" fmla="*/ 3001744 w 8009775"/>
              <a:gd name="connsiteY73" fmla="*/ 1828166 h 6858000"/>
              <a:gd name="connsiteX74" fmla="*/ 2997311 w 8009775"/>
              <a:gd name="connsiteY74" fmla="*/ 1823404 h 6858000"/>
              <a:gd name="connsiteX75" fmla="*/ 2992878 w 8009775"/>
              <a:gd name="connsiteY75" fmla="*/ 1818640 h 6858000"/>
              <a:gd name="connsiteX76" fmla="*/ 2989331 w 8009775"/>
              <a:gd name="connsiteY76" fmla="*/ 1814195 h 6858000"/>
              <a:gd name="connsiteX77" fmla="*/ 2985784 w 8009775"/>
              <a:gd name="connsiteY77" fmla="*/ 1808799 h 6858000"/>
              <a:gd name="connsiteX78" fmla="*/ 2982533 w 8009775"/>
              <a:gd name="connsiteY78" fmla="*/ 1803718 h 6858000"/>
              <a:gd name="connsiteX79" fmla="*/ 2979873 w 8009775"/>
              <a:gd name="connsiteY79" fmla="*/ 1798321 h 6858000"/>
              <a:gd name="connsiteX80" fmla="*/ 2976917 w 8009775"/>
              <a:gd name="connsiteY80" fmla="*/ 1792924 h 6858000"/>
              <a:gd name="connsiteX81" fmla="*/ 2974552 w 8009775"/>
              <a:gd name="connsiteY81" fmla="*/ 1787526 h 6858000"/>
              <a:gd name="connsiteX82" fmla="*/ 2972484 w 8009775"/>
              <a:gd name="connsiteY82" fmla="*/ 1781811 h 6858000"/>
              <a:gd name="connsiteX83" fmla="*/ 2970710 w 8009775"/>
              <a:gd name="connsiteY83" fmla="*/ 1776095 h 6858000"/>
              <a:gd name="connsiteX84" fmla="*/ 2968937 w 8009775"/>
              <a:gd name="connsiteY84" fmla="*/ 1770380 h 6858000"/>
              <a:gd name="connsiteX85" fmla="*/ 2967755 w 8009775"/>
              <a:gd name="connsiteY85" fmla="*/ 1764665 h 6858000"/>
              <a:gd name="connsiteX86" fmla="*/ 2966868 w 8009775"/>
              <a:gd name="connsiteY86" fmla="*/ 1758634 h 6858000"/>
              <a:gd name="connsiteX87" fmla="*/ 2965981 w 8009775"/>
              <a:gd name="connsiteY87" fmla="*/ 1752919 h 6858000"/>
              <a:gd name="connsiteX88" fmla="*/ 2965686 w 8009775"/>
              <a:gd name="connsiteY88" fmla="*/ 1746885 h 6858000"/>
              <a:gd name="connsiteX89" fmla="*/ 2965686 w 8009775"/>
              <a:gd name="connsiteY89" fmla="*/ 1741170 h 6858000"/>
              <a:gd name="connsiteX90" fmla="*/ 2965686 w 8009775"/>
              <a:gd name="connsiteY90" fmla="*/ 1735139 h 6858000"/>
              <a:gd name="connsiteX91" fmla="*/ 2965981 w 8009775"/>
              <a:gd name="connsiteY91" fmla="*/ 1729424 h 6858000"/>
              <a:gd name="connsiteX92" fmla="*/ 2966868 w 8009775"/>
              <a:gd name="connsiteY92" fmla="*/ 1723074 h 6858000"/>
              <a:gd name="connsiteX93" fmla="*/ 2967755 w 8009775"/>
              <a:gd name="connsiteY93" fmla="*/ 1717358 h 6858000"/>
              <a:gd name="connsiteX94" fmla="*/ 2968937 w 8009775"/>
              <a:gd name="connsiteY94" fmla="*/ 1711643 h 6858000"/>
              <a:gd name="connsiteX95" fmla="*/ 2970710 w 8009775"/>
              <a:gd name="connsiteY95" fmla="*/ 1705929 h 6858000"/>
              <a:gd name="connsiteX96" fmla="*/ 2972484 w 8009775"/>
              <a:gd name="connsiteY96" fmla="*/ 1700214 h 6858000"/>
              <a:gd name="connsiteX97" fmla="*/ 2974552 w 8009775"/>
              <a:gd name="connsiteY97" fmla="*/ 1694816 h 6858000"/>
              <a:gd name="connsiteX98" fmla="*/ 2976917 w 8009775"/>
              <a:gd name="connsiteY98" fmla="*/ 1689101 h 6858000"/>
              <a:gd name="connsiteX99" fmla="*/ 2979873 w 8009775"/>
              <a:gd name="connsiteY99" fmla="*/ 1683703 h 6858000"/>
              <a:gd name="connsiteX100" fmla="*/ 2982533 w 8009775"/>
              <a:gd name="connsiteY100" fmla="*/ 1678305 h 6858000"/>
              <a:gd name="connsiteX101" fmla="*/ 2985784 w 8009775"/>
              <a:gd name="connsiteY101" fmla="*/ 1673226 h 6858000"/>
              <a:gd name="connsiteX102" fmla="*/ 2989331 w 8009775"/>
              <a:gd name="connsiteY102" fmla="*/ 1668145 h 6858000"/>
              <a:gd name="connsiteX103" fmla="*/ 2992878 w 8009775"/>
              <a:gd name="connsiteY103" fmla="*/ 1663066 h 6858000"/>
              <a:gd name="connsiteX104" fmla="*/ 2997311 w 8009775"/>
              <a:gd name="connsiteY104" fmla="*/ 1658621 h 6858000"/>
              <a:gd name="connsiteX105" fmla="*/ 3001744 w 8009775"/>
              <a:gd name="connsiteY105" fmla="*/ 1653859 h 6858000"/>
              <a:gd name="connsiteX106" fmla="*/ 3006178 w 8009775"/>
              <a:gd name="connsiteY106" fmla="*/ 1649414 h 6858000"/>
              <a:gd name="connsiteX107" fmla="*/ 3010907 w 8009775"/>
              <a:gd name="connsiteY107" fmla="*/ 1645603 h 6858000"/>
              <a:gd name="connsiteX108" fmla="*/ 3015932 w 8009775"/>
              <a:gd name="connsiteY108" fmla="*/ 1641794 h 6858000"/>
              <a:gd name="connsiteX109" fmla="*/ 3020956 w 8009775"/>
              <a:gd name="connsiteY109" fmla="*/ 1637984 h 6858000"/>
              <a:gd name="connsiteX110" fmla="*/ 3025981 w 8009775"/>
              <a:gd name="connsiteY110" fmla="*/ 1634809 h 6858000"/>
              <a:gd name="connsiteX111" fmla="*/ 3031596 w 8009775"/>
              <a:gd name="connsiteY111" fmla="*/ 1631950 h 6858000"/>
              <a:gd name="connsiteX112" fmla="*/ 3036916 w 8009775"/>
              <a:gd name="connsiteY112" fmla="*/ 1629094 h 6858000"/>
              <a:gd name="connsiteX113" fmla="*/ 3042532 w 8009775"/>
              <a:gd name="connsiteY113" fmla="*/ 1626871 h 6858000"/>
              <a:gd name="connsiteX114" fmla="*/ 3047852 w 8009775"/>
              <a:gd name="connsiteY114" fmla="*/ 1624649 h 6858000"/>
              <a:gd name="connsiteX115" fmla="*/ 3053764 w 8009775"/>
              <a:gd name="connsiteY115" fmla="*/ 1623061 h 6858000"/>
              <a:gd name="connsiteX116" fmla="*/ 3059379 w 8009775"/>
              <a:gd name="connsiteY116" fmla="*/ 1621155 h 6858000"/>
              <a:gd name="connsiteX117" fmla="*/ 3065291 w 8009775"/>
              <a:gd name="connsiteY117" fmla="*/ 1620204 h 6858000"/>
              <a:gd name="connsiteX118" fmla="*/ 3070906 w 8009775"/>
              <a:gd name="connsiteY118" fmla="*/ 1618934 h 6858000"/>
              <a:gd name="connsiteX119" fmla="*/ 3077113 w 8009775"/>
              <a:gd name="connsiteY119" fmla="*/ 1618299 h 6858000"/>
              <a:gd name="connsiteX120" fmla="*/ 3082729 w 8009775"/>
              <a:gd name="connsiteY120" fmla="*/ 1617981 h 6858000"/>
              <a:gd name="connsiteX121" fmla="*/ 3088936 w 8009775"/>
              <a:gd name="connsiteY121" fmla="*/ 1617981 h 6858000"/>
              <a:gd name="connsiteX122" fmla="*/ 3094552 w 8009775"/>
              <a:gd name="connsiteY122" fmla="*/ 1617981 h 6858000"/>
              <a:gd name="connsiteX123" fmla="*/ 3100758 w 8009775"/>
              <a:gd name="connsiteY123" fmla="*/ 1618299 h 6858000"/>
              <a:gd name="connsiteX124" fmla="*/ 3106670 w 8009775"/>
              <a:gd name="connsiteY124" fmla="*/ 1618934 h 6858000"/>
              <a:gd name="connsiteX125" fmla="*/ 3112285 w 8009775"/>
              <a:gd name="connsiteY125" fmla="*/ 1620204 h 6858000"/>
              <a:gd name="connsiteX126" fmla="*/ 3117901 w 8009775"/>
              <a:gd name="connsiteY126" fmla="*/ 1621155 h 6858000"/>
              <a:gd name="connsiteX127" fmla="*/ 3123812 w 8009775"/>
              <a:gd name="connsiteY127" fmla="*/ 1623061 h 6858000"/>
              <a:gd name="connsiteX128" fmla="*/ 3129428 w 8009775"/>
              <a:gd name="connsiteY128" fmla="*/ 1624649 h 6858000"/>
              <a:gd name="connsiteX129" fmla="*/ 3135339 w 8009775"/>
              <a:gd name="connsiteY129" fmla="*/ 1626871 h 6858000"/>
              <a:gd name="connsiteX130" fmla="*/ 3140660 w 8009775"/>
              <a:gd name="connsiteY130" fmla="*/ 1629094 h 6858000"/>
              <a:gd name="connsiteX131" fmla="*/ 3145980 w 8009775"/>
              <a:gd name="connsiteY131" fmla="*/ 1631950 h 6858000"/>
              <a:gd name="connsiteX132" fmla="*/ 3151300 w 8009775"/>
              <a:gd name="connsiteY132" fmla="*/ 1634809 h 6858000"/>
              <a:gd name="connsiteX133" fmla="*/ 3156324 w 8009775"/>
              <a:gd name="connsiteY133" fmla="*/ 1637984 h 6858000"/>
              <a:gd name="connsiteX134" fmla="*/ 3161349 w 8009775"/>
              <a:gd name="connsiteY134" fmla="*/ 1641794 h 6858000"/>
              <a:gd name="connsiteX135" fmla="*/ 3166374 w 8009775"/>
              <a:gd name="connsiteY135" fmla="*/ 1645603 h 6858000"/>
              <a:gd name="connsiteX136" fmla="*/ 3171102 w 8009775"/>
              <a:gd name="connsiteY136" fmla="*/ 1649414 h 6858000"/>
              <a:gd name="connsiteX137" fmla="*/ 3175832 w 8009775"/>
              <a:gd name="connsiteY137" fmla="*/ 1653859 h 6858000"/>
              <a:gd name="connsiteX138" fmla="*/ 3844692 w 8009775"/>
              <a:gd name="connsiteY138" fmla="*/ 2322830 h 6858000"/>
              <a:gd name="connsiteX139" fmla="*/ 3849421 w 8009775"/>
              <a:gd name="connsiteY139" fmla="*/ 2326958 h 6858000"/>
              <a:gd name="connsiteX140" fmla="*/ 3854150 w 8009775"/>
              <a:gd name="connsiteY140" fmla="*/ 2331085 h 6858000"/>
              <a:gd name="connsiteX141" fmla="*/ 3859175 w 8009775"/>
              <a:gd name="connsiteY141" fmla="*/ 2334895 h 6858000"/>
              <a:gd name="connsiteX142" fmla="*/ 3864199 w 8009775"/>
              <a:gd name="connsiteY142" fmla="*/ 2338705 h 6858000"/>
              <a:gd name="connsiteX143" fmla="*/ 3869224 w 8009775"/>
              <a:gd name="connsiteY143" fmla="*/ 2341880 h 6858000"/>
              <a:gd name="connsiteX144" fmla="*/ 3874544 w 8009775"/>
              <a:gd name="connsiteY144" fmla="*/ 2344738 h 6858000"/>
              <a:gd name="connsiteX145" fmla="*/ 3879864 w 8009775"/>
              <a:gd name="connsiteY145" fmla="*/ 2347595 h 6858000"/>
              <a:gd name="connsiteX146" fmla="*/ 3885775 w 8009775"/>
              <a:gd name="connsiteY146" fmla="*/ 2349818 h 6858000"/>
              <a:gd name="connsiteX147" fmla="*/ 3891096 w 8009775"/>
              <a:gd name="connsiteY147" fmla="*/ 2351723 h 6858000"/>
              <a:gd name="connsiteX148" fmla="*/ 3896711 w 8009775"/>
              <a:gd name="connsiteY148" fmla="*/ 2353628 h 6858000"/>
              <a:gd name="connsiteX149" fmla="*/ 3902623 w 8009775"/>
              <a:gd name="connsiteY149" fmla="*/ 2355534 h 6858000"/>
              <a:gd name="connsiteX150" fmla="*/ 3908238 w 8009775"/>
              <a:gd name="connsiteY150" fmla="*/ 2356485 h 6858000"/>
              <a:gd name="connsiteX151" fmla="*/ 3914150 w 8009775"/>
              <a:gd name="connsiteY151" fmla="*/ 2357755 h 6858000"/>
              <a:gd name="connsiteX152" fmla="*/ 3920061 w 8009775"/>
              <a:gd name="connsiteY152" fmla="*/ 2358391 h 6858000"/>
              <a:gd name="connsiteX153" fmla="*/ 3925972 w 8009775"/>
              <a:gd name="connsiteY153" fmla="*/ 2358708 h 6858000"/>
              <a:gd name="connsiteX154" fmla="*/ 3931883 w 8009775"/>
              <a:gd name="connsiteY154" fmla="*/ 2358708 h 6858000"/>
              <a:gd name="connsiteX155" fmla="*/ 3937795 w 8009775"/>
              <a:gd name="connsiteY155" fmla="*/ 2358708 h 6858000"/>
              <a:gd name="connsiteX156" fmla="*/ 3943706 w 8009775"/>
              <a:gd name="connsiteY156" fmla="*/ 2358391 h 6858000"/>
              <a:gd name="connsiteX157" fmla="*/ 3949617 w 8009775"/>
              <a:gd name="connsiteY157" fmla="*/ 2357755 h 6858000"/>
              <a:gd name="connsiteX158" fmla="*/ 3955233 w 8009775"/>
              <a:gd name="connsiteY158" fmla="*/ 2356485 h 6858000"/>
              <a:gd name="connsiteX159" fmla="*/ 3961144 w 8009775"/>
              <a:gd name="connsiteY159" fmla="*/ 2355534 h 6858000"/>
              <a:gd name="connsiteX160" fmla="*/ 3966760 w 8009775"/>
              <a:gd name="connsiteY160" fmla="*/ 2353628 h 6858000"/>
              <a:gd name="connsiteX161" fmla="*/ 3972671 w 8009775"/>
              <a:gd name="connsiteY161" fmla="*/ 2351723 h 6858000"/>
              <a:gd name="connsiteX162" fmla="*/ 3978287 w 8009775"/>
              <a:gd name="connsiteY162" fmla="*/ 2349818 h 6858000"/>
              <a:gd name="connsiteX163" fmla="*/ 3983607 w 8009775"/>
              <a:gd name="connsiteY163" fmla="*/ 2347595 h 6858000"/>
              <a:gd name="connsiteX164" fmla="*/ 3989223 w 8009775"/>
              <a:gd name="connsiteY164" fmla="*/ 2344738 h 6858000"/>
              <a:gd name="connsiteX165" fmla="*/ 3994543 w 8009775"/>
              <a:gd name="connsiteY165" fmla="*/ 2341880 h 6858000"/>
              <a:gd name="connsiteX166" fmla="*/ 3999567 w 8009775"/>
              <a:gd name="connsiteY166" fmla="*/ 2338705 h 6858000"/>
              <a:gd name="connsiteX167" fmla="*/ 4004888 w 8009775"/>
              <a:gd name="connsiteY167" fmla="*/ 2334895 h 6858000"/>
              <a:gd name="connsiteX168" fmla="*/ 4009617 w 8009775"/>
              <a:gd name="connsiteY168" fmla="*/ 2331085 h 6858000"/>
              <a:gd name="connsiteX169" fmla="*/ 4014346 w 8009775"/>
              <a:gd name="connsiteY169" fmla="*/ 2326958 h 6858000"/>
              <a:gd name="connsiteX170" fmla="*/ 4018779 w 8009775"/>
              <a:gd name="connsiteY170" fmla="*/ 2322830 h 6858000"/>
              <a:gd name="connsiteX171" fmla="*/ 4023213 w 8009775"/>
              <a:gd name="connsiteY171" fmla="*/ 2318068 h 6858000"/>
              <a:gd name="connsiteX172" fmla="*/ 4027646 w 8009775"/>
              <a:gd name="connsiteY172" fmla="*/ 2313306 h 6858000"/>
              <a:gd name="connsiteX173" fmla="*/ 4031193 w 8009775"/>
              <a:gd name="connsiteY173" fmla="*/ 2308544 h 6858000"/>
              <a:gd name="connsiteX174" fmla="*/ 4034740 w 8009775"/>
              <a:gd name="connsiteY174" fmla="*/ 2303463 h 6858000"/>
              <a:gd name="connsiteX175" fmla="*/ 4037991 w 8009775"/>
              <a:gd name="connsiteY175" fmla="*/ 2298384 h 6858000"/>
              <a:gd name="connsiteX176" fmla="*/ 4040946 w 8009775"/>
              <a:gd name="connsiteY176" fmla="*/ 2292985 h 6858000"/>
              <a:gd name="connsiteX177" fmla="*/ 4043606 w 8009775"/>
              <a:gd name="connsiteY177" fmla="*/ 2287588 h 6858000"/>
              <a:gd name="connsiteX178" fmla="*/ 4046267 w 8009775"/>
              <a:gd name="connsiteY178" fmla="*/ 2281873 h 6858000"/>
              <a:gd name="connsiteX179" fmla="*/ 4048040 w 8009775"/>
              <a:gd name="connsiteY179" fmla="*/ 2276476 h 6858000"/>
              <a:gd name="connsiteX180" fmla="*/ 4050109 w 8009775"/>
              <a:gd name="connsiteY180" fmla="*/ 2270761 h 6858000"/>
              <a:gd name="connsiteX181" fmla="*/ 4051587 w 8009775"/>
              <a:gd name="connsiteY181" fmla="*/ 2265046 h 6858000"/>
              <a:gd name="connsiteX182" fmla="*/ 4052769 w 8009775"/>
              <a:gd name="connsiteY182" fmla="*/ 2259331 h 6858000"/>
              <a:gd name="connsiteX183" fmla="*/ 4053656 w 8009775"/>
              <a:gd name="connsiteY183" fmla="*/ 2253298 h 6858000"/>
              <a:gd name="connsiteX184" fmla="*/ 4054542 w 8009775"/>
              <a:gd name="connsiteY184" fmla="*/ 2247266 h 6858000"/>
              <a:gd name="connsiteX185" fmla="*/ 4054838 w 8009775"/>
              <a:gd name="connsiteY185" fmla="*/ 2241551 h 6858000"/>
              <a:gd name="connsiteX186" fmla="*/ 4055133 w 8009775"/>
              <a:gd name="connsiteY186" fmla="*/ 2235519 h 6858000"/>
              <a:gd name="connsiteX187" fmla="*/ 4054838 w 8009775"/>
              <a:gd name="connsiteY187" fmla="*/ 2229804 h 6858000"/>
              <a:gd name="connsiteX188" fmla="*/ 4054542 w 8009775"/>
              <a:gd name="connsiteY188" fmla="*/ 2223770 h 6858000"/>
              <a:gd name="connsiteX189" fmla="*/ 4053656 w 8009775"/>
              <a:gd name="connsiteY189" fmla="*/ 2217739 h 6858000"/>
              <a:gd name="connsiteX190" fmla="*/ 4052769 w 8009775"/>
              <a:gd name="connsiteY190" fmla="*/ 2212024 h 6858000"/>
              <a:gd name="connsiteX191" fmla="*/ 4051587 w 8009775"/>
              <a:gd name="connsiteY191" fmla="*/ 2206309 h 6858000"/>
              <a:gd name="connsiteX192" fmla="*/ 4050109 w 8009775"/>
              <a:gd name="connsiteY192" fmla="*/ 2200593 h 6858000"/>
              <a:gd name="connsiteX193" fmla="*/ 4048040 w 8009775"/>
              <a:gd name="connsiteY193" fmla="*/ 2194878 h 6858000"/>
              <a:gd name="connsiteX194" fmla="*/ 4046267 w 8009775"/>
              <a:gd name="connsiteY194" fmla="*/ 2189163 h 6858000"/>
              <a:gd name="connsiteX195" fmla="*/ 4043606 w 8009775"/>
              <a:gd name="connsiteY195" fmla="*/ 2183765 h 6858000"/>
              <a:gd name="connsiteX196" fmla="*/ 4040946 w 8009775"/>
              <a:gd name="connsiteY196" fmla="*/ 2178368 h 6858000"/>
              <a:gd name="connsiteX197" fmla="*/ 4037991 w 8009775"/>
              <a:gd name="connsiteY197" fmla="*/ 2172970 h 6858000"/>
              <a:gd name="connsiteX198" fmla="*/ 4034740 w 8009775"/>
              <a:gd name="connsiteY198" fmla="*/ 2167890 h 6858000"/>
              <a:gd name="connsiteX199" fmla="*/ 4031193 w 8009775"/>
              <a:gd name="connsiteY199" fmla="*/ 2162494 h 6858000"/>
              <a:gd name="connsiteX200" fmla="*/ 4027646 w 8009775"/>
              <a:gd name="connsiteY200" fmla="*/ 2157730 h 6858000"/>
              <a:gd name="connsiteX201" fmla="*/ 4023213 w 8009775"/>
              <a:gd name="connsiteY201" fmla="*/ 2153285 h 6858000"/>
              <a:gd name="connsiteX202" fmla="*/ 4018779 w 8009775"/>
              <a:gd name="connsiteY202" fmla="*/ 2148523 h 6858000"/>
              <a:gd name="connsiteX203" fmla="*/ 3632182 w 8009775"/>
              <a:gd name="connsiteY203" fmla="*/ 1761490 h 6858000"/>
              <a:gd name="connsiteX204" fmla="*/ 3435928 w 8009775"/>
              <a:gd name="connsiteY204" fmla="*/ 1565276 h 6858000"/>
              <a:gd name="connsiteX205" fmla="*/ 3431198 w 8009775"/>
              <a:gd name="connsiteY205" fmla="*/ 1560514 h 6858000"/>
              <a:gd name="connsiteX206" fmla="*/ 3427356 w 8009775"/>
              <a:gd name="connsiteY206" fmla="*/ 1555751 h 6858000"/>
              <a:gd name="connsiteX207" fmla="*/ 3423218 w 8009775"/>
              <a:gd name="connsiteY207" fmla="*/ 1550671 h 6858000"/>
              <a:gd name="connsiteX208" fmla="*/ 3420262 w 8009775"/>
              <a:gd name="connsiteY208" fmla="*/ 1545909 h 6858000"/>
              <a:gd name="connsiteX209" fmla="*/ 3417012 w 8009775"/>
              <a:gd name="connsiteY209" fmla="*/ 1540829 h 6858000"/>
              <a:gd name="connsiteX210" fmla="*/ 3413760 w 8009775"/>
              <a:gd name="connsiteY210" fmla="*/ 1535430 h 6858000"/>
              <a:gd name="connsiteX211" fmla="*/ 3411100 w 8009775"/>
              <a:gd name="connsiteY211" fmla="*/ 1530034 h 6858000"/>
              <a:gd name="connsiteX212" fmla="*/ 3408736 w 8009775"/>
              <a:gd name="connsiteY212" fmla="*/ 1524635 h 6858000"/>
              <a:gd name="connsiteX213" fmla="*/ 3406371 w 8009775"/>
              <a:gd name="connsiteY213" fmla="*/ 1518920 h 6858000"/>
              <a:gd name="connsiteX214" fmla="*/ 3404598 w 8009775"/>
              <a:gd name="connsiteY214" fmla="*/ 1513205 h 6858000"/>
              <a:gd name="connsiteX215" fmla="*/ 3403120 w 8009775"/>
              <a:gd name="connsiteY215" fmla="*/ 1507174 h 6858000"/>
              <a:gd name="connsiteX216" fmla="*/ 3401938 w 8009775"/>
              <a:gd name="connsiteY216" fmla="*/ 1501459 h 6858000"/>
              <a:gd name="connsiteX217" fmla="*/ 3401051 w 8009775"/>
              <a:gd name="connsiteY217" fmla="*/ 1495744 h 6858000"/>
              <a:gd name="connsiteX218" fmla="*/ 3400460 w 8009775"/>
              <a:gd name="connsiteY218" fmla="*/ 1489710 h 6858000"/>
              <a:gd name="connsiteX219" fmla="*/ 3399869 w 8009775"/>
              <a:gd name="connsiteY219" fmla="*/ 1483995 h 6858000"/>
              <a:gd name="connsiteX220" fmla="*/ 3399573 w 8009775"/>
              <a:gd name="connsiteY220" fmla="*/ 1478281 h 6858000"/>
              <a:gd name="connsiteX221" fmla="*/ 3399869 w 8009775"/>
              <a:gd name="connsiteY221" fmla="*/ 1472249 h 6858000"/>
              <a:gd name="connsiteX222" fmla="*/ 3400460 w 8009775"/>
              <a:gd name="connsiteY222" fmla="*/ 1466215 h 6858000"/>
              <a:gd name="connsiteX223" fmla="*/ 3401051 w 8009775"/>
              <a:gd name="connsiteY223" fmla="*/ 1460183 h 6858000"/>
              <a:gd name="connsiteX224" fmla="*/ 3401938 w 8009775"/>
              <a:gd name="connsiteY224" fmla="*/ 1454468 h 6858000"/>
              <a:gd name="connsiteX225" fmla="*/ 3403120 w 8009775"/>
              <a:gd name="connsiteY225" fmla="*/ 1448754 h 6858000"/>
              <a:gd name="connsiteX226" fmla="*/ 3404598 w 8009775"/>
              <a:gd name="connsiteY226" fmla="*/ 1443039 h 6858000"/>
              <a:gd name="connsiteX227" fmla="*/ 3406371 w 8009775"/>
              <a:gd name="connsiteY227" fmla="*/ 1437324 h 6858000"/>
              <a:gd name="connsiteX228" fmla="*/ 3408736 w 8009775"/>
              <a:gd name="connsiteY228" fmla="*/ 1431609 h 6858000"/>
              <a:gd name="connsiteX229" fmla="*/ 3411100 w 8009775"/>
              <a:gd name="connsiteY229" fmla="*/ 1426211 h 6858000"/>
              <a:gd name="connsiteX230" fmla="*/ 3413760 w 8009775"/>
              <a:gd name="connsiteY230" fmla="*/ 1420814 h 6858000"/>
              <a:gd name="connsiteX231" fmla="*/ 3417012 w 8009775"/>
              <a:gd name="connsiteY231" fmla="*/ 1415416 h 6858000"/>
              <a:gd name="connsiteX232" fmla="*/ 3420262 w 8009775"/>
              <a:gd name="connsiteY232" fmla="*/ 1410336 h 6858000"/>
              <a:gd name="connsiteX233" fmla="*/ 3423218 w 8009775"/>
              <a:gd name="connsiteY233" fmla="*/ 1405256 h 6858000"/>
              <a:gd name="connsiteX234" fmla="*/ 3427356 w 8009775"/>
              <a:gd name="connsiteY234" fmla="*/ 1400175 h 6858000"/>
              <a:gd name="connsiteX235" fmla="*/ 3431198 w 8009775"/>
              <a:gd name="connsiteY235" fmla="*/ 1395731 h 6858000"/>
              <a:gd name="connsiteX236" fmla="*/ 3435928 w 8009775"/>
              <a:gd name="connsiteY236" fmla="*/ 1390969 h 6858000"/>
              <a:gd name="connsiteX237" fmla="*/ 3440361 w 8009775"/>
              <a:gd name="connsiteY237" fmla="*/ 1386524 h 6858000"/>
              <a:gd name="connsiteX238" fmla="*/ 3445386 w 8009775"/>
              <a:gd name="connsiteY238" fmla="*/ 1382396 h 6858000"/>
              <a:gd name="connsiteX239" fmla="*/ 3449819 w 8009775"/>
              <a:gd name="connsiteY239" fmla="*/ 1378585 h 6858000"/>
              <a:gd name="connsiteX240" fmla="*/ 3454844 w 8009775"/>
              <a:gd name="connsiteY240" fmla="*/ 1375094 h 6858000"/>
              <a:gd name="connsiteX241" fmla="*/ 3460459 w 8009775"/>
              <a:gd name="connsiteY241" fmla="*/ 1371919 h 6858000"/>
              <a:gd name="connsiteX242" fmla="*/ 3465780 w 8009775"/>
              <a:gd name="connsiteY242" fmla="*/ 1369061 h 6858000"/>
              <a:gd name="connsiteX243" fmla="*/ 3471100 w 8009775"/>
              <a:gd name="connsiteY243" fmla="*/ 1366204 h 6858000"/>
              <a:gd name="connsiteX244" fmla="*/ 3476420 w 8009775"/>
              <a:gd name="connsiteY244" fmla="*/ 1363980 h 6858000"/>
              <a:gd name="connsiteX245" fmla="*/ 3482331 w 8009775"/>
              <a:gd name="connsiteY245" fmla="*/ 1361759 h 6858000"/>
              <a:gd name="connsiteX246" fmla="*/ 3487947 w 8009775"/>
              <a:gd name="connsiteY246" fmla="*/ 1360170 h 6858000"/>
              <a:gd name="connsiteX247" fmla="*/ 3493858 w 8009775"/>
              <a:gd name="connsiteY247" fmla="*/ 1358265 h 6858000"/>
              <a:gd name="connsiteX248" fmla="*/ 3499474 w 8009775"/>
              <a:gd name="connsiteY248" fmla="*/ 1357314 h 6858000"/>
              <a:gd name="connsiteX249" fmla="*/ 3505385 w 8009775"/>
              <a:gd name="connsiteY249" fmla="*/ 1356043 h 6858000"/>
              <a:gd name="connsiteX250" fmla="*/ 3511001 w 8009775"/>
              <a:gd name="connsiteY250" fmla="*/ 1355409 h 6858000"/>
              <a:gd name="connsiteX251" fmla="*/ 3517208 w 8009775"/>
              <a:gd name="connsiteY251" fmla="*/ 1355090 h 6858000"/>
              <a:gd name="connsiteX252" fmla="*/ 3522823 w 8009775"/>
              <a:gd name="connsiteY252" fmla="*/ 1354773 h 6858000"/>
              <a:gd name="connsiteX253" fmla="*/ 3529030 w 8009775"/>
              <a:gd name="connsiteY253" fmla="*/ 1355090 h 6858000"/>
              <a:gd name="connsiteX254" fmla="*/ 3534646 w 8009775"/>
              <a:gd name="connsiteY254" fmla="*/ 1355409 h 6858000"/>
              <a:gd name="connsiteX255" fmla="*/ 3540557 w 8009775"/>
              <a:gd name="connsiteY255" fmla="*/ 1356043 h 6858000"/>
              <a:gd name="connsiteX256" fmla="*/ 3546468 w 8009775"/>
              <a:gd name="connsiteY256" fmla="*/ 1357314 h 6858000"/>
              <a:gd name="connsiteX257" fmla="*/ 3552380 w 8009775"/>
              <a:gd name="connsiteY257" fmla="*/ 1358265 h 6858000"/>
              <a:gd name="connsiteX258" fmla="*/ 3557995 w 8009775"/>
              <a:gd name="connsiteY258" fmla="*/ 1360170 h 6858000"/>
              <a:gd name="connsiteX259" fmla="*/ 3563906 w 8009775"/>
              <a:gd name="connsiteY259" fmla="*/ 1361759 h 6858000"/>
              <a:gd name="connsiteX260" fmla="*/ 3569227 w 8009775"/>
              <a:gd name="connsiteY260" fmla="*/ 1363980 h 6858000"/>
              <a:gd name="connsiteX261" fmla="*/ 3574842 w 8009775"/>
              <a:gd name="connsiteY261" fmla="*/ 1366204 h 6858000"/>
              <a:gd name="connsiteX262" fmla="*/ 3580458 w 8009775"/>
              <a:gd name="connsiteY262" fmla="*/ 1369061 h 6858000"/>
              <a:gd name="connsiteX263" fmla="*/ 3585778 w 8009775"/>
              <a:gd name="connsiteY263" fmla="*/ 1371919 h 6858000"/>
              <a:gd name="connsiteX264" fmla="*/ 3590803 w 8009775"/>
              <a:gd name="connsiteY264" fmla="*/ 1375094 h 6858000"/>
              <a:gd name="connsiteX265" fmla="*/ 3595828 w 8009775"/>
              <a:gd name="connsiteY265" fmla="*/ 1378585 h 6858000"/>
              <a:gd name="connsiteX266" fmla="*/ 3600852 w 8009775"/>
              <a:gd name="connsiteY266" fmla="*/ 1382396 h 6858000"/>
              <a:gd name="connsiteX267" fmla="*/ 3605581 w 8009775"/>
              <a:gd name="connsiteY267" fmla="*/ 1386524 h 6858000"/>
              <a:gd name="connsiteX268" fmla="*/ 3610014 w 8009775"/>
              <a:gd name="connsiteY268" fmla="*/ 1390969 h 6858000"/>
              <a:gd name="connsiteX269" fmla="*/ 3817500 w 8009775"/>
              <a:gd name="connsiteY269" fmla="*/ 1598296 h 6858000"/>
              <a:gd name="connsiteX270" fmla="*/ 3821934 w 8009775"/>
              <a:gd name="connsiteY270" fmla="*/ 1602423 h 6858000"/>
              <a:gd name="connsiteX271" fmla="*/ 3826663 w 8009775"/>
              <a:gd name="connsiteY271" fmla="*/ 1606869 h 6858000"/>
              <a:gd name="connsiteX272" fmla="*/ 3831687 w 8009775"/>
              <a:gd name="connsiteY272" fmla="*/ 1610361 h 6858000"/>
              <a:gd name="connsiteX273" fmla="*/ 3836712 w 8009775"/>
              <a:gd name="connsiteY273" fmla="*/ 1613854 h 6858000"/>
              <a:gd name="connsiteX274" fmla="*/ 3841736 w 8009775"/>
              <a:gd name="connsiteY274" fmla="*/ 1617345 h 6858000"/>
              <a:gd name="connsiteX275" fmla="*/ 3847352 w 8009775"/>
              <a:gd name="connsiteY275" fmla="*/ 1620204 h 6858000"/>
              <a:gd name="connsiteX276" fmla="*/ 3852672 w 8009775"/>
              <a:gd name="connsiteY276" fmla="*/ 1623061 h 6858000"/>
              <a:gd name="connsiteX277" fmla="*/ 3857992 w 8009775"/>
              <a:gd name="connsiteY277" fmla="*/ 1625283 h 6858000"/>
              <a:gd name="connsiteX278" fmla="*/ 3863608 w 8009775"/>
              <a:gd name="connsiteY278" fmla="*/ 1627189 h 6858000"/>
              <a:gd name="connsiteX279" fmla="*/ 3869519 w 8009775"/>
              <a:gd name="connsiteY279" fmla="*/ 1629094 h 6858000"/>
              <a:gd name="connsiteX280" fmla="*/ 3875135 w 8009775"/>
              <a:gd name="connsiteY280" fmla="*/ 1630998 h 6858000"/>
              <a:gd name="connsiteX281" fmla="*/ 3881046 w 8009775"/>
              <a:gd name="connsiteY281" fmla="*/ 1631950 h 6858000"/>
              <a:gd name="connsiteX282" fmla="*/ 3886662 w 8009775"/>
              <a:gd name="connsiteY282" fmla="*/ 1632904 h 6858000"/>
              <a:gd name="connsiteX283" fmla="*/ 3892869 w 8009775"/>
              <a:gd name="connsiteY283" fmla="*/ 1633856 h 6858000"/>
              <a:gd name="connsiteX284" fmla="*/ 3898485 w 8009775"/>
              <a:gd name="connsiteY284" fmla="*/ 1634174 h 6858000"/>
              <a:gd name="connsiteX285" fmla="*/ 3904396 w 8009775"/>
              <a:gd name="connsiteY285" fmla="*/ 1634174 h 6858000"/>
              <a:gd name="connsiteX286" fmla="*/ 3910307 w 8009775"/>
              <a:gd name="connsiteY286" fmla="*/ 1634174 h 6858000"/>
              <a:gd name="connsiteX287" fmla="*/ 3916219 w 8009775"/>
              <a:gd name="connsiteY287" fmla="*/ 1633856 h 6858000"/>
              <a:gd name="connsiteX288" fmla="*/ 3922425 w 8009775"/>
              <a:gd name="connsiteY288" fmla="*/ 1632904 h 6858000"/>
              <a:gd name="connsiteX289" fmla="*/ 3928041 w 8009775"/>
              <a:gd name="connsiteY289" fmla="*/ 1631950 h 6858000"/>
              <a:gd name="connsiteX290" fmla="*/ 3933657 w 8009775"/>
              <a:gd name="connsiteY290" fmla="*/ 1630998 h 6858000"/>
              <a:gd name="connsiteX291" fmla="*/ 3939568 w 8009775"/>
              <a:gd name="connsiteY291" fmla="*/ 1629094 h 6858000"/>
              <a:gd name="connsiteX292" fmla="*/ 3945184 w 8009775"/>
              <a:gd name="connsiteY292" fmla="*/ 1627189 h 6858000"/>
              <a:gd name="connsiteX293" fmla="*/ 3950799 w 8009775"/>
              <a:gd name="connsiteY293" fmla="*/ 1625283 h 6858000"/>
              <a:gd name="connsiteX294" fmla="*/ 3956415 w 8009775"/>
              <a:gd name="connsiteY294" fmla="*/ 1623061 h 6858000"/>
              <a:gd name="connsiteX295" fmla="*/ 3961735 w 8009775"/>
              <a:gd name="connsiteY295" fmla="*/ 1620204 h 6858000"/>
              <a:gd name="connsiteX296" fmla="*/ 3967055 w 8009775"/>
              <a:gd name="connsiteY296" fmla="*/ 1617345 h 6858000"/>
              <a:gd name="connsiteX297" fmla="*/ 3972376 w 8009775"/>
              <a:gd name="connsiteY297" fmla="*/ 1613854 h 6858000"/>
              <a:gd name="connsiteX298" fmla="*/ 3977400 w 8009775"/>
              <a:gd name="connsiteY298" fmla="*/ 1610361 h 6858000"/>
              <a:gd name="connsiteX299" fmla="*/ 3982425 w 8009775"/>
              <a:gd name="connsiteY299" fmla="*/ 1606869 h 6858000"/>
              <a:gd name="connsiteX300" fmla="*/ 3986858 w 8009775"/>
              <a:gd name="connsiteY300" fmla="*/ 1602423 h 6858000"/>
              <a:gd name="connsiteX301" fmla="*/ 3991587 w 8009775"/>
              <a:gd name="connsiteY301" fmla="*/ 1598296 h 6858000"/>
              <a:gd name="connsiteX302" fmla="*/ 3996021 w 8009775"/>
              <a:gd name="connsiteY302" fmla="*/ 1593533 h 6858000"/>
              <a:gd name="connsiteX303" fmla="*/ 4000159 w 8009775"/>
              <a:gd name="connsiteY303" fmla="*/ 1588771 h 6858000"/>
              <a:gd name="connsiteX304" fmla="*/ 4003705 w 8009775"/>
              <a:gd name="connsiteY304" fmla="*/ 1583691 h 6858000"/>
              <a:gd name="connsiteX305" fmla="*/ 4007548 w 8009775"/>
              <a:gd name="connsiteY305" fmla="*/ 1578928 h 6858000"/>
              <a:gd name="connsiteX306" fmla="*/ 4010799 w 8009775"/>
              <a:gd name="connsiteY306" fmla="*/ 1573849 h 6858000"/>
              <a:gd name="connsiteX307" fmla="*/ 4013459 w 8009775"/>
              <a:gd name="connsiteY307" fmla="*/ 1568451 h 6858000"/>
              <a:gd name="connsiteX308" fmla="*/ 4016415 w 8009775"/>
              <a:gd name="connsiteY308" fmla="*/ 1563054 h 6858000"/>
              <a:gd name="connsiteX309" fmla="*/ 4018484 w 8009775"/>
              <a:gd name="connsiteY309" fmla="*/ 1557339 h 6858000"/>
              <a:gd name="connsiteX310" fmla="*/ 4020848 w 8009775"/>
              <a:gd name="connsiteY310" fmla="*/ 1551941 h 6858000"/>
              <a:gd name="connsiteX311" fmla="*/ 4022621 w 8009775"/>
              <a:gd name="connsiteY311" fmla="*/ 1546226 h 6858000"/>
              <a:gd name="connsiteX312" fmla="*/ 4024395 w 8009775"/>
              <a:gd name="connsiteY312" fmla="*/ 1540511 h 6858000"/>
              <a:gd name="connsiteX313" fmla="*/ 4025282 w 8009775"/>
              <a:gd name="connsiteY313" fmla="*/ 1534478 h 6858000"/>
              <a:gd name="connsiteX314" fmla="*/ 4026464 w 8009775"/>
              <a:gd name="connsiteY314" fmla="*/ 1528763 h 6858000"/>
              <a:gd name="connsiteX315" fmla="*/ 4027055 w 8009775"/>
              <a:gd name="connsiteY315" fmla="*/ 1522731 h 6858000"/>
              <a:gd name="connsiteX316" fmla="*/ 4027646 w 8009775"/>
              <a:gd name="connsiteY316" fmla="*/ 1517016 h 6858000"/>
              <a:gd name="connsiteX317" fmla="*/ 4027646 w 8009775"/>
              <a:gd name="connsiteY317" fmla="*/ 1510984 h 6858000"/>
              <a:gd name="connsiteX318" fmla="*/ 4027646 w 8009775"/>
              <a:gd name="connsiteY318" fmla="*/ 1505268 h 6858000"/>
              <a:gd name="connsiteX319" fmla="*/ 4027055 w 8009775"/>
              <a:gd name="connsiteY319" fmla="*/ 1499553 h 6858000"/>
              <a:gd name="connsiteX320" fmla="*/ 4026464 w 8009775"/>
              <a:gd name="connsiteY320" fmla="*/ 1493204 h 6858000"/>
              <a:gd name="connsiteX321" fmla="*/ 4025282 w 8009775"/>
              <a:gd name="connsiteY321" fmla="*/ 1487489 h 6858000"/>
              <a:gd name="connsiteX322" fmla="*/ 4024395 w 8009775"/>
              <a:gd name="connsiteY322" fmla="*/ 1481773 h 6858000"/>
              <a:gd name="connsiteX323" fmla="*/ 4022621 w 8009775"/>
              <a:gd name="connsiteY323" fmla="*/ 1476058 h 6858000"/>
              <a:gd name="connsiteX324" fmla="*/ 4020848 w 8009775"/>
              <a:gd name="connsiteY324" fmla="*/ 1470343 h 6858000"/>
              <a:gd name="connsiteX325" fmla="*/ 4018484 w 8009775"/>
              <a:gd name="connsiteY325" fmla="*/ 1464629 h 6858000"/>
              <a:gd name="connsiteX326" fmla="*/ 4016415 w 8009775"/>
              <a:gd name="connsiteY326" fmla="*/ 1459231 h 6858000"/>
              <a:gd name="connsiteX327" fmla="*/ 4013459 w 8009775"/>
              <a:gd name="connsiteY327" fmla="*/ 1453834 h 6858000"/>
              <a:gd name="connsiteX328" fmla="*/ 4010799 w 8009775"/>
              <a:gd name="connsiteY328" fmla="*/ 1448436 h 6858000"/>
              <a:gd name="connsiteX329" fmla="*/ 4007548 w 8009775"/>
              <a:gd name="connsiteY329" fmla="*/ 1443356 h 6858000"/>
              <a:gd name="connsiteX330" fmla="*/ 4003705 w 8009775"/>
              <a:gd name="connsiteY330" fmla="*/ 1438275 h 6858000"/>
              <a:gd name="connsiteX331" fmla="*/ 4000159 w 8009775"/>
              <a:gd name="connsiteY331" fmla="*/ 1433195 h 6858000"/>
              <a:gd name="connsiteX332" fmla="*/ 3996021 w 8009775"/>
              <a:gd name="connsiteY332" fmla="*/ 1428751 h 6858000"/>
              <a:gd name="connsiteX333" fmla="*/ 3991587 w 8009775"/>
              <a:gd name="connsiteY333" fmla="*/ 1423988 h 6858000"/>
              <a:gd name="connsiteX334" fmla="*/ 3323022 w 8009775"/>
              <a:gd name="connsiteY334" fmla="*/ 755333 h 6858000"/>
              <a:gd name="connsiteX335" fmla="*/ 3316815 w 8009775"/>
              <a:gd name="connsiteY335" fmla="*/ 748348 h 6858000"/>
              <a:gd name="connsiteX336" fmla="*/ 3310904 w 8009775"/>
              <a:gd name="connsiteY336" fmla="*/ 741045 h 6858000"/>
              <a:gd name="connsiteX337" fmla="*/ 3305584 w 8009775"/>
              <a:gd name="connsiteY337" fmla="*/ 733108 h 6858000"/>
              <a:gd name="connsiteX338" fmla="*/ 3300855 w 8009775"/>
              <a:gd name="connsiteY338" fmla="*/ 725170 h 6858000"/>
              <a:gd name="connsiteX339" fmla="*/ 3297308 w 8009775"/>
              <a:gd name="connsiteY339" fmla="*/ 716915 h 6858000"/>
              <a:gd name="connsiteX340" fmla="*/ 3293761 w 8009775"/>
              <a:gd name="connsiteY340" fmla="*/ 708660 h 6858000"/>
              <a:gd name="connsiteX341" fmla="*/ 3291101 w 8009775"/>
              <a:gd name="connsiteY341" fmla="*/ 699770 h 6858000"/>
              <a:gd name="connsiteX342" fmla="*/ 3289328 w 8009775"/>
              <a:gd name="connsiteY342" fmla="*/ 691198 h 6858000"/>
              <a:gd name="connsiteX343" fmla="*/ 2596527 w 8009775"/>
              <a:gd name="connsiteY343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001744 w 8009775"/>
              <a:gd name="connsiteY72" fmla="*/ 1828166 h 6858000"/>
              <a:gd name="connsiteX73" fmla="*/ 2997311 w 8009775"/>
              <a:gd name="connsiteY73" fmla="*/ 1823404 h 6858000"/>
              <a:gd name="connsiteX74" fmla="*/ 2992878 w 8009775"/>
              <a:gd name="connsiteY74" fmla="*/ 1818640 h 6858000"/>
              <a:gd name="connsiteX75" fmla="*/ 2989331 w 8009775"/>
              <a:gd name="connsiteY75" fmla="*/ 1814195 h 6858000"/>
              <a:gd name="connsiteX76" fmla="*/ 2985784 w 8009775"/>
              <a:gd name="connsiteY76" fmla="*/ 1808799 h 6858000"/>
              <a:gd name="connsiteX77" fmla="*/ 2982533 w 8009775"/>
              <a:gd name="connsiteY77" fmla="*/ 1803718 h 6858000"/>
              <a:gd name="connsiteX78" fmla="*/ 2979873 w 8009775"/>
              <a:gd name="connsiteY78" fmla="*/ 1798321 h 6858000"/>
              <a:gd name="connsiteX79" fmla="*/ 2976917 w 8009775"/>
              <a:gd name="connsiteY79" fmla="*/ 1792924 h 6858000"/>
              <a:gd name="connsiteX80" fmla="*/ 2974552 w 8009775"/>
              <a:gd name="connsiteY80" fmla="*/ 1787526 h 6858000"/>
              <a:gd name="connsiteX81" fmla="*/ 2972484 w 8009775"/>
              <a:gd name="connsiteY81" fmla="*/ 1781811 h 6858000"/>
              <a:gd name="connsiteX82" fmla="*/ 2970710 w 8009775"/>
              <a:gd name="connsiteY82" fmla="*/ 1776095 h 6858000"/>
              <a:gd name="connsiteX83" fmla="*/ 2968937 w 8009775"/>
              <a:gd name="connsiteY83" fmla="*/ 1770380 h 6858000"/>
              <a:gd name="connsiteX84" fmla="*/ 2967755 w 8009775"/>
              <a:gd name="connsiteY84" fmla="*/ 1764665 h 6858000"/>
              <a:gd name="connsiteX85" fmla="*/ 2966868 w 8009775"/>
              <a:gd name="connsiteY85" fmla="*/ 1758634 h 6858000"/>
              <a:gd name="connsiteX86" fmla="*/ 2965981 w 8009775"/>
              <a:gd name="connsiteY86" fmla="*/ 1752919 h 6858000"/>
              <a:gd name="connsiteX87" fmla="*/ 2965686 w 8009775"/>
              <a:gd name="connsiteY87" fmla="*/ 1746885 h 6858000"/>
              <a:gd name="connsiteX88" fmla="*/ 2965686 w 8009775"/>
              <a:gd name="connsiteY88" fmla="*/ 1741170 h 6858000"/>
              <a:gd name="connsiteX89" fmla="*/ 2965686 w 8009775"/>
              <a:gd name="connsiteY89" fmla="*/ 1735139 h 6858000"/>
              <a:gd name="connsiteX90" fmla="*/ 2965981 w 8009775"/>
              <a:gd name="connsiteY90" fmla="*/ 1729424 h 6858000"/>
              <a:gd name="connsiteX91" fmla="*/ 2966868 w 8009775"/>
              <a:gd name="connsiteY91" fmla="*/ 1723074 h 6858000"/>
              <a:gd name="connsiteX92" fmla="*/ 2967755 w 8009775"/>
              <a:gd name="connsiteY92" fmla="*/ 1717358 h 6858000"/>
              <a:gd name="connsiteX93" fmla="*/ 2968937 w 8009775"/>
              <a:gd name="connsiteY93" fmla="*/ 1711643 h 6858000"/>
              <a:gd name="connsiteX94" fmla="*/ 2970710 w 8009775"/>
              <a:gd name="connsiteY94" fmla="*/ 1705929 h 6858000"/>
              <a:gd name="connsiteX95" fmla="*/ 2972484 w 8009775"/>
              <a:gd name="connsiteY95" fmla="*/ 1700214 h 6858000"/>
              <a:gd name="connsiteX96" fmla="*/ 2974552 w 8009775"/>
              <a:gd name="connsiteY96" fmla="*/ 1694816 h 6858000"/>
              <a:gd name="connsiteX97" fmla="*/ 2976917 w 8009775"/>
              <a:gd name="connsiteY97" fmla="*/ 1689101 h 6858000"/>
              <a:gd name="connsiteX98" fmla="*/ 2979873 w 8009775"/>
              <a:gd name="connsiteY98" fmla="*/ 1683703 h 6858000"/>
              <a:gd name="connsiteX99" fmla="*/ 2982533 w 8009775"/>
              <a:gd name="connsiteY99" fmla="*/ 1678305 h 6858000"/>
              <a:gd name="connsiteX100" fmla="*/ 2985784 w 8009775"/>
              <a:gd name="connsiteY100" fmla="*/ 1673226 h 6858000"/>
              <a:gd name="connsiteX101" fmla="*/ 2989331 w 8009775"/>
              <a:gd name="connsiteY101" fmla="*/ 1668145 h 6858000"/>
              <a:gd name="connsiteX102" fmla="*/ 2992878 w 8009775"/>
              <a:gd name="connsiteY102" fmla="*/ 1663066 h 6858000"/>
              <a:gd name="connsiteX103" fmla="*/ 2997311 w 8009775"/>
              <a:gd name="connsiteY103" fmla="*/ 1658621 h 6858000"/>
              <a:gd name="connsiteX104" fmla="*/ 3001744 w 8009775"/>
              <a:gd name="connsiteY104" fmla="*/ 1653859 h 6858000"/>
              <a:gd name="connsiteX105" fmla="*/ 3006178 w 8009775"/>
              <a:gd name="connsiteY105" fmla="*/ 1649414 h 6858000"/>
              <a:gd name="connsiteX106" fmla="*/ 3010907 w 8009775"/>
              <a:gd name="connsiteY106" fmla="*/ 1645603 h 6858000"/>
              <a:gd name="connsiteX107" fmla="*/ 3015932 w 8009775"/>
              <a:gd name="connsiteY107" fmla="*/ 1641794 h 6858000"/>
              <a:gd name="connsiteX108" fmla="*/ 3020956 w 8009775"/>
              <a:gd name="connsiteY108" fmla="*/ 1637984 h 6858000"/>
              <a:gd name="connsiteX109" fmla="*/ 3025981 w 8009775"/>
              <a:gd name="connsiteY109" fmla="*/ 1634809 h 6858000"/>
              <a:gd name="connsiteX110" fmla="*/ 3031596 w 8009775"/>
              <a:gd name="connsiteY110" fmla="*/ 1631950 h 6858000"/>
              <a:gd name="connsiteX111" fmla="*/ 3036916 w 8009775"/>
              <a:gd name="connsiteY111" fmla="*/ 1629094 h 6858000"/>
              <a:gd name="connsiteX112" fmla="*/ 3042532 w 8009775"/>
              <a:gd name="connsiteY112" fmla="*/ 1626871 h 6858000"/>
              <a:gd name="connsiteX113" fmla="*/ 3047852 w 8009775"/>
              <a:gd name="connsiteY113" fmla="*/ 1624649 h 6858000"/>
              <a:gd name="connsiteX114" fmla="*/ 3053764 w 8009775"/>
              <a:gd name="connsiteY114" fmla="*/ 1623061 h 6858000"/>
              <a:gd name="connsiteX115" fmla="*/ 3059379 w 8009775"/>
              <a:gd name="connsiteY115" fmla="*/ 1621155 h 6858000"/>
              <a:gd name="connsiteX116" fmla="*/ 3065291 w 8009775"/>
              <a:gd name="connsiteY116" fmla="*/ 1620204 h 6858000"/>
              <a:gd name="connsiteX117" fmla="*/ 3070906 w 8009775"/>
              <a:gd name="connsiteY117" fmla="*/ 1618934 h 6858000"/>
              <a:gd name="connsiteX118" fmla="*/ 3077113 w 8009775"/>
              <a:gd name="connsiteY118" fmla="*/ 1618299 h 6858000"/>
              <a:gd name="connsiteX119" fmla="*/ 3082729 w 8009775"/>
              <a:gd name="connsiteY119" fmla="*/ 1617981 h 6858000"/>
              <a:gd name="connsiteX120" fmla="*/ 3088936 w 8009775"/>
              <a:gd name="connsiteY120" fmla="*/ 1617981 h 6858000"/>
              <a:gd name="connsiteX121" fmla="*/ 3094552 w 8009775"/>
              <a:gd name="connsiteY121" fmla="*/ 1617981 h 6858000"/>
              <a:gd name="connsiteX122" fmla="*/ 3100758 w 8009775"/>
              <a:gd name="connsiteY122" fmla="*/ 1618299 h 6858000"/>
              <a:gd name="connsiteX123" fmla="*/ 3106670 w 8009775"/>
              <a:gd name="connsiteY123" fmla="*/ 1618934 h 6858000"/>
              <a:gd name="connsiteX124" fmla="*/ 3112285 w 8009775"/>
              <a:gd name="connsiteY124" fmla="*/ 1620204 h 6858000"/>
              <a:gd name="connsiteX125" fmla="*/ 3117901 w 8009775"/>
              <a:gd name="connsiteY125" fmla="*/ 1621155 h 6858000"/>
              <a:gd name="connsiteX126" fmla="*/ 3123812 w 8009775"/>
              <a:gd name="connsiteY126" fmla="*/ 1623061 h 6858000"/>
              <a:gd name="connsiteX127" fmla="*/ 3129428 w 8009775"/>
              <a:gd name="connsiteY127" fmla="*/ 1624649 h 6858000"/>
              <a:gd name="connsiteX128" fmla="*/ 3135339 w 8009775"/>
              <a:gd name="connsiteY128" fmla="*/ 1626871 h 6858000"/>
              <a:gd name="connsiteX129" fmla="*/ 3140660 w 8009775"/>
              <a:gd name="connsiteY129" fmla="*/ 1629094 h 6858000"/>
              <a:gd name="connsiteX130" fmla="*/ 3145980 w 8009775"/>
              <a:gd name="connsiteY130" fmla="*/ 1631950 h 6858000"/>
              <a:gd name="connsiteX131" fmla="*/ 3151300 w 8009775"/>
              <a:gd name="connsiteY131" fmla="*/ 1634809 h 6858000"/>
              <a:gd name="connsiteX132" fmla="*/ 3156324 w 8009775"/>
              <a:gd name="connsiteY132" fmla="*/ 1637984 h 6858000"/>
              <a:gd name="connsiteX133" fmla="*/ 3161349 w 8009775"/>
              <a:gd name="connsiteY133" fmla="*/ 1641794 h 6858000"/>
              <a:gd name="connsiteX134" fmla="*/ 3166374 w 8009775"/>
              <a:gd name="connsiteY134" fmla="*/ 1645603 h 6858000"/>
              <a:gd name="connsiteX135" fmla="*/ 3171102 w 8009775"/>
              <a:gd name="connsiteY135" fmla="*/ 1649414 h 6858000"/>
              <a:gd name="connsiteX136" fmla="*/ 3175832 w 8009775"/>
              <a:gd name="connsiteY136" fmla="*/ 1653859 h 6858000"/>
              <a:gd name="connsiteX137" fmla="*/ 3844692 w 8009775"/>
              <a:gd name="connsiteY137" fmla="*/ 2322830 h 6858000"/>
              <a:gd name="connsiteX138" fmla="*/ 3849421 w 8009775"/>
              <a:gd name="connsiteY138" fmla="*/ 2326958 h 6858000"/>
              <a:gd name="connsiteX139" fmla="*/ 3854150 w 8009775"/>
              <a:gd name="connsiteY139" fmla="*/ 2331085 h 6858000"/>
              <a:gd name="connsiteX140" fmla="*/ 3859175 w 8009775"/>
              <a:gd name="connsiteY140" fmla="*/ 2334895 h 6858000"/>
              <a:gd name="connsiteX141" fmla="*/ 3864199 w 8009775"/>
              <a:gd name="connsiteY141" fmla="*/ 2338705 h 6858000"/>
              <a:gd name="connsiteX142" fmla="*/ 3869224 w 8009775"/>
              <a:gd name="connsiteY142" fmla="*/ 2341880 h 6858000"/>
              <a:gd name="connsiteX143" fmla="*/ 3874544 w 8009775"/>
              <a:gd name="connsiteY143" fmla="*/ 2344738 h 6858000"/>
              <a:gd name="connsiteX144" fmla="*/ 3879864 w 8009775"/>
              <a:gd name="connsiteY144" fmla="*/ 2347595 h 6858000"/>
              <a:gd name="connsiteX145" fmla="*/ 3885775 w 8009775"/>
              <a:gd name="connsiteY145" fmla="*/ 2349818 h 6858000"/>
              <a:gd name="connsiteX146" fmla="*/ 3891096 w 8009775"/>
              <a:gd name="connsiteY146" fmla="*/ 2351723 h 6858000"/>
              <a:gd name="connsiteX147" fmla="*/ 3896711 w 8009775"/>
              <a:gd name="connsiteY147" fmla="*/ 2353628 h 6858000"/>
              <a:gd name="connsiteX148" fmla="*/ 3902623 w 8009775"/>
              <a:gd name="connsiteY148" fmla="*/ 2355534 h 6858000"/>
              <a:gd name="connsiteX149" fmla="*/ 3908238 w 8009775"/>
              <a:gd name="connsiteY149" fmla="*/ 2356485 h 6858000"/>
              <a:gd name="connsiteX150" fmla="*/ 3914150 w 8009775"/>
              <a:gd name="connsiteY150" fmla="*/ 2357755 h 6858000"/>
              <a:gd name="connsiteX151" fmla="*/ 3920061 w 8009775"/>
              <a:gd name="connsiteY151" fmla="*/ 2358391 h 6858000"/>
              <a:gd name="connsiteX152" fmla="*/ 3925972 w 8009775"/>
              <a:gd name="connsiteY152" fmla="*/ 2358708 h 6858000"/>
              <a:gd name="connsiteX153" fmla="*/ 3931883 w 8009775"/>
              <a:gd name="connsiteY153" fmla="*/ 2358708 h 6858000"/>
              <a:gd name="connsiteX154" fmla="*/ 3937795 w 8009775"/>
              <a:gd name="connsiteY154" fmla="*/ 2358708 h 6858000"/>
              <a:gd name="connsiteX155" fmla="*/ 3943706 w 8009775"/>
              <a:gd name="connsiteY155" fmla="*/ 2358391 h 6858000"/>
              <a:gd name="connsiteX156" fmla="*/ 3949617 w 8009775"/>
              <a:gd name="connsiteY156" fmla="*/ 2357755 h 6858000"/>
              <a:gd name="connsiteX157" fmla="*/ 3955233 w 8009775"/>
              <a:gd name="connsiteY157" fmla="*/ 2356485 h 6858000"/>
              <a:gd name="connsiteX158" fmla="*/ 3961144 w 8009775"/>
              <a:gd name="connsiteY158" fmla="*/ 2355534 h 6858000"/>
              <a:gd name="connsiteX159" fmla="*/ 3966760 w 8009775"/>
              <a:gd name="connsiteY159" fmla="*/ 2353628 h 6858000"/>
              <a:gd name="connsiteX160" fmla="*/ 3972671 w 8009775"/>
              <a:gd name="connsiteY160" fmla="*/ 2351723 h 6858000"/>
              <a:gd name="connsiteX161" fmla="*/ 3978287 w 8009775"/>
              <a:gd name="connsiteY161" fmla="*/ 2349818 h 6858000"/>
              <a:gd name="connsiteX162" fmla="*/ 3983607 w 8009775"/>
              <a:gd name="connsiteY162" fmla="*/ 2347595 h 6858000"/>
              <a:gd name="connsiteX163" fmla="*/ 3989223 w 8009775"/>
              <a:gd name="connsiteY163" fmla="*/ 2344738 h 6858000"/>
              <a:gd name="connsiteX164" fmla="*/ 3994543 w 8009775"/>
              <a:gd name="connsiteY164" fmla="*/ 2341880 h 6858000"/>
              <a:gd name="connsiteX165" fmla="*/ 3999567 w 8009775"/>
              <a:gd name="connsiteY165" fmla="*/ 2338705 h 6858000"/>
              <a:gd name="connsiteX166" fmla="*/ 4004888 w 8009775"/>
              <a:gd name="connsiteY166" fmla="*/ 2334895 h 6858000"/>
              <a:gd name="connsiteX167" fmla="*/ 4009617 w 8009775"/>
              <a:gd name="connsiteY167" fmla="*/ 2331085 h 6858000"/>
              <a:gd name="connsiteX168" fmla="*/ 4014346 w 8009775"/>
              <a:gd name="connsiteY168" fmla="*/ 2326958 h 6858000"/>
              <a:gd name="connsiteX169" fmla="*/ 4018779 w 8009775"/>
              <a:gd name="connsiteY169" fmla="*/ 2322830 h 6858000"/>
              <a:gd name="connsiteX170" fmla="*/ 4023213 w 8009775"/>
              <a:gd name="connsiteY170" fmla="*/ 2318068 h 6858000"/>
              <a:gd name="connsiteX171" fmla="*/ 4027646 w 8009775"/>
              <a:gd name="connsiteY171" fmla="*/ 2313306 h 6858000"/>
              <a:gd name="connsiteX172" fmla="*/ 4031193 w 8009775"/>
              <a:gd name="connsiteY172" fmla="*/ 2308544 h 6858000"/>
              <a:gd name="connsiteX173" fmla="*/ 4034740 w 8009775"/>
              <a:gd name="connsiteY173" fmla="*/ 2303463 h 6858000"/>
              <a:gd name="connsiteX174" fmla="*/ 4037991 w 8009775"/>
              <a:gd name="connsiteY174" fmla="*/ 2298384 h 6858000"/>
              <a:gd name="connsiteX175" fmla="*/ 4040946 w 8009775"/>
              <a:gd name="connsiteY175" fmla="*/ 2292985 h 6858000"/>
              <a:gd name="connsiteX176" fmla="*/ 4043606 w 8009775"/>
              <a:gd name="connsiteY176" fmla="*/ 2287588 h 6858000"/>
              <a:gd name="connsiteX177" fmla="*/ 4046267 w 8009775"/>
              <a:gd name="connsiteY177" fmla="*/ 2281873 h 6858000"/>
              <a:gd name="connsiteX178" fmla="*/ 4048040 w 8009775"/>
              <a:gd name="connsiteY178" fmla="*/ 2276476 h 6858000"/>
              <a:gd name="connsiteX179" fmla="*/ 4050109 w 8009775"/>
              <a:gd name="connsiteY179" fmla="*/ 2270761 h 6858000"/>
              <a:gd name="connsiteX180" fmla="*/ 4051587 w 8009775"/>
              <a:gd name="connsiteY180" fmla="*/ 2265046 h 6858000"/>
              <a:gd name="connsiteX181" fmla="*/ 4052769 w 8009775"/>
              <a:gd name="connsiteY181" fmla="*/ 2259331 h 6858000"/>
              <a:gd name="connsiteX182" fmla="*/ 4053656 w 8009775"/>
              <a:gd name="connsiteY182" fmla="*/ 2253298 h 6858000"/>
              <a:gd name="connsiteX183" fmla="*/ 4054542 w 8009775"/>
              <a:gd name="connsiteY183" fmla="*/ 2247266 h 6858000"/>
              <a:gd name="connsiteX184" fmla="*/ 4054838 w 8009775"/>
              <a:gd name="connsiteY184" fmla="*/ 2241551 h 6858000"/>
              <a:gd name="connsiteX185" fmla="*/ 4055133 w 8009775"/>
              <a:gd name="connsiteY185" fmla="*/ 2235519 h 6858000"/>
              <a:gd name="connsiteX186" fmla="*/ 4054838 w 8009775"/>
              <a:gd name="connsiteY186" fmla="*/ 2229804 h 6858000"/>
              <a:gd name="connsiteX187" fmla="*/ 4054542 w 8009775"/>
              <a:gd name="connsiteY187" fmla="*/ 2223770 h 6858000"/>
              <a:gd name="connsiteX188" fmla="*/ 4053656 w 8009775"/>
              <a:gd name="connsiteY188" fmla="*/ 2217739 h 6858000"/>
              <a:gd name="connsiteX189" fmla="*/ 4052769 w 8009775"/>
              <a:gd name="connsiteY189" fmla="*/ 2212024 h 6858000"/>
              <a:gd name="connsiteX190" fmla="*/ 4051587 w 8009775"/>
              <a:gd name="connsiteY190" fmla="*/ 2206309 h 6858000"/>
              <a:gd name="connsiteX191" fmla="*/ 4050109 w 8009775"/>
              <a:gd name="connsiteY191" fmla="*/ 2200593 h 6858000"/>
              <a:gd name="connsiteX192" fmla="*/ 4048040 w 8009775"/>
              <a:gd name="connsiteY192" fmla="*/ 2194878 h 6858000"/>
              <a:gd name="connsiteX193" fmla="*/ 4046267 w 8009775"/>
              <a:gd name="connsiteY193" fmla="*/ 2189163 h 6858000"/>
              <a:gd name="connsiteX194" fmla="*/ 4043606 w 8009775"/>
              <a:gd name="connsiteY194" fmla="*/ 2183765 h 6858000"/>
              <a:gd name="connsiteX195" fmla="*/ 4040946 w 8009775"/>
              <a:gd name="connsiteY195" fmla="*/ 2178368 h 6858000"/>
              <a:gd name="connsiteX196" fmla="*/ 4037991 w 8009775"/>
              <a:gd name="connsiteY196" fmla="*/ 2172970 h 6858000"/>
              <a:gd name="connsiteX197" fmla="*/ 4034740 w 8009775"/>
              <a:gd name="connsiteY197" fmla="*/ 2167890 h 6858000"/>
              <a:gd name="connsiteX198" fmla="*/ 4031193 w 8009775"/>
              <a:gd name="connsiteY198" fmla="*/ 2162494 h 6858000"/>
              <a:gd name="connsiteX199" fmla="*/ 4027646 w 8009775"/>
              <a:gd name="connsiteY199" fmla="*/ 2157730 h 6858000"/>
              <a:gd name="connsiteX200" fmla="*/ 4023213 w 8009775"/>
              <a:gd name="connsiteY200" fmla="*/ 2153285 h 6858000"/>
              <a:gd name="connsiteX201" fmla="*/ 4018779 w 8009775"/>
              <a:gd name="connsiteY201" fmla="*/ 2148523 h 6858000"/>
              <a:gd name="connsiteX202" fmla="*/ 3632182 w 8009775"/>
              <a:gd name="connsiteY202" fmla="*/ 1761490 h 6858000"/>
              <a:gd name="connsiteX203" fmla="*/ 3435928 w 8009775"/>
              <a:gd name="connsiteY203" fmla="*/ 1565276 h 6858000"/>
              <a:gd name="connsiteX204" fmla="*/ 3431198 w 8009775"/>
              <a:gd name="connsiteY204" fmla="*/ 1560514 h 6858000"/>
              <a:gd name="connsiteX205" fmla="*/ 3427356 w 8009775"/>
              <a:gd name="connsiteY205" fmla="*/ 1555751 h 6858000"/>
              <a:gd name="connsiteX206" fmla="*/ 3423218 w 8009775"/>
              <a:gd name="connsiteY206" fmla="*/ 1550671 h 6858000"/>
              <a:gd name="connsiteX207" fmla="*/ 3420262 w 8009775"/>
              <a:gd name="connsiteY207" fmla="*/ 1545909 h 6858000"/>
              <a:gd name="connsiteX208" fmla="*/ 3417012 w 8009775"/>
              <a:gd name="connsiteY208" fmla="*/ 1540829 h 6858000"/>
              <a:gd name="connsiteX209" fmla="*/ 3413760 w 8009775"/>
              <a:gd name="connsiteY209" fmla="*/ 1535430 h 6858000"/>
              <a:gd name="connsiteX210" fmla="*/ 3411100 w 8009775"/>
              <a:gd name="connsiteY210" fmla="*/ 1530034 h 6858000"/>
              <a:gd name="connsiteX211" fmla="*/ 3408736 w 8009775"/>
              <a:gd name="connsiteY211" fmla="*/ 1524635 h 6858000"/>
              <a:gd name="connsiteX212" fmla="*/ 3406371 w 8009775"/>
              <a:gd name="connsiteY212" fmla="*/ 1518920 h 6858000"/>
              <a:gd name="connsiteX213" fmla="*/ 3404598 w 8009775"/>
              <a:gd name="connsiteY213" fmla="*/ 1513205 h 6858000"/>
              <a:gd name="connsiteX214" fmla="*/ 3403120 w 8009775"/>
              <a:gd name="connsiteY214" fmla="*/ 1507174 h 6858000"/>
              <a:gd name="connsiteX215" fmla="*/ 3401938 w 8009775"/>
              <a:gd name="connsiteY215" fmla="*/ 1501459 h 6858000"/>
              <a:gd name="connsiteX216" fmla="*/ 3401051 w 8009775"/>
              <a:gd name="connsiteY216" fmla="*/ 1495744 h 6858000"/>
              <a:gd name="connsiteX217" fmla="*/ 3400460 w 8009775"/>
              <a:gd name="connsiteY217" fmla="*/ 1489710 h 6858000"/>
              <a:gd name="connsiteX218" fmla="*/ 3399869 w 8009775"/>
              <a:gd name="connsiteY218" fmla="*/ 1483995 h 6858000"/>
              <a:gd name="connsiteX219" fmla="*/ 3399573 w 8009775"/>
              <a:gd name="connsiteY219" fmla="*/ 1478281 h 6858000"/>
              <a:gd name="connsiteX220" fmla="*/ 3399869 w 8009775"/>
              <a:gd name="connsiteY220" fmla="*/ 1472249 h 6858000"/>
              <a:gd name="connsiteX221" fmla="*/ 3400460 w 8009775"/>
              <a:gd name="connsiteY221" fmla="*/ 1466215 h 6858000"/>
              <a:gd name="connsiteX222" fmla="*/ 3401051 w 8009775"/>
              <a:gd name="connsiteY222" fmla="*/ 1460183 h 6858000"/>
              <a:gd name="connsiteX223" fmla="*/ 3401938 w 8009775"/>
              <a:gd name="connsiteY223" fmla="*/ 1454468 h 6858000"/>
              <a:gd name="connsiteX224" fmla="*/ 3403120 w 8009775"/>
              <a:gd name="connsiteY224" fmla="*/ 1448754 h 6858000"/>
              <a:gd name="connsiteX225" fmla="*/ 3404598 w 8009775"/>
              <a:gd name="connsiteY225" fmla="*/ 1443039 h 6858000"/>
              <a:gd name="connsiteX226" fmla="*/ 3406371 w 8009775"/>
              <a:gd name="connsiteY226" fmla="*/ 1437324 h 6858000"/>
              <a:gd name="connsiteX227" fmla="*/ 3408736 w 8009775"/>
              <a:gd name="connsiteY227" fmla="*/ 1431609 h 6858000"/>
              <a:gd name="connsiteX228" fmla="*/ 3411100 w 8009775"/>
              <a:gd name="connsiteY228" fmla="*/ 1426211 h 6858000"/>
              <a:gd name="connsiteX229" fmla="*/ 3413760 w 8009775"/>
              <a:gd name="connsiteY229" fmla="*/ 1420814 h 6858000"/>
              <a:gd name="connsiteX230" fmla="*/ 3417012 w 8009775"/>
              <a:gd name="connsiteY230" fmla="*/ 1415416 h 6858000"/>
              <a:gd name="connsiteX231" fmla="*/ 3420262 w 8009775"/>
              <a:gd name="connsiteY231" fmla="*/ 1410336 h 6858000"/>
              <a:gd name="connsiteX232" fmla="*/ 3423218 w 8009775"/>
              <a:gd name="connsiteY232" fmla="*/ 1405256 h 6858000"/>
              <a:gd name="connsiteX233" fmla="*/ 3427356 w 8009775"/>
              <a:gd name="connsiteY233" fmla="*/ 1400175 h 6858000"/>
              <a:gd name="connsiteX234" fmla="*/ 3431198 w 8009775"/>
              <a:gd name="connsiteY234" fmla="*/ 1395731 h 6858000"/>
              <a:gd name="connsiteX235" fmla="*/ 3435928 w 8009775"/>
              <a:gd name="connsiteY235" fmla="*/ 1390969 h 6858000"/>
              <a:gd name="connsiteX236" fmla="*/ 3440361 w 8009775"/>
              <a:gd name="connsiteY236" fmla="*/ 1386524 h 6858000"/>
              <a:gd name="connsiteX237" fmla="*/ 3445386 w 8009775"/>
              <a:gd name="connsiteY237" fmla="*/ 1382396 h 6858000"/>
              <a:gd name="connsiteX238" fmla="*/ 3449819 w 8009775"/>
              <a:gd name="connsiteY238" fmla="*/ 1378585 h 6858000"/>
              <a:gd name="connsiteX239" fmla="*/ 3454844 w 8009775"/>
              <a:gd name="connsiteY239" fmla="*/ 1375094 h 6858000"/>
              <a:gd name="connsiteX240" fmla="*/ 3460459 w 8009775"/>
              <a:gd name="connsiteY240" fmla="*/ 1371919 h 6858000"/>
              <a:gd name="connsiteX241" fmla="*/ 3465780 w 8009775"/>
              <a:gd name="connsiteY241" fmla="*/ 1369061 h 6858000"/>
              <a:gd name="connsiteX242" fmla="*/ 3471100 w 8009775"/>
              <a:gd name="connsiteY242" fmla="*/ 1366204 h 6858000"/>
              <a:gd name="connsiteX243" fmla="*/ 3476420 w 8009775"/>
              <a:gd name="connsiteY243" fmla="*/ 1363980 h 6858000"/>
              <a:gd name="connsiteX244" fmla="*/ 3482331 w 8009775"/>
              <a:gd name="connsiteY244" fmla="*/ 1361759 h 6858000"/>
              <a:gd name="connsiteX245" fmla="*/ 3487947 w 8009775"/>
              <a:gd name="connsiteY245" fmla="*/ 1360170 h 6858000"/>
              <a:gd name="connsiteX246" fmla="*/ 3493858 w 8009775"/>
              <a:gd name="connsiteY246" fmla="*/ 1358265 h 6858000"/>
              <a:gd name="connsiteX247" fmla="*/ 3499474 w 8009775"/>
              <a:gd name="connsiteY247" fmla="*/ 1357314 h 6858000"/>
              <a:gd name="connsiteX248" fmla="*/ 3505385 w 8009775"/>
              <a:gd name="connsiteY248" fmla="*/ 1356043 h 6858000"/>
              <a:gd name="connsiteX249" fmla="*/ 3511001 w 8009775"/>
              <a:gd name="connsiteY249" fmla="*/ 1355409 h 6858000"/>
              <a:gd name="connsiteX250" fmla="*/ 3517208 w 8009775"/>
              <a:gd name="connsiteY250" fmla="*/ 1355090 h 6858000"/>
              <a:gd name="connsiteX251" fmla="*/ 3522823 w 8009775"/>
              <a:gd name="connsiteY251" fmla="*/ 1354773 h 6858000"/>
              <a:gd name="connsiteX252" fmla="*/ 3529030 w 8009775"/>
              <a:gd name="connsiteY252" fmla="*/ 1355090 h 6858000"/>
              <a:gd name="connsiteX253" fmla="*/ 3534646 w 8009775"/>
              <a:gd name="connsiteY253" fmla="*/ 1355409 h 6858000"/>
              <a:gd name="connsiteX254" fmla="*/ 3540557 w 8009775"/>
              <a:gd name="connsiteY254" fmla="*/ 1356043 h 6858000"/>
              <a:gd name="connsiteX255" fmla="*/ 3546468 w 8009775"/>
              <a:gd name="connsiteY255" fmla="*/ 1357314 h 6858000"/>
              <a:gd name="connsiteX256" fmla="*/ 3552380 w 8009775"/>
              <a:gd name="connsiteY256" fmla="*/ 1358265 h 6858000"/>
              <a:gd name="connsiteX257" fmla="*/ 3557995 w 8009775"/>
              <a:gd name="connsiteY257" fmla="*/ 1360170 h 6858000"/>
              <a:gd name="connsiteX258" fmla="*/ 3563906 w 8009775"/>
              <a:gd name="connsiteY258" fmla="*/ 1361759 h 6858000"/>
              <a:gd name="connsiteX259" fmla="*/ 3569227 w 8009775"/>
              <a:gd name="connsiteY259" fmla="*/ 1363980 h 6858000"/>
              <a:gd name="connsiteX260" fmla="*/ 3574842 w 8009775"/>
              <a:gd name="connsiteY260" fmla="*/ 1366204 h 6858000"/>
              <a:gd name="connsiteX261" fmla="*/ 3580458 w 8009775"/>
              <a:gd name="connsiteY261" fmla="*/ 1369061 h 6858000"/>
              <a:gd name="connsiteX262" fmla="*/ 3585778 w 8009775"/>
              <a:gd name="connsiteY262" fmla="*/ 1371919 h 6858000"/>
              <a:gd name="connsiteX263" fmla="*/ 3590803 w 8009775"/>
              <a:gd name="connsiteY263" fmla="*/ 1375094 h 6858000"/>
              <a:gd name="connsiteX264" fmla="*/ 3595828 w 8009775"/>
              <a:gd name="connsiteY264" fmla="*/ 1378585 h 6858000"/>
              <a:gd name="connsiteX265" fmla="*/ 3600852 w 8009775"/>
              <a:gd name="connsiteY265" fmla="*/ 1382396 h 6858000"/>
              <a:gd name="connsiteX266" fmla="*/ 3605581 w 8009775"/>
              <a:gd name="connsiteY266" fmla="*/ 1386524 h 6858000"/>
              <a:gd name="connsiteX267" fmla="*/ 3610014 w 8009775"/>
              <a:gd name="connsiteY267" fmla="*/ 1390969 h 6858000"/>
              <a:gd name="connsiteX268" fmla="*/ 3817500 w 8009775"/>
              <a:gd name="connsiteY268" fmla="*/ 1598296 h 6858000"/>
              <a:gd name="connsiteX269" fmla="*/ 3821934 w 8009775"/>
              <a:gd name="connsiteY269" fmla="*/ 1602423 h 6858000"/>
              <a:gd name="connsiteX270" fmla="*/ 3826663 w 8009775"/>
              <a:gd name="connsiteY270" fmla="*/ 1606869 h 6858000"/>
              <a:gd name="connsiteX271" fmla="*/ 3831687 w 8009775"/>
              <a:gd name="connsiteY271" fmla="*/ 1610361 h 6858000"/>
              <a:gd name="connsiteX272" fmla="*/ 3836712 w 8009775"/>
              <a:gd name="connsiteY272" fmla="*/ 1613854 h 6858000"/>
              <a:gd name="connsiteX273" fmla="*/ 3841736 w 8009775"/>
              <a:gd name="connsiteY273" fmla="*/ 1617345 h 6858000"/>
              <a:gd name="connsiteX274" fmla="*/ 3847352 w 8009775"/>
              <a:gd name="connsiteY274" fmla="*/ 1620204 h 6858000"/>
              <a:gd name="connsiteX275" fmla="*/ 3852672 w 8009775"/>
              <a:gd name="connsiteY275" fmla="*/ 1623061 h 6858000"/>
              <a:gd name="connsiteX276" fmla="*/ 3857992 w 8009775"/>
              <a:gd name="connsiteY276" fmla="*/ 1625283 h 6858000"/>
              <a:gd name="connsiteX277" fmla="*/ 3863608 w 8009775"/>
              <a:gd name="connsiteY277" fmla="*/ 1627189 h 6858000"/>
              <a:gd name="connsiteX278" fmla="*/ 3869519 w 8009775"/>
              <a:gd name="connsiteY278" fmla="*/ 1629094 h 6858000"/>
              <a:gd name="connsiteX279" fmla="*/ 3875135 w 8009775"/>
              <a:gd name="connsiteY279" fmla="*/ 1630998 h 6858000"/>
              <a:gd name="connsiteX280" fmla="*/ 3881046 w 8009775"/>
              <a:gd name="connsiteY280" fmla="*/ 1631950 h 6858000"/>
              <a:gd name="connsiteX281" fmla="*/ 3886662 w 8009775"/>
              <a:gd name="connsiteY281" fmla="*/ 1632904 h 6858000"/>
              <a:gd name="connsiteX282" fmla="*/ 3892869 w 8009775"/>
              <a:gd name="connsiteY282" fmla="*/ 1633856 h 6858000"/>
              <a:gd name="connsiteX283" fmla="*/ 3898485 w 8009775"/>
              <a:gd name="connsiteY283" fmla="*/ 1634174 h 6858000"/>
              <a:gd name="connsiteX284" fmla="*/ 3904396 w 8009775"/>
              <a:gd name="connsiteY284" fmla="*/ 1634174 h 6858000"/>
              <a:gd name="connsiteX285" fmla="*/ 3910307 w 8009775"/>
              <a:gd name="connsiteY285" fmla="*/ 1634174 h 6858000"/>
              <a:gd name="connsiteX286" fmla="*/ 3916219 w 8009775"/>
              <a:gd name="connsiteY286" fmla="*/ 1633856 h 6858000"/>
              <a:gd name="connsiteX287" fmla="*/ 3922425 w 8009775"/>
              <a:gd name="connsiteY287" fmla="*/ 1632904 h 6858000"/>
              <a:gd name="connsiteX288" fmla="*/ 3928041 w 8009775"/>
              <a:gd name="connsiteY288" fmla="*/ 1631950 h 6858000"/>
              <a:gd name="connsiteX289" fmla="*/ 3933657 w 8009775"/>
              <a:gd name="connsiteY289" fmla="*/ 1630998 h 6858000"/>
              <a:gd name="connsiteX290" fmla="*/ 3939568 w 8009775"/>
              <a:gd name="connsiteY290" fmla="*/ 1629094 h 6858000"/>
              <a:gd name="connsiteX291" fmla="*/ 3945184 w 8009775"/>
              <a:gd name="connsiteY291" fmla="*/ 1627189 h 6858000"/>
              <a:gd name="connsiteX292" fmla="*/ 3950799 w 8009775"/>
              <a:gd name="connsiteY292" fmla="*/ 1625283 h 6858000"/>
              <a:gd name="connsiteX293" fmla="*/ 3956415 w 8009775"/>
              <a:gd name="connsiteY293" fmla="*/ 1623061 h 6858000"/>
              <a:gd name="connsiteX294" fmla="*/ 3961735 w 8009775"/>
              <a:gd name="connsiteY294" fmla="*/ 1620204 h 6858000"/>
              <a:gd name="connsiteX295" fmla="*/ 3967055 w 8009775"/>
              <a:gd name="connsiteY295" fmla="*/ 1617345 h 6858000"/>
              <a:gd name="connsiteX296" fmla="*/ 3972376 w 8009775"/>
              <a:gd name="connsiteY296" fmla="*/ 1613854 h 6858000"/>
              <a:gd name="connsiteX297" fmla="*/ 3977400 w 8009775"/>
              <a:gd name="connsiteY297" fmla="*/ 1610361 h 6858000"/>
              <a:gd name="connsiteX298" fmla="*/ 3982425 w 8009775"/>
              <a:gd name="connsiteY298" fmla="*/ 1606869 h 6858000"/>
              <a:gd name="connsiteX299" fmla="*/ 3986858 w 8009775"/>
              <a:gd name="connsiteY299" fmla="*/ 1602423 h 6858000"/>
              <a:gd name="connsiteX300" fmla="*/ 3991587 w 8009775"/>
              <a:gd name="connsiteY300" fmla="*/ 1598296 h 6858000"/>
              <a:gd name="connsiteX301" fmla="*/ 3996021 w 8009775"/>
              <a:gd name="connsiteY301" fmla="*/ 1593533 h 6858000"/>
              <a:gd name="connsiteX302" fmla="*/ 4000159 w 8009775"/>
              <a:gd name="connsiteY302" fmla="*/ 1588771 h 6858000"/>
              <a:gd name="connsiteX303" fmla="*/ 4003705 w 8009775"/>
              <a:gd name="connsiteY303" fmla="*/ 1583691 h 6858000"/>
              <a:gd name="connsiteX304" fmla="*/ 4007548 w 8009775"/>
              <a:gd name="connsiteY304" fmla="*/ 1578928 h 6858000"/>
              <a:gd name="connsiteX305" fmla="*/ 4010799 w 8009775"/>
              <a:gd name="connsiteY305" fmla="*/ 1573849 h 6858000"/>
              <a:gd name="connsiteX306" fmla="*/ 4013459 w 8009775"/>
              <a:gd name="connsiteY306" fmla="*/ 1568451 h 6858000"/>
              <a:gd name="connsiteX307" fmla="*/ 4016415 w 8009775"/>
              <a:gd name="connsiteY307" fmla="*/ 1563054 h 6858000"/>
              <a:gd name="connsiteX308" fmla="*/ 4018484 w 8009775"/>
              <a:gd name="connsiteY308" fmla="*/ 1557339 h 6858000"/>
              <a:gd name="connsiteX309" fmla="*/ 4020848 w 8009775"/>
              <a:gd name="connsiteY309" fmla="*/ 1551941 h 6858000"/>
              <a:gd name="connsiteX310" fmla="*/ 4022621 w 8009775"/>
              <a:gd name="connsiteY310" fmla="*/ 1546226 h 6858000"/>
              <a:gd name="connsiteX311" fmla="*/ 4024395 w 8009775"/>
              <a:gd name="connsiteY311" fmla="*/ 1540511 h 6858000"/>
              <a:gd name="connsiteX312" fmla="*/ 4025282 w 8009775"/>
              <a:gd name="connsiteY312" fmla="*/ 1534478 h 6858000"/>
              <a:gd name="connsiteX313" fmla="*/ 4026464 w 8009775"/>
              <a:gd name="connsiteY313" fmla="*/ 1528763 h 6858000"/>
              <a:gd name="connsiteX314" fmla="*/ 4027055 w 8009775"/>
              <a:gd name="connsiteY314" fmla="*/ 1522731 h 6858000"/>
              <a:gd name="connsiteX315" fmla="*/ 4027646 w 8009775"/>
              <a:gd name="connsiteY315" fmla="*/ 1517016 h 6858000"/>
              <a:gd name="connsiteX316" fmla="*/ 4027646 w 8009775"/>
              <a:gd name="connsiteY316" fmla="*/ 1510984 h 6858000"/>
              <a:gd name="connsiteX317" fmla="*/ 4027646 w 8009775"/>
              <a:gd name="connsiteY317" fmla="*/ 1505268 h 6858000"/>
              <a:gd name="connsiteX318" fmla="*/ 4027055 w 8009775"/>
              <a:gd name="connsiteY318" fmla="*/ 1499553 h 6858000"/>
              <a:gd name="connsiteX319" fmla="*/ 4026464 w 8009775"/>
              <a:gd name="connsiteY319" fmla="*/ 1493204 h 6858000"/>
              <a:gd name="connsiteX320" fmla="*/ 4025282 w 8009775"/>
              <a:gd name="connsiteY320" fmla="*/ 1487489 h 6858000"/>
              <a:gd name="connsiteX321" fmla="*/ 4024395 w 8009775"/>
              <a:gd name="connsiteY321" fmla="*/ 1481773 h 6858000"/>
              <a:gd name="connsiteX322" fmla="*/ 4022621 w 8009775"/>
              <a:gd name="connsiteY322" fmla="*/ 1476058 h 6858000"/>
              <a:gd name="connsiteX323" fmla="*/ 4020848 w 8009775"/>
              <a:gd name="connsiteY323" fmla="*/ 1470343 h 6858000"/>
              <a:gd name="connsiteX324" fmla="*/ 4018484 w 8009775"/>
              <a:gd name="connsiteY324" fmla="*/ 1464629 h 6858000"/>
              <a:gd name="connsiteX325" fmla="*/ 4016415 w 8009775"/>
              <a:gd name="connsiteY325" fmla="*/ 1459231 h 6858000"/>
              <a:gd name="connsiteX326" fmla="*/ 4013459 w 8009775"/>
              <a:gd name="connsiteY326" fmla="*/ 1453834 h 6858000"/>
              <a:gd name="connsiteX327" fmla="*/ 4010799 w 8009775"/>
              <a:gd name="connsiteY327" fmla="*/ 1448436 h 6858000"/>
              <a:gd name="connsiteX328" fmla="*/ 4007548 w 8009775"/>
              <a:gd name="connsiteY328" fmla="*/ 1443356 h 6858000"/>
              <a:gd name="connsiteX329" fmla="*/ 4003705 w 8009775"/>
              <a:gd name="connsiteY329" fmla="*/ 1438275 h 6858000"/>
              <a:gd name="connsiteX330" fmla="*/ 4000159 w 8009775"/>
              <a:gd name="connsiteY330" fmla="*/ 1433195 h 6858000"/>
              <a:gd name="connsiteX331" fmla="*/ 3996021 w 8009775"/>
              <a:gd name="connsiteY331" fmla="*/ 1428751 h 6858000"/>
              <a:gd name="connsiteX332" fmla="*/ 3991587 w 8009775"/>
              <a:gd name="connsiteY332" fmla="*/ 1423988 h 6858000"/>
              <a:gd name="connsiteX333" fmla="*/ 3323022 w 8009775"/>
              <a:gd name="connsiteY333" fmla="*/ 755333 h 6858000"/>
              <a:gd name="connsiteX334" fmla="*/ 3316815 w 8009775"/>
              <a:gd name="connsiteY334" fmla="*/ 748348 h 6858000"/>
              <a:gd name="connsiteX335" fmla="*/ 3310904 w 8009775"/>
              <a:gd name="connsiteY335" fmla="*/ 741045 h 6858000"/>
              <a:gd name="connsiteX336" fmla="*/ 3305584 w 8009775"/>
              <a:gd name="connsiteY336" fmla="*/ 733108 h 6858000"/>
              <a:gd name="connsiteX337" fmla="*/ 3300855 w 8009775"/>
              <a:gd name="connsiteY337" fmla="*/ 725170 h 6858000"/>
              <a:gd name="connsiteX338" fmla="*/ 3297308 w 8009775"/>
              <a:gd name="connsiteY338" fmla="*/ 716915 h 6858000"/>
              <a:gd name="connsiteX339" fmla="*/ 3293761 w 8009775"/>
              <a:gd name="connsiteY339" fmla="*/ 708660 h 6858000"/>
              <a:gd name="connsiteX340" fmla="*/ 3291101 w 8009775"/>
              <a:gd name="connsiteY340" fmla="*/ 699770 h 6858000"/>
              <a:gd name="connsiteX341" fmla="*/ 3289328 w 8009775"/>
              <a:gd name="connsiteY341" fmla="*/ 691198 h 6858000"/>
              <a:gd name="connsiteX342" fmla="*/ 2596527 w 8009775"/>
              <a:gd name="connsiteY342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001744 w 8009775"/>
              <a:gd name="connsiteY71" fmla="*/ 1828166 h 6858000"/>
              <a:gd name="connsiteX72" fmla="*/ 2997311 w 8009775"/>
              <a:gd name="connsiteY72" fmla="*/ 1823404 h 6858000"/>
              <a:gd name="connsiteX73" fmla="*/ 2992878 w 8009775"/>
              <a:gd name="connsiteY73" fmla="*/ 1818640 h 6858000"/>
              <a:gd name="connsiteX74" fmla="*/ 2989331 w 8009775"/>
              <a:gd name="connsiteY74" fmla="*/ 1814195 h 6858000"/>
              <a:gd name="connsiteX75" fmla="*/ 2985784 w 8009775"/>
              <a:gd name="connsiteY75" fmla="*/ 1808799 h 6858000"/>
              <a:gd name="connsiteX76" fmla="*/ 2982533 w 8009775"/>
              <a:gd name="connsiteY76" fmla="*/ 1803718 h 6858000"/>
              <a:gd name="connsiteX77" fmla="*/ 2979873 w 8009775"/>
              <a:gd name="connsiteY77" fmla="*/ 1798321 h 6858000"/>
              <a:gd name="connsiteX78" fmla="*/ 2976917 w 8009775"/>
              <a:gd name="connsiteY78" fmla="*/ 1792924 h 6858000"/>
              <a:gd name="connsiteX79" fmla="*/ 2974552 w 8009775"/>
              <a:gd name="connsiteY79" fmla="*/ 1787526 h 6858000"/>
              <a:gd name="connsiteX80" fmla="*/ 2972484 w 8009775"/>
              <a:gd name="connsiteY80" fmla="*/ 1781811 h 6858000"/>
              <a:gd name="connsiteX81" fmla="*/ 2970710 w 8009775"/>
              <a:gd name="connsiteY81" fmla="*/ 1776095 h 6858000"/>
              <a:gd name="connsiteX82" fmla="*/ 2968937 w 8009775"/>
              <a:gd name="connsiteY82" fmla="*/ 1770380 h 6858000"/>
              <a:gd name="connsiteX83" fmla="*/ 2967755 w 8009775"/>
              <a:gd name="connsiteY83" fmla="*/ 1764665 h 6858000"/>
              <a:gd name="connsiteX84" fmla="*/ 2966868 w 8009775"/>
              <a:gd name="connsiteY84" fmla="*/ 1758634 h 6858000"/>
              <a:gd name="connsiteX85" fmla="*/ 2965981 w 8009775"/>
              <a:gd name="connsiteY85" fmla="*/ 1752919 h 6858000"/>
              <a:gd name="connsiteX86" fmla="*/ 2965686 w 8009775"/>
              <a:gd name="connsiteY86" fmla="*/ 1746885 h 6858000"/>
              <a:gd name="connsiteX87" fmla="*/ 2965686 w 8009775"/>
              <a:gd name="connsiteY87" fmla="*/ 1741170 h 6858000"/>
              <a:gd name="connsiteX88" fmla="*/ 2965686 w 8009775"/>
              <a:gd name="connsiteY88" fmla="*/ 1735139 h 6858000"/>
              <a:gd name="connsiteX89" fmla="*/ 2965981 w 8009775"/>
              <a:gd name="connsiteY89" fmla="*/ 1729424 h 6858000"/>
              <a:gd name="connsiteX90" fmla="*/ 2966868 w 8009775"/>
              <a:gd name="connsiteY90" fmla="*/ 1723074 h 6858000"/>
              <a:gd name="connsiteX91" fmla="*/ 2967755 w 8009775"/>
              <a:gd name="connsiteY91" fmla="*/ 1717358 h 6858000"/>
              <a:gd name="connsiteX92" fmla="*/ 2968937 w 8009775"/>
              <a:gd name="connsiteY92" fmla="*/ 1711643 h 6858000"/>
              <a:gd name="connsiteX93" fmla="*/ 2970710 w 8009775"/>
              <a:gd name="connsiteY93" fmla="*/ 1705929 h 6858000"/>
              <a:gd name="connsiteX94" fmla="*/ 2972484 w 8009775"/>
              <a:gd name="connsiteY94" fmla="*/ 1700214 h 6858000"/>
              <a:gd name="connsiteX95" fmla="*/ 2974552 w 8009775"/>
              <a:gd name="connsiteY95" fmla="*/ 1694816 h 6858000"/>
              <a:gd name="connsiteX96" fmla="*/ 2976917 w 8009775"/>
              <a:gd name="connsiteY96" fmla="*/ 1689101 h 6858000"/>
              <a:gd name="connsiteX97" fmla="*/ 2979873 w 8009775"/>
              <a:gd name="connsiteY97" fmla="*/ 1683703 h 6858000"/>
              <a:gd name="connsiteX98" fmla="*/ 2982533 w 8009775"/>
              <a:gd name="connsiteY98" fmla="*/ 1678305 h 6858000"/>
              <a:gd name="connsiteX99" fmla="*/ 2985784 w 8009775"/>
              <a:gd name="connsiteY99" fmla="*/ 1673226 h 6858000"/>
              <a:gd name="connsiteX100" fmla="*/ 2989331 w 8009775"/>
              <a:gd name="connsiteY100" fmla="*/ 1668145 h 6858000"/>
              <a:gd name="connsiteX101" fmla="*/ 2992878 w 8009775"/>
              <a:gd name="connsiteY101" fmla="*/ 1663066 h 6858000"/>
              <a:gd name="connsiteX102" fmla="*/ 2997311 w 8009775"/>
              <a:gd name="connsiteY102" fmla="*/ 1658621 h 6858000"/>
              <a:gd name="connsiteX103" fmla="*/ 3001744 w 8009775"/>
              <a:gd name="connsiteY103" fmla="*/ 1653859 h 6858000"/>
              <a:gd name="connsiteX104" fmla="*/ 3006178 w 8009775"/>
              <a:gd name="connsiteY104" fmla="*/ 1649414 h 6858000"/>
              <a:gd name="connsiteX105" fmla="*/ 3010907 w 8009775"/>
              <a:gd name="connsiteY105" fmla="*/ 1645603 h 6858000"/>
              <a:gd name="connsiteX106" fmla="*/ 3015932 w 8009775"/>
              <a:gd name="connsiteY106" fmla="*/ 1641794 h 6858000"/>
              <a:gd name="connsiteX107" fmla="*/ 3020956 w 8009775"/>
              <a:gd name="connsiteY107" fmla="*/ 1637984 h 6858000"/>
              <a:gd name="connsiteX108" fmla="*/ 3025981 w 8009775"/>
              <a:gd name="connsiteY108" fmla="*/ 1634809 h 6858000"/>
              <a:gd name="connsiteX109" fmla="*/ 3031596 w 8009775"/>
              <a:gd name="connsiteY109" fmla="*/ 1631950 h 6858000"/>
              <a:gd name="connsiteX110" fmla="*/ 3036916 w 8009775"/>
              <a:gd name="connsiteY110" fmla="*/ 1629094 h 6858000"/>
              <a:gd name="connsiteX111" fmla="*/ 3042532 w 8009775"/>
              <a:gd name="connsiteY111" fmla="*/ 1626871 h 6858000"/>
              <a:gd name="connsiteX112" fmla="*/ 3047852 w 8009775"/>
              <a:gd name="connsiteY112" fmla="*/ 1624649 h 6858000"/>
              <a:gd name="connsiteX113" fmla="*/ 3053764 w 8009775"/>
              <a:gd name="connsiteY113" fmla="*/ 1623061 h 6858000"/>
              <a:gd name="connsiteX114" fmla="*/ 3059379 w 8009775"/>
              <a:gd name="connsiteY114" fmla="*/ 1621155 h 6858000"/>
              <a:gd name="connsiteX115" fmla="*/ 3065291 w 8009775"/>
              <a:gd name="connsiteY115" fmla="*/ 1620204 h 6858000"/>
              <a:gd name="connsiteX116" fmla="*/ 3070906 w 8009775"/>
              <a:gd name="connsiteY116" fmla="*/ 1618934 h 6858000"/>
              <a:gd name="connsiteX117" fmla="*/ 3077113 w 8009775"/>
              <a:gd name="connsiteY117" fmla="*/ 1618299 h 6858000"/>
              <a:gd name="connsiteX118" fmla="*/ 3082729 w 8009775"/>
              <a:gd name="connsiteY118" fmla="*/ 1617981 h 6858000"/>
              <a:gd name="connsiteX119" fmla="*/ 3088936 w 8009775"/>
              <a:gd name="connsiteY119" fmla="*/ 1617981 h 6858000"/>
              <a:gd name="connsiteX120" fmla="*/ 3094552 w 8009775"/>
              <a:gd name="connsiteY120" fmla="*/ 1617981 h 6858000"/>
              <a:gd name="connsiteX121" fmla="*/ 3100758 w 8009775"/>
              <a:gd name="connsiteY121" fmla="*/ 1618299 h 6858000"/>
              <a:gd name="connsiteX122" fmla="*/ 3106670 w 8009775"/>
              <a:gd name="connsiteY122" fmla="*/ 1618934 h 6858000"/>
              <a:gd name="connsiteX123" fmla="*/ 3112285 w 8009775"/>
              <a:gd name="connsiteY123" fmla="*/ 1620204 h 6858000"/>
              <a:gd name="connsiteX124" fmla="*/ 3117901 w 8009775"/>
              <a:gd name="connsiteY124" fmla="*/ 1621155 h 6858000"/>
              <a:gd name="connsiteX125" fmla="*/ 3123812 w 8009775"/>
              <a:gd name="connsiteY125" fmla="*/ 1623061 h 6858000"/>
              <a:gd name="connsiteX126" fmla="*/ 3129428 w 8009775"/>
              <a:gd name="connsiteY126" fmla="*/ 1624649 h 6858000"/>
              <a:gd name="connsiteX127" fmla="*/ 3135339 w 8009775"/>
              <a:gd name="connsiteY127" fmla="*/ 1626871 h 6858000"/>
              <a:gd name="connsiteX128" fmla="*/ 3140660 w 8009775"/>
              <a:gd name="connsiteY128" fmla="*/ 1629094 h 6858000"/>
              <a:gd name="connsiteX129" fmla="*/ 3145980 w 8009775"/>
              <a:gd name="connsiteY129" fmla="*/ 1631950 h 6858000"/>
              <a:gd name="connsiteX130" fmla="*/ 3151300 w 8009775"/>
              <a:gd name="connsiteY130" fmla="*/ 1634809 h 6858000"/>
              <a:gd name="connsiteX131" fmla="*/ 3156324 w 8009775"/>
              <a:gd name="connsiteY131" fmla="*/ 1637984 h 6858000"/>
              <a:gd name="connsiteX132" fmla="*/ 3161349 w 8009775"/>
              <a:gd name="connsiteY132" fmla="*/ 1641794 h 6858000"/>
              <a:gd name="connsiteX133" fmla="*/ 3166374 w 8009775"/>
              <a:gd name="connsiteY133" fmla="*/ 1645603 h 6858000"/>
              <a:gd name="connsiteX134" fmla="*/ 3171102 w 8009775"/>
              <a:gd name="connsiteY134" fmla="*/ 1649414 h 6858000"/>
              <a:gd name="connsiteX135" fmla="*/ 3175832 w 8009775"/>
              <a:gd name="connsiteY135" fmla="*/ 1653859 h 6858000"/>
              <a:gd name="connsiteX136" fmla="*/ 3844692 w 8009775"/>
              <a:gd name="connsiteY136" fmla="*/ 2322830 h 6858000"/>
              <a:gd name="connsiteX137" fmla="*/ 3849421 w 8009775"/>
              <a:gd name="connsiteY137" fmla="*/ 2326958 h 6858000"/>
              <a:gd name="connsiteX138" fmla="*/ 3854150 w 8009775"/>
              <a:gd name="connsiteY138" fmla="*/ 2331085 h 6858000"/>
              <a:gd name="connsiteX139" fmla="*/ 3859175 w 8009775"/>
              <a:gd name="connsiteY139" fmla="*/ 2334895 h 6858000"/>
              <a:gd name="connsiteX140" fmla="*/ 3864199 w 8009775"/>
              <a:gd name="connsiteY140" fmla="*/ 2338705 h 6858000"/>
              <a:gd name="connsiteX141" fmla="*/ 3869224 w 8009775"/>
              <a:gd name="connsiteY141" fmla="*/ 2341880 h 6858000"/>
              <a:gd name="connsiteX142" fmla="*/ 3874544 w 8009775"/>
              <a:gd name="connsiteY142" fmla="*/ 2344738 h 6858000"/>
              <a:gd name="connsiteX143" fmla="*/ 3879864 w 8009775"/>
              <a:gd name="connsiteY143" fmla="*/ 2347595 h 6858000"/>
              <a:gd name="connsiteX144" fmla="*/ 3885775 w 8009775"/>
              <a:gd name="connsiteY144" fmla="*/ 2349818 h 6858000"/>
              <a:gd name="connsiteX145" fmla="*/ 3891096 w 8009775"/>
              <a:gd name="connsiteY145" fmla="*/ 2351723 h 6858000"/>
              <a:gd name="connsiteX146" fmla="*/ 3896711 w 8009775"/>
              <a:gd name="connsiteY146" fmla="*/ 2353628 h 6858000"/>
              <a:gd name="connsiteX147" fmla="*/ 3902623 w 8009775"/>
              <a:gd name="connsiteY147" fmla="*/ 2355534 h 6858000"/>
              <a:gd name="connsiteX148" fmla="*/ 3908238 w 8009775"/>
              <a:gd name="connsiteY148" fmla="*/ 2356485 h 6858000"/>
              <a:gd name="connsiteX149" fmla="*/ 3914150 w 8009775"/>
              <a:gd name="connsiteY149" fmla="*/ 2357755 h 6858000"/>
              <a:gd name="connsiteX150" fmla="*/ 3920061 w 8009775"/>
              <a:gd name="connsiteY150" fmla="*/ 2358391 h 6858000"/>
              <a:gd name="connsiteX151" fmla="*/ 3925972 w 8009775"/>
              <a:gd name="connsiteY151" fmla="*/ 2358708 h 6858000"/>
              <a:gd name="connsiteX152" fmla="*/ 3931883 w 8009775"/>
              <a:gd name="connsiteY152" fmla="*/ 2358708 h 6858000"/>
              <a:gd name="connsiteX153" fmla="*/ 3937795 w 8009775"/>
              <a:gd name="connsiteY153" fmla="*/ 2358708 h 6858000"/>
              <a:gd name="connsiteX154" fmla="*/ 3943706 w 8009775"/>
              <a:gd name="connsiteY154" fmla="*/ 2358391 h 6858000"/>
              <a:gd name="connsiteX155" fmla="*/ 3949617 w 8009775"/>
              <a:gd name="connsiteY155" fmla="*/ 2357755 h 6858000"/>
              <a:gd name="connsiteX156" fmla="*/ 3955233 w 8009775"/>
              <a:gd name="connsiteY156" fmla="*/ 2356485 h 6858000"/>
              <a:gd name="connsiteX157" fmla="*/ 3961144 w 8009775"/>
              <a:gd name="connsiteY157" fmla="*/ 2355534 h 6858000"/>
              <a:gd name="connsiteX158" fmla="*/ 3966760 w 8009775"/>
              <a:gd name="connsiteY158" fmla="*/ 2353628 h 6858000"/>
              <a:gd name="connsiteX159" fmla="*/ 3972671 w 8009775"/>
              <a:gd name="connsiteY159" fmla="*/ 2351723 h 6858000"/>
              <a:gd name="connsiteX160" fmla="*/ 3978287 w 8009775"/>
              <a:gd name="connsiteY160" fmla="*/ 2349818 h 6858000"/>
              <a:gd name="connsiteX161" fmla="*/ 3983607 w 8009775"/>
              <a:gd name="connsiteY161" fmla="*/ 2347595 h 6858000"/>
              <a:gd name="connsiteX162" fmla="*/ 3989223 w 8009775"/>
              <a:gd name="connsiteY162" fmla="*/ 2344738 h 6858000"/>
              <a:gd name="connsiteX163" fmla="*/ 3994543 w 8009775"/>
              <a:gd name="connsiteY163" fmla="*/ 2341880 h 6858000"/>
              <a:gd name="connsiteX164" fmla="*/ 3999567 w 8009775"/>
              <a:gd name="connsiteY164" fmla="*/ 2338705 h 6858000"/>
              <a:gd name="connsiteX165" fmla="*/ 4004888 w 8009775"/>
              <a:gd name="connsiteY165" fmla="*/ 2334895 h 6858000"/>
              <a:gd name="connsiteX166" fmla="*/ 4009617 w 8009775"/>
              <a:gd name="connsiteY166" fmla="*/ 2331085 h 6858000"/>
              <a:gd name="connsiteX167" fmla="*/ 4014346 w 8009775"/>
              <a:gd name="connsiteY167" fmla="*/ 2326958 h 6858000"/>
              <a:gd name="connsiteX168" fmla="*/ 4018779 w 8009775"/>
              <a:gd name="connsiteY168" fmla="*/ 2322830 h 6858000"/>
              <a:gd name="connsiteX169" fmla="*/ 4023213 w 8009775"/>
              <a:gd name="connsiteY169" fmla="*/ 2318068 h 6858000"/>
              <a:gd name="connsiteX170" fmla="*/ 4027646 w 8009775"/>
              <a:gd name="connsiteY170" fmla="*/ 2313306 h 6858000"/>
              <a:gd name="connsiteX171" fmla="*/ 4031193 w 8009775"/>
              <a:gd name="connsiteY171" fmla="*/ 2308544 h 6858000"/>
              <a:gd name="connsiteX172" fmla="*/ 4034740 w 8009775"/>
              <a:gd name="connsiteY172" fmla="*/ 2303463 h 6858000"/>
              <a:gd name="connsiteX173" fmla="*/ 4037991 w 8009775"/>
              <a:gd name="connsiteY173" fmla="*/ 2298384 h 6858000"/>
              <a:gd name="connsiteX174" fmla="*/ 4040946 w 8009775"/>
              <a:gd name="connsiteY174" fmla="*/ 2292985 h 6858000"/>
              <a:gd name="connsiteX175" fmla="*/ 4043606 w 8009775"/>
              <a:gd name="connsiteY175" fmla="*/ 2287588 h 6858000"/>
              <a:gd name="connsiteX176" fmla="*/ 4046267 w 8009775"/>
              <a:gd name="connsiteY176" fmla="*/ 2281873 h 6858000"/>
              <a:gd name="connsiteX177" fmla="*/ 4048040 w 8009775"/>
              <a:gd name="connsiteY177" fmla="*/ 2276476 h 6858000"/>
              <a:gd name="connsiteX178" fmla="*/ 4050109 w 8009775"/>
              <a:gd name="connsiteY178" fmla="*/ 2270761 h 6858000"/>
              <a:gd name="connsiteX179" fmla="*/ 4051587 w 8009775"/>
              <a:gd name="connsiteY179" fmla="*/ 2265046 h 6858000"/>
              <a:gd name="connsiteX180" fmla="*/ 4052769 w 8009775"/>
              <a:gd name="connsiteY180" fmla="*/ 2259331 h 6858000"/>
              <a:gd name="connsiteX181" fmla="*/ 4053656 w 8009775"/>
              <a:gd name="connsiteY181" fmla="*/ 2253298 h 6858000"/>
              <a:gd name="connsiteX182" fmla="*/ 4054542 w 8009775"/>
              <a:gd name="connsiteY182" fmla="*/ 2247266 h 6858000"/>
              <a:gd name="connsiteX183" fmla="*/ 4054838 w 8009775"/>
              <a:gd name="connsiteY183" fmla="*/ 2241551 h 6858000"/>
              <a:gd name="connsiteX184" fmla="*/ 4055133 w 8009775"/>
              <a:gd name="connsiteY184" fmla="*/ 2235519 h 6858000"/>
              <a:gd name="connsiteX185" fmla="*/ 4054838 w 8009775"/>
              <a:gd name="connsiteY185" fmla="*/ 2229804 h 6858000"/>
              <a:gd name="connsiteX186" fmla="*/ 4054542 w 8009775"/>
              <a:gd name="connsiteY186" fmla="*/ 2223770 h 6858000"/>
              <a:gd name="connsiteX187" fmla="*/ 4053656 w 8009775"/>
              <a:gd name="connsiteY187" fmla="*/ 2217739 h 6858000"/>
              <a:gd name="connsiteX188" fmla="*/ 4052769 w 8009775"/>
              <a:gd name="connsiteY188" fmla="*/ 2212024 h 6858000"/>
              <a:gd name="connsiteX189" fmla="*/ 4051587 w 8009775"/>
              <a:gd name="connsiteY189" fmla="*/ 2206309 h 6858000"/>
              <a:gd name="connsiteX190" fmla="*/ 4050109 w 8009775"/>
              <a:gd name="connsiteY190" fmla="*/ 2200593 h 6858000"/>
              <a:gd name="connsiteX191" fmla="*/ 4048040 w 8009775"/>
              <a:gd name="connsiteY191" fmla="*/ 2194878 h 6858000"/>
              <a:gd name="connsiteX192" fmla="*/ 4046267 w 8009775"/>
              <a:gd name="connsiteY192" fmla="*/ 2189163 h 6858000"/>
              <a:gd name="connsiteX193" fmla="*/ 4043606 w 8009775"/>
              <a:gd name="connsiteY193" fmla="*/ 2183765 h 6858000"/>
              <a:gd name="connsiteX194" fmla="*/ 4040946 w 8009775"/>
              <a:gd name="connsiteY194" fmla="*/ 2178368 h 6858000"/>
              <a:gd name="connsiteX195" fmla="*/ 4037991 w 8009775"/>
              <a:gd name="connsiteY195" fmla="*/ 2172970 h 6858000"/>
              <a:gd name="connsiteX196" fmla="*/ 4034740 w 8009775"/>
              <a:gd name="connsiteY196" fmla="*/ 2167890 h 6858000"/>
              <a:gd name="connsiteX197" fmla="*/ 4031193 w 8009775"/>
              <a:gd name="connsiteY197" fmla="*/ 2162494 h 6858000"/>
              <a:gd name="connsiteX198" fmla="*/ 4027646 w 8009775"/>
              <a:gd name="connsiteY198" fmla="*/ 2157730 h 6858000"/>
              <a:gd name="connsiteX199" fmla="*/ 4023213 w 8009775"/>
              <a:gd name="connsiteY199" fmla="*/ 2153285 h 6858000"/>
              <a:gd name="connsiteX200" fmla="*/ 4018779 w 8009775"/>
              <a:gd name="connsiteY200" fmla="*/ 2148523 h 6858000"/>
              <a:gd name="connsiteX201" fmla="*/ 3632182 w 8009775"/>
              <a:gd name="connsiteY201" fmla="*/ 1761490 h 6858000"/>
              <a:gd name="connsiteX202" fmla="*/ 3435928 w 8009775"/>
              <a:gd name="connsiteY202" fmla="*/ 1565276 h 6858000"/>
              <a:gd name="connsiteX203" fmla="*/ 3431198 w 8009775"/>
              <a:gd name="connsiteY203" fmla="*/ 1560514 h 6858000"/>
              <a:gd name="connsiteX204" fmla="*/ 3427356 w 8009775"/>
              <a:gd name="connsiteY204" fmla="*/ 1555751 h 6858000"/>
              <a:gd name="connsiteX205" fmla="*/ 3423218 w 8009775"/>
              <a:gd name="connsiteY205" fmla="*/ 1550671 h 6858000"/>
              <a:gd name="connsiteX206" fmla="*/ 3420262 w 8009775"/>
              <a:gd name="connsiteY206" fmla="*/ 1545909 h 6858000"/>
              <a:gd name="connsiteX207" fmla="*/ 3417012 w 8009775"/>
              <a:gd name="connsiteY207" fmla="*/ 1540829 h 6858000"/>
              <a:gd name="connsiteX208" fmla="*/ 3413760 w 8009775"/>
              <a:gd name="connsiteY208" fmla="*/ 1535430 h 6858000"/>
              <a:gd name="connsiteX209" fmla="*/ 3411100 w 8009775"/>
              <a:gd name="connsiteY209" fmla="*/ 1530034 h 6858000"/>
              <a:gd name="connsiteX210" fmla="*/ 3408736 w 8009775"/>
              <a:gd name="connsiteY210" fmla="*/ 1524635 h 6858000"/>
              <a:gd name="connsiteX211" fmla="*/ 3406371 w 8009775"/>
              <a:gd name="connsiteY211" fmla="*/ 1518920 h 6858000"/>
              <a:gd name="connsiteX212" fmla="*/ 3404598 w 8009775"/>
              <a:gd name="connsiteY212" fmla="*/ 1513205 h 6858000"/>
              <a:gd name="connsiteX213" fmla="*/ 3403120 w 8009775"/>
              <a:gd name="connsiteY213" fmla="*/ 1507174 h 6858000"/>
              <a:gd name="connsiteX214" fmla="*/ 3401938 w 8009775"/>
              <a:gd name="connsiteY214" fmla="*/ 1501459 h 6858000"/>
              <a:gd name="connsiteX215" fmla="*/ 3401051 w 8009775"/>
              <a:gd name="connsiteY215" fmla="*/ 1495744 h 6858000"/>
              <a:gd name="connsiteX216" fmla="*/ 3400460 w 8009775"/>
              <a:gd name="connsiteY216" fmla="*/ 1489710 h 6858000"/>
              <a:gd name="connsiteX217" fmla="*/ 3399869 w 8009775"/>
              <a:gd name="connsiteY217" fmla="*/ 1483995 h 6858000"/>
              <a:gd name="connsiteX218" fmla="*/ 3399573 w 8009775"/>
              <a:gd name="connsiteY218" fmla="*/ 1478281 h 6858000"/>
              <a:gd name="connsiteX219" fmla="*/ 3399869 w 8009775"/>
              <a:gd name="connsiteY219" fmla="*/ 1472249 h 6858000"/>
              <a:gd name="connsiteX220" fmla="*/ 3400460 w 8009775"/>
              <a:gd name="connsiteY220" fmla="*/ 1466215 h 6858000"/>
              <a:gd name="connsiteX221" fmla="*/ 3401051 w 8009775"/>
              <a:gd name="connsiteY221" fmla="*/ 1460183 h 6858000"/>
              <a:gd name="connsiteX222" fmla="*/ 3401938 w 8009775"/>
              <a:gd name="connsiteY222" fmla="*/ 1454468 h 6858000"/>
              <a:gd name="connsiteX223" fmla="*/ 3403120 w 8009775"/>
              <a:gd name="connsiteY223" fmla="*/ 1448754 h 6858000"/>
              <a:gd name="connsiteX224" fmla="*/ 3404598 w 8009775"/>
              <a:gd name="connsiteY224" fmla="*/ 1443039 h 6858000"/>
              <a:gd name="connsiteX225" fmla="*/ 3406371 w 8009775"/>
              <a:gd name="connsiteY225" fmla="*/ 1437324 h 6858000"/>
              <a:gd name="connsiteX226" fmla="*/ 3408736 w 8009775"/>
              <a:gd name="connsiteY226" fmla="*/ 1431609 h 6858000"/>
              <a:gd name="connsiteX227" fmla="*/ 3411100 w 8009775"/>
              <a:gd name="connsiteY227" fmla="*/ 1426211 h 6858000"/>
              <a:gd name="connsiteX228" fmla="*/ 3413760 w 8009775"/>
              <a:gd name="connsiteY228" fmla="*/ 1420814 h 6858000"/>
              <a:gd name="connsiteX229" fmla="*/ 3417012 w 8009775"/>
              <a:gd name="connsiteY229" fmla="*/ 1415416 h 6858000"/>
              <a:gd name="connsiteX230" fmla="*/ 3420262 w 8009775"/>
              <a:gd name="connsiteY230" fmla="*/ 1410336 h 6858000"/>
              <a:gd name="connsiteX231" fmla="*/ 3423218 w 8009775"/>
              <a:gd name="connsiteY231" fmla="*/ 1405256 h 6858000"/>
              <a:gd name="connsiteX232" fmla="*/ 3427356 w 8009775"/>
              <a:gd name="connsiteY232" fmla="*/ 1400175 h 6858000"/>
              <a:gd name="connsiteX233" fmla="*/ 3431198 w 8009775"/>
              <a:gd name="connsiteY233" fmla="*/ 1395731 h 6858000"/>
              <a:gd name="connsiteX234" fmla="*/ 3435928 w 8009775"/>
              <a:gd name="connsiteY234" fmla="*/ 1390969 h 6858000"/>
              <a:gd name="connsiteX235" fmla="*/ 3440361 w 8009775"/>
              <a:gd name="connsiteY235" fmla="*/ 1386524 h 6858000"/>
              <a:gd name="connsiteX236" fmla="*/ 3445386 w 8009775"/>
              <a:gd name="connsiteY236" fmla="*/ 1382396 h 6858000"/>
              <a:gd name="connsiteX237" fmla="*/ 3449819 w 8009775"/>
              <a:gd name="connsiteY237" fmla="*/ 1378585 h 6858000"/>
              <a:gd name="connsiteX238" fmla="*/ 3454844 w 8009775"/>
              <a:gd name="connsiteY238" fmla="*/ 1375094 h 6858000"/>
              <a:gd name="connsiteX239" fmla="*/ 3460459 w 8009775"/>
              <a:gd name="connsiteY239" fmla="*/ 1371919 h 6858000"/>
              <a:gd name="connsiteX240" fmla="*/ 3465780 w 8009775"/>
              <a:gd name="connsiteY240" fmla="*/ 1369061 h 6858000"/>
              <a:gd name="connsiteX241" fmla="*/ 3471100 w 8009775"/>
              <a:gd name="connsiteY241" fmla="*/ 1366204 h 6858000"/>
              <a:gd name="connsiteX242" fmla="*/ 3476420 w 8009775"/>
              <a:gd name="connsiteY242" fmla="*/ 1363980 h 6858000"/>
              <a:gd name="connsiteX243" fmla="*/ 3482331 w 8009775"/>
              <a:gd name="connsiteY243" fmla="*/ 1361759 h 6858000"/>
              <a:gd name="connsiteX244" fmla="*/ 3487947 w 8009775"/>
              <a:gd name="connsiteY244" fmla="*/ 1360170 h 6858000"/>
              <a:gd name="connsiteX245" fmla="*/ 3493858 w 8009775"/>
              <a:gd name="connsiteY245" fmla="*/ 1358265 h 6858000"/>
              <a:gd name="connsiteX246" fmla="*/ 3499474 w 8009775"/>
              <a:gd name="connsiteY246" fmla="*/ 1357314 h 6858000"/>
              <a:gd name="connsiteX247" fmla="*/ 3505385 w 8009775"/>
              <a:gd name="connsiteY247" fmla="*/ 1356043 h 6858000"/>
              <a:gd name="connsiteX248" fmla="*/ 3511001 w 8009775"/>
              <a:gd name="connsiteY248" fmla="*/ 1355409 h 6858000"/>
              <a:gd name="connsiteX249" fmla="*/ 3517208 w 8009775"/>
              <a:gd name="connsiteY249" fmla="*/ 1355090 h 6858000"/>
              <a:gd name="connsiteX250" fmla="*/ 3522823 w 8009775"/>
              <a:gd name="connsiteY250" fmla="*/ 1354773 h 6858000"/>
              <a:gd name="connsiteX251" fmla="*/ 3529030 w 8009775"/>
              <a:gd name="connsiteY251" fmla="*/ 1355090 h 6858000"/>
              <a:gd name="connsiteX252" fmla="*/ 3534646 w 8009775"/>
              <a:gd name="connsiteY252" fmla="*/ 1355409 h 6858000"/>
              <a:gd name="connsiteX253" fmla="*/ 3540557 w 8009775"/>
              <a:gd name="connsiteY253" fmla="*/ 1356043 h 6858000"/>
              <a:gd name="connsiteX254" fmla="*/ 3546468 w 8009775"/>
              <a:gd name="connsiteY254" fmla="*/ 1357314 h 6858000"/>
              <a:gd name="connsiteX255" fmla="*/ 3552380 w 8009775"/>
              <a:gd name="connsiteY255" fmla="*/ 1358265 h 6858000"/>
              <a:gd name="connsiteX256" fmla="*/ 3557995 w 8009775"/>
              <a:gd name="connsiteY256" fmla="*/ 1360170 h 6858000"/>
              <a:gd name="connsiteX257" fmla="*/ 3563906 w 8009775"/>
              <a:gd name="connsiteY257" fmla="*/ 1361759 h 6858000"/>
              <a:gd name="connsiteX258" fmla="*/ 3569227 w 8009775"/>
              <a:gd name="connsiteY258" fmla="*/ 1363980 h 6858000"/>
              <a:gd name="connsiteX259" fmla="*/ 3574842 w 8009775"/>
              <a:gd name="connsiteY259" fmla="*/ 1366204 h 6858000"/>
              <a:gd name="connsiteX260" fmla="*/ 3580458 w 8009775"/>
              <a:gd name="connsiteY260" fmla="*/ 1369061 h 6858000"/>
              <a:gd name="connsiteX261" fmla="*/ 3585778 w 8009775"/>
              <a:gd name="connsiteY261" fmla="*/ 1371919 h 6858000"/>
              <a:gd name="connsiteX262" fmla="*/ 3590803 w 8009775"/>
              <a:gd name="connsiteY262" fmla="*/ 1375094 h 6858000"/>
              <a:gd name="connsiteX263" fmla="*/ 3595828 w 8009775"/>
              <a:gd name="connsiteY263" fmla="*/ 1378585 h 6858000"/>
              <a:gd name="connsiteX264" fmla="*/ 3600852 w 8009775"/>
              <a:gd name="connsiteY264" fmla="*/ 1382396 h 6858000"/>
              <a:gd name="connsiteX265" fmla="*/ 3605581 w 8009775"/>
              <a:gd name="connsiteY265" fmla="*/ 1386524 h 6858000"/>
              <a:gd name="connsiteX266" fmla="*/ 3610014 w 8009775"/>
              <a:gd name="connsiteY266" fmla="*/ 1390969 h 6858000"/>
              <a:gd name="connsiteX267" fmla="*/ 3817500 w 8009775"/>
              <a:gd name="connsiteY267" fmla="*/ 1598296 h 6858000"/>
              <a:gd name="connsiteX268" fmla="*/ 3821934 w 8009775"/>
              <a:gd name="connsiteY268" fmla="*/ 1602423 h 6858000"/>
              <a:gd name="connsiteX269" fmla="*/ 3826663 w 8009775"/>
              <a:gd name="connsiteY269" fmla="*/ 1606869 h 6858000"/>
              <a:gd name="connsiteX270" fmla="*/ 3831687 w 8009775"/>
              <a:gd name="connsiteY270" fmla="*/ 1610361 h 6858000"/>
              <a:gd name="connsiteX271" fmla="*/ 3836712 w 8009775"/>
              <a:gd name="connsiteY271" fmla="*/ 1613854 h 6858000"/>
              <a:gd name="connsiteX272" fmla="*/ 3841736 w 8009775"/>
              <a:gd name="connsiteY272" fmla="*/ 1617345 h 6858000"/>
              <a:gd name="connsiteX273" fmla="*/ 3847352 w 8009775"/>
              <a:gd name="connsiteY273" fmla="*/ 1620204 h 6858000"/>
              <a:gd name="connsiteX274" fmla="*/ 3852672 w 8009775"/>
              <a:gd name="connsiteY274" fmla="*/ 1623061 h 6858000"/>
              <a:gd name="connsiteX275" fmla="*/ 3857992 w 8009775"/>
              <a:gd name="connsiteY275" fmla="*/ 1625283 h 6858000"/>
              <a:gd name="connsiteX276" fmla="*/ 3863608 w 8009775"/>
              <a:gd name="connsiteY276" fmla="*/ 1627189 h 6858000"/>
              <a:gd name="connsiteX277" fmla="*/ 3869519 w 8009775"/>
              <a:gd name="connsiteY277" fmla="*/ 1629094 h 6858000"/>
              <a:gd name="connsiteX278" fmla="*/ 3875135 w 8009775"/>
              <a:gd name="connsiteY278" fmla="*/ 1630998 h 6858000"/>
              <a:gd name="connsiteX279" fmla="*/ 3881046 w 8009775"/>
              <a:gd name="connsiteY279" fmla="*/ 1631950 h 6858000"/>
              <a:gd name="connsiteX280" fmla="*/ 3886662 w 8009775"/>
              <a:gd name="connsiteY280" fmla="*/ 1632904 h 6858000"/>
              <a:gd name="connsiteX281" fmla="*/ 3892869 w 8009775"/>
              <a:gd name="connsiteY281" fmla="*/ 1633856 h 6858000"/>
              <a:gd name="connsiteX282" fmla="*/ 3898485 w 8009775"/>
              <a:gd name="connsiteY282" fmla="*/ 1634174 h 6858000"/>
              <a:gd name="connsiteX283" fmla="*/ 3904396 w 8009775"/>
              <a:gd name="connsiteY283" fmla="*/ 1634174 h 6858000"/>
              <a:gd name="connsiteX284" fmla="*/ 3910307 w 8009775"/>
              <a:gd name="connsiteY284" fmla="*/ 1634174 h 6858000"/>
              <a:gd name="connsiteX285" fmla="*/ 3916219 w 8009775"/>
              <a:gd name="connsiteY285" fmla="*/ 1633856 h 6858000"/>
              <a:gd name="connsiteX286" fmla="*/ 3922425 w 8009775"/>
              <a:gd name="connsiteY286" fmla="*/ 1632904 h 6858000"/>
              <a:gd name="connsiteX287" fmla="*/ 3928041 w 8009775"/>
              <a:gd name="connsiteY287" fmla="*/ 1631950 h 6858000"/>
              <a:gd name="connsiteX288" fmla="*/ 3933657 w 8009775"/>
              <a:gd name="connsiteY288" fmla="*/ 1630998 h 6858000"/>
              <a:gd name="connsiteX289" fmla="*/ 3939568 w 8009775"/>
              <a:gd name="connsiteY289" fmla="*/ 1629094 h 6858000"/>
              <a:gd name="connsiteX290" fmla="*/ 3945184 w 8009775"/>
              <a:gd name="connsiteY290" fmla="*/ 1627189 h 6858000"/>
              <a:gd name="connsiteX291" fmla="*/ 3950799 w 8009775"/>
              <a:gd name="connsiteY291" fmla="*/ 1625283 h 6858000"/>
              <a:gd name="connsiteX292" fmla="*/ 3956415 w 8009775"/>
              <a:gd name="connsiteY292" fmla="*/ 1623061 h 6858000"/>
              <a:gd name="connsiteX293" fmla="*/ 3961735 w 8009775"/>
              <a:gd name="connsiteY293" fmla="*/ 1620204 h 6858000"/>
              <a:gd name="connsiteX294" fmla="*/ 3967055 w 8009775"/>
              <a:gd name="connsiteY294" fmla="*/ 1617345 h 6858000"/>
              <a:gd name="connsiteX295" fmla="*/ 3972376 w 8009775"/>
              <a:gd name="connsiteY295" fmla="*/ 1613854 h 6858000"/>
              <a:gd name="connsiteX296" fmla="*/ 3977400 w 8009775"/>
              <a:gd name="connsiteY296" fmla="*/ 1610361 h 6858000"/>
              <a:gd name="connsiteX297" fmla="*/ 3982425 w 8009775"/>
              <a:gd name="connsiteY297" fmla="*/ 1606869 h 6858000"/>
              <a:gd name="connsiteX298" fmla="*/ 3986858 w 8009775"/>
              <a:gd name="connsiteY298" fmla="*/ 1602423 h 6858000"/>
              <a:gd name="connsiteX299" fmla="*/ 3991587 w 8009775"/>
              <a:gd name="connsiteY299" fmla="*/ 1598296 h 6858000"/>
              <a:gd name="connsiteX300" fmla="*/ 3996021 w 8009775"/>
              <a:gd name="connsiteY300" fmla="*/ 1593533 h 6858000"/>
              <a:gd name="connsiteX301" fmla="*/ 4000159 w 8009775"/>
              <a:gd name="connsiteY301" fmla="*/ 1588771 h 6858000"/>
              <a:gd name="connsiteX302" fmla="*/ 4003705 w 8009775"/>
              <a:gd name="connsiteY302" fmla="*/ 1583691 h 6858000"/>
              <a:gd name="connsiteX303" fmla="*/ 4007548 w 8009775"/>
              <a:gd name="connsiteY303" fmla="*/ 1578928 h 6858000"/>
              <a:gd name="connsiteX304" fmla="*/ 4010799 w 8009775"/>
              <a:gd name="connsiteY304" fmla="*/ 1573849 h 6858000"/>
              <a:gd name="connsiteX305" fmla="*/ 4013459 w 8009775"/>
              <a:gd name="connsiteY305" fmla="*/ 1568451 h 6858000"/>
              <a:gd name="connsiteX306" fmla="*/ 4016415 w 8009775"/>
              <a:gd name="connsiteY306" fmla="*/ 1563054 h 6858000"/>
              <a:gd name="connsiteX307" fmla="*/ 4018484 w 8009775"/>
              <a:gd name="connsiteY307" fmla="*/ 1557339 h 6858000"/>
              <a:gd name="connsiteX308" fmla="*/ 4020848 w 8009775"/>
              <a:gd name="connsiteY308" fmla="*/ 1551941 h 6858000"/>
              <a:gd name="connsiteX309" fmla="*/ 4022621 w 8009775"/>
              <a:gd name="connsiteY309" fmla="*/ 1546226 h 6858000"/>
              <a:gd name="connsiteX310" fmla="*/ 4024395 w 8009775"/>
              <a:gd name="connsiteY310" fmla="*/ 1540511 h 6858000"/>
              <a:gd name="connsiteX311" fmla="*/ 4025282 w 8009775"/>
              <a:gd name="connsiteY311" fmla="*/ 1534478 h 6858000"/>
              <a:gd name="connsiteX312" fmla="*/ 4026464 w 8009775"/>
              <a:gd name="connsiteY312" fmla="*/ 1528763 h 6858000"/>
              <a:gd name="connsiteX313" fmla="*/ 4027055 w 8009775"/>
              <a:gd name="connsiteY313" fmla="*/ 1522731 h 6858000"/>
              <a:gd name="connsiteX314" fmla="*/ 4027646 w 8009775"/>
              <a:gd name="connsiteY314" fmla="*/ 1517016 h 6858000"/>
              <a:gd name="connsiteX315" fmla="*/ 4027646 w 8009775"/>
              <a:gd name="connsiteY315" fmla="*/ 1510984 h 6858000"/>
              <a:gd name="connsiteX316" fmla="*/ 4027646 w 8009775"/>
              <a:gd name="connsiteY316" fmla="*/ 1505268 h 6858000"/>
              <a:gd name="connsiteX317" fmla="*/ 4027055 w 8009775"/>
              <a:gd name="connsiteY317" fmla="*/ 1499553 h 6858000"/>
              <a:gd name="connsiteX318" fmla="*/ 4026464 w 8009775"/>
              <a:gd name="connsiteY318" fmla="*/ 1493204 h 6858000"/>
              <a:gd name="connsiteX319" fmla="*/ 4025282 w 8009775"/>
              <a:gd name="connsiteY319" fmla="*/ 1487489 h 6858000"/>
              <a:gd name="connsiteX320" fmla="*/ 4024395 w 8009775"/>
              <a:gd name="connsiteY320" fmla="*/ 1481773 h 6858000"/>
              <a:gd name="connsiteX321" fmla="*/ 4022621 w 8009775"/>
              <a:gd name="connsiteY321" fmla="*/ 1476058 h 6858000"/>
              <a:gd name="connsiteX322" fmla="*/ 4020848 w 8009775"/>
              <a:gd name="connsiteY322" fmla="*/ 1470343 h 6858000"/>
              <a:gd name="connsiteX323" fmla="*/ 4018484 w 8009775"/>
              <a:gd name="connsiteY323" fmla="*/ 1464629 h 6858000"/>
              <a:gd name="connsiteX324" fmla="*/ 4016415 w 8009775"/>
              <a:gd name="connsiteY324" fmla="*/ 1459231 h 6858000"/>
              <a:gd name="connsiteX325" fmla="*/ 4013459 w 8009775"/>
              <a:gd name="connsiteY325" fmla="*/ 1453834 h 6858000"/>
              <a:gd name="connsiteX326" fmla="*/ 4010799 w 8009775"/>
              <a:gd name="connsiteY326" fmla="*/ 1448436 h 6858000"/>
              <a:gd name="connsiteX327" fmla="*/ 4007548 w 8009775"/>
              <a:gd name="connsiteY327" fmla="*/ 1443356 h 6858000"/>
              <a:gd name="connsiteX328" fmla="*/ 4003705 w 8009775"/>
              <a:gd name="connsiteY328" fmla="*/ 1438275 h 6858000"/>
              <a:gd name="connsiteX329" fmla="*/ 4000159 w 8009775"/>
              <a:gd name="connsiteY329" fmla="*/ 1433195 h 6858000"/>
              <a:gd name="connsiteX330" fmla="*/ 3996021 w 8009775"/>
              <a:gd name="connsiteY330" fmla="*/ 1428751 h 6858000"/>
              <a:gd name="connsiteX331" fmla="*/ 3991587 w 8009775"/>
              <a:gd name="connsiteY331" fmla="*/ 1423988 h 6858000"/>
              <a:gd name="connsiteX332" fmla="*/ 3323022 w 8009775"/>
              <a:gd name="connsiteY332" fmla="*/ 755333 h 6858000"/>
              <a:gd name="connsiteX333" fmla="*/ 3316815 w 8009775"/>
              <a:gd name="connsiteY333" fmla="*/ 748348 h 6858000"/>
              <a:gd name="connsiteX334" fmla="*/ 3310904 w 8009775"/>
              <a:gd name="connsiteY334" fmla="*/ 741045 h 6858000"/>
              <a:gd name="connsiteX335" fmla="*/ 3305584 w 8009775"/>
              <a:gd name="connsiteY335" fmla="*/ 733108 h 6858000"/>
              <a:gd name="connsiteX336" fmla="*/ 3300855 w 8009775"/>
              <a:gd name="connsiteY336" fmla="*/ 725170 h 6858000"/>
              <a:gd name="connsiteX337" fmla="*/ 3297308 w 8009775"/>
              <a:gd name="connsiteY337" fmla="*/ 716915 h 6858000"/>
              <a:gd name="connsiteX338" fmla="*/ 3293761 w 8009775"/>
              <a:gd name="connsiteY338" fmla="*/ 708660 h 6858000"/>
              <a:gd name="connsiteX339" fmla="*/ 3291101 w 8009775"/>
              <a:gd name="connsiteY339" fmla="*/ 699770 h 6858000"/>
              <a:gd name="connsiteX340" fmla="*/ 3289328 w 8009775"/>
              <a:gd name="connsiteY340" fmla="*/ 691198 h 6858000"/>
              <a:gd name="connsiteX341" fmla="*/ 2596527 w 8009775"/>
              <a:gd name="connsiteY34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8009775" h="6858000">
                <a:moveTo>
                  <a:pt x="2596527" y="0"/>
                </a:moveTo>
                <a:lnTo>
                  <a:pt x="2165004" y="0"/>
                </a:lnTo>
                <a:lnTo>
                  <a:pt x="3265978" y="1101091"/>
                </a:lnTo>
                <a:lnTo>
                  <a:pt x="3270708" y="1105854"/>
                </a:lnTo>
                <a:lnTo>
                  <a:pt x="3274550" y="1110615"/>
                </a:lnTo>
                <a:lnTo>
                  <a:pt x="3278688" y="1115696"/>
                </a:lnTo>
                <a:lnTo>
                  <a:pt x="3282234" y="1120776"/>
                </a:lnTo>
                <a:lnTo>
                  <a:pt x="3285486" y="1126174"/>
                </a:lnTo>
                <a:lnTo>
                  <a:pt x="3288146" y="1131570"/>
                </a:lnTo>
                <a:lnTo>
                  <a:pt x="3291101" y="1136968"/>
                </a:lnTo>
                <a:lnTo>
                  <a:pt x="3293761" y="1142366"/>
                </a:lnTo>
                <a:lnTo>
                  <a:pt x="3295830" y="1148081"/>
                </a:lnTo>
                <a:lnTo>
                  <a:pt x="3297604" y="1153796"/>
                </a:lnTo>
                <a:lnTo>
                  <a:pt x="3299082" y="1159829"/>
                </a:lnTo>
                <a:lnTo>
                  <a:pt x="3300559" y="1165544"/>
                </a:lnTo>
                <a:lnTo>
                  <a:pt x="3301446" y="1171893"/>
                </a:lnTo>
                <a:lnTo>
                  <a:pt x="3302333" y="1177608"/>
                </a:lnTo>
                <a:cubicBezTo>
                  <a:pt x="3302431" y="1179619"/>
                  <a:pt x="3302530" y="1181630"/>
                  <a:pt x="3302628" y="1183641"/>
                </a:cubicBezTo>
                <a:lnTo>
                  <a:pt x="3302628" y="1189356"/>
                </a:lnTo>
                <a:lnTo>
                  <a:pt x="3302628" y="1195388"/>
                </a:lnTo>
                <a:cubicBezTo>
                  <a:pt x="3302530" y="1197505"/>
                  <a:pt x="3302431" y="1199622"/>
                  <a:pt x="3302333" y="1201739"/>
                </a:cubicBezTo>
                <a:lnTo>
                  <a:pt x="3301446" y="1207454"/>
                </a:lnTo>
                <a:lnTo>
                  <a:pt x="3300559" y="1213486"/>
                </a:lnTo>
                <a:lnTo>
                  <a:pt x="3299082" y="1219200"/>
                </a:lnTo>
                <a:lnTo>
                  <a:pt x="3297604" y="1225233"/>
                </a:lnTo>
                <a:lnTo>
                  <a:pt x="3295830" y="1230949"/>
                </a:lnTo>
                <a:lnTo>
                  <a:pt x="3293761" y="1236346"/>
                </a:lnTo>
                <a:lnTo>
                  <a:pt x="3291101" y="1242061"/>
                </a:lnTo>
                <a:lnTo>
                  <a:pt x="3288146" y="1247459"/>
                </a:lnTo>
                <a:lnTo>
                  <a:pt x="3285486" y="1252855"/>
                </a:lnTo>
                <a:lnTo>
                  <a:pt x="3282234" y="1258254"/>
                </a:lnTo>
                <a:lnTo>
                  <a:pt x="3278688" y="1263333"/>
                </a:lnTo>
                <a:lnTo>
                  <a:pt x="3274550" y="1268413"/>
                </a:lnTo>
                <a:lnTo>
                  <a:pt x="3270708" y="1273494"/>
                </a:lnTo>
                <a:lnTo>
                  <a:pt x="3265978" y="1278255"/>
                </a:lnTo>
                <a:lnTo>
                  <a:pt x="3261249" y="1282384"/>
                </a:lnTo>
                <a:lnTo>
                  <a:pt x="3256816" y="1286510"/>
                </a:lnTo>
                <a:lnTo>
                  <a:pt x="3251791" y="1290321"/>
                </a:lnTo>
                <a:lnTo>
                  <a:pt x="3246767" y="1293814"/>
                </a:lnTo>
                <a:lnTo>
                  <a:pt x="3241151" y="1297306"/>
                </a:lnTo>
                <a:lnTo>
                  <a:pt x="3235831" y="1300481"/>
                </a:lnTo>
                <a:lnTo>
                  <a:pt x="3230511" y="1303021"/>
                </a:lnTo>
                <a:lnTo>
                  <a:pt x="3224600" y="1305560"/>
                </a:lnTo>
                <a:lnTo>
                  <a:pt x="3218984" y="1307465"/>
                </a:lnTo>
                <a:lnTo>
                  <a:pt x="3213072" y="1309371"/>
                </a:lnTo>
                <a:lnTo>
                  <a:pt x="3207457" y="1311275"/>
                </a:lnTo>
                <a:lnTo>
                  <a:pt x="3201841" y="1312228"/>
                </a:lnTo>
                <a:lnTo>
                  <a:pt x="3195634" y="1313180"/>
                </a:lnTo>
                <a:lnTo>
                  <a:pt x="3189428" y="1314133"/>
                </a:lnTo>
                <a:lnTo>
                  <a:pt x="3183812" y="1314450"/>
                </a:lnTo>
                <a:lnTo>
                  <a:pt x="3177605" y="1314769"/>
                </a:lnTo>
                <a:lnTo>
                  <a:pt x="3171694" y="1314450"/>
                </a:lnTo>
                <a:lnTo>
                  <a:pt x="3165782" y="1314133"/>
                </a:lnTo>
                <a:lnTo>
                  <a:pt x="3159576" y="1313180"/>
                </a:lnTo>
                <a:lnTo>
                  <a:pt x="3153960" y="1312228"/>
                </a:lnTo>
                <a:lnTo>
                  <a:pt x="3147753" y="1311275"/>
                </a:lnTo>
                <a:lnTo>
                  <a:pt x="3142137" y="1309371"/>
                </a:lnTo>
                <a:lnTo>
                  <a:pt x="3136226" y="1307465"/>
                </a:lnTo>
                <a:lnTo>
                  <a:pt x="3130610" y="1305560"/>
                </a:lnTo>
                <a:lnTo>
                  <a:pt x="3124994" y="1303021"/>
                </a:lnTo>
                <a:lnTo>
                  <a:pt x="3119379" y="1300481"/>
                </a:lnTo>
                <a:lnTo>
                  <a:pt x="3114059" y="1297306"/>
                </a:lnTo>
                <a:lnTo>
                  <a:pt x="3109034" y="1293814"/>
                </a:lnTo>
                <a:lnTo>
                  <a:pt x="3103714" y="1290321"/>
                </a:lnTo>
                <a:lnTo>
                  <a:pt x="3098689" y="1286510"/>
                </a:lnTo>
                <a:lnTo>
                  <a:pt x="3093960" y="1282384"/>
                </a:lnTo>
                <a:lnTo>
                  <a:pt x="3089231" y="1278255"/>
                </a:lnTo>
                <a:lnTo>
                  <a:pt x="1811214" y="0"/>
                </a:lnTo>
                <a:lnTo>
                  <a:pt x="0" y="0"/>
                </a:lnTo>
                <a:lnTo>
                  <a:pt x="0" y="6858000"/>
                </a:lnTo>
                <a:lnTo>
                  <a:pt x="8009775" y="6858000"/>
                </a:lnTo>
                <a:lnTo>
                  <a:pt x="3001744" y="1828166"/>
                </a:lnTo>
                <a:lnTo>
                  <a:pt x="2997311" y="1823404"/>
                </a:lnTo>
                <a:lnTo>
                  <a:pt x="2992878" y="1818640"/>
                </a:lnTo>
                <a:lnTo>
                  <a:pt x="2989331" y="1814195"/>
                </a:lnTo>
                <a:lnTo>
                  <a:pt x="2985784" y="1808799"/>
                </a:lnTo>
                <a:lnTo>
                  <a:pt x="2982533" y="1803718"/>
                </a:lnTo>
                <a:lnTo>
                  <a:pt x="2979873" y="1798321"/>
                </a:lnTo>
                <a:lnTo>
                  <a:pt x="2976917" y="1792924"/>
                </a:lnTo>
                <a:lnTo>
                  <a:pt x="2974552" y="1787526"/>
                </a:lnTo>
                <a:lnTo>
                  <a:pt x="2972484" y="1781811"/>
                </a:lnTo>
                <a:lnTo>
                  <a:pt x="2970710" y="1776095"/>
                </a:lnTo>
                <a:lnTo>
                  <a:pt x="2968937" y="1770380"/>
                </a:lnTo>
                <a:lnTo>
                  <a:pt x="2967755" y="1764665"/>
                </a:lnTo>
                <a:lnTo>
                  <a:pt x="2966868" y="1758634"/>
                </a:lnTo>
                <a:lnTo>
                  <a:pt x="2965981" y="1752919"/>
                </a:lnTo>
                <a:cubicBezTo>
                  <a:pt x="2965883" y="1750908"/>
                  <a:pt x="2965784" y="1748896"/>
                  <a:pt x="2965686" y="1746885"/>
                </a:cubicBezTo>
                <a:lnTo>
                  <a:pt x="2965686" y="1741170"/>
                </a:lnTo>
                <a:lnTo>
                  <a:pt x="2965686" y="1735139"/>
                </a:lnTo>
                <a:cubicBezTo>
                  <a:pt x="2965784" y="1733234"/>
                  <a:pt x="2965883" y="1731329"/>
                  <a:pt x="2965981" y="1729424"/>
                </a:cubicBezTo>
                <a:lnTo>
                  <a:pt x="2966868" y="1723074"/>
                </a:lnTo>
                <a:lnTo>
                  <a:pt x="2967755" y="1717358"/>
                </a:lnTo>
                <a:lnTo>
                  <a:pt x="2968937" y="1711643"/>
                </a:lnTo>
                <a:lnTo>
                  <a:pt x="2970710" y="1705929"/>
                </a:lnTo>
                <a:lnTo>
                  <a:pt x="2972484" y="1700214"/>
                </a:lnTo>
                <a:lnTo>
                  <a:pt x="2974552" y="1694816"/>
                </a:lnTo>
                <a:lnTo>
                  <a:pt x="2976917" y="1689101"/>
                </a:lnTo>
                <a:lnTo>
                  <a:pt x="2979873" y="1683703"/>
                </a:lnTo>
                <a:lnTo>
                  <a:pt x="2982533" y="1678305"/>
                </a:lnTo>
                <a:lnTo>
                  <a:pt x="2985784" y="1673226"/>
                </a:lnTo>
                <a:lnTo>
                  <a:pt x="2989331" y="1668145"/>
                </a:lnTo>
                <a:lnTo>
                  <a:pt x="2992878" y="1663066"/>
                </a:lnTo>
                <a:lnTo>
                  <a:pt x="2997311" y="1658621"/>
                </a:lnTo>
                <a:lnTo>
                  <a:pt x="3001744" y="1653859"/>
                </a:lnTo>
                <a:lnTo>
                  <a:pt x="3006178" y="1649414"/>
                </a:lnTo>
                <a:lnTo>
                  <a:pt x="3010907" y="1645603"/>
                </a:lnTo>
                <a:lnTo>
                  <a:pt x="3015932" y="1641794"/>
                </a:lnTo>
                <a:lnTo>
                  <a:pt x="3020956" y="1637984"/>
                </a:lnTo>
                <a:lnTo>
                  <a:pt x="3025981" y="1634809"/>
                </a:lnTo>
                <a:lnTo>
                  <a:pt x="3031596" y="1631950"/>
                </a:lnTo>
                <a:lnTo>
                  <a:pt x="3036916" y="1629094"/>
                </a:lnTo>
                <a:lnTo>
                  <a:pt x="3042532" y="1626871"/>
                </a:lnTo>
                <a:lnTo>
                  <a:pt x="3047852" y="1624649"/>
                </a:lnTo>
                <a:lnTo>
                  <a:pt x="3053764" y="1623061"/>
                </a:lnTo>
                <a:lnTo>
                  <a:pt x="3059379" y="1621155"/>
                </a:lnTo>
                <a:lnTo>
                  <a:pt x="3065291" y="1620204"/>
                </a:lnTo>
                <a:lnTo>
                  <a:pt x="3070906" y="1618934"/>
                </a:lnTo>
                <a:lnTo>
                  <a:pt x="3077113" y="1618299"/>
                </a:lnTo>
                <a:lnTo>
                  <a:pt x="3082729" y="1617981"/>
                </a:lnTo>
                <a:lnTo>
                  <a:pt x="3088936" y="1617981"/>
                </a:lnTo>
                <a:lnTo>
                  <a:pt x="3094552" y="1617981"/>
                </a:lnTo>
                <a:lnTo>
                  <a:pt x="3100758" y="1618299"/>
                </a:lnTo>
                <a:lnTo>
                  <a:pt x="3106670" y="1618934"/>
                </a:lnTo>
                <a:lnTo>
                  <a:pt x="3112285" y="1620204"/>
                </a:lnTo>
                <a:lnTo>
                  <a:pt x="3117901" y="1621155"/>
                </a:lnTo>
                <a:lnTo>
                  <a:pt x="3123812" y="1623061"/>
                </a:lnTo>
                <a:lnTo>
                  <a:pt x="3129428" y="1624649"/>
                </a:lnTo>
                <a:lnTo>
                  <a:pt x="3135339" y="1626871"/>
                </a:lnTo>
                <a:lnTo>
                  <a:pt x="3140660" y="1629094"/>
                </a:lnTo>
                <a:lnTo>
                  <a:pt x="3145980" y="1631950"/>
                </a:lnTo>
                <a:lnTo>
                  <a:pt x="3151300" y="1634809"/>
                </a:lnTo>
                <a:lnTo>
                  <a:pt x="3156324" y="1637984"/>
                </a:lnTo>
                <a:lnTo>
                  <a:pt x="3161349" y="1641794"/>
                </a:lnTo>
                <a:lnTo>
                  <a:pt x="3166374" y="1645603"/>
                </a:lnTo>
                <a:lnTo>
                  <a:pt x="3171102" y="1649414"/>
                </a:lnTo>
                <a:lnTo>
                  <a:pt x="3175832" y="1653859"/>
                </a:lnTo>
                <a:lnTo>
                  <a:pt x="3844692" y="2322830"/>
                </a:lnTo>
                <a:lnTo>
                  <a:pt x="3849421" y="2326958"/>
                </a:lnTo>
                <a:lnTo>
                  <a:pt x="3854150" y="2331085"/>
                </a:lnTo>
                <a:lnTo>
                  <a:pt x="3859175" y="2334895"/>
                </a:lnTo>
                <a:lnTo>
                  <a:pt x="3864199" y="2338705"/>
                </a:lnTo>
                <a:lnTo>
                  <a:pt x="3869224" y="2341880"/>
                </a:lnTo>
                <a:lnTo>
                  <a:pt x="3874544" y="2344738"/>
                </a:lnTo>
                <a:lnTo>
                  <a:pt x="3879864" y="2347595"/>
                </a:lnTo>
                <a:lnTo>
                  <a:pt x="3885775" y="2349818"/>
                </a:lnTo>
                <a:lnTo>
                  <a:pt x="3891096" y="2351723"/>
                </a:lnTo>
                <a:lnTo>
                  <a:pt x="3896711" y="2353628"/>
                </a:lnTo>
                <a:lnTo>
                  <a:pt x="3902623" y="2355534"/>
                </a:lnTo>
                <a:lnTo>
                  <a:pt x="3908238" y="2356485"/>
                </a:lnTo>
                <a:lnTo>
                  <a:pt x="3914150" y="2357755"/>
                </a:lnTo>
                <a:lnTo>
                  <a:pt x="3920061" y="2358391"/>
                </a:lnTo>
                <a:lnTo>
                  <a:pt x="3925972" y="2358708"/>
                </a:lnTo>
                <a:lnTo>
                  <a:pt x="3931883" y="2358708"/>
                </a:lnTo>
                <a:lnTo>
                  <a:pt x="3937795" y="2358708"/>
                </a:lnTo>
                <a:lnTo>
                  <a:pt x="3943706" y="2358391"/>
                </a:lnTo>
                <a:lnTo>
                  <a:pt x="3949617" y="2357755"/>
                </a:lnTo>
                <a:lnTo>
                  <a:pt x="3955233" y="2356485"/>
                </a:lnTo>
                <a:lnTo>
                  <a:pt x="3961144" y="2355534"/>
                </a:lnTo>
                <a:lnTo>
                  <a:pt x="3966760" y="2353628"/>
                </a:lnTo>
                <a:lnTo>
                  <a:pt x="3972671" y="2351723"/>
                </a:lnTo>
                <a:lnTo>
                  <a:pt x="3978287" y="2349818"/>
                </a:lnTo>
                <a:lnTo>
                  <a:pt x="3983607" y="2347595"/>
                </a:lnTo>
                <a:lnTo>
                  <a:pt x="3989223" y="2344738"/>
                </a:lnTo>
                <a:lnTo>
                  <a:pt x="3994543" y="2341880"/>
                </a:lnTo>
                <a:lnTo>
                  <a:pt x="3999567" y="2338705"/>
                </a:lnTo>
                <a:lnTo>
                  <a:pt x="4004888" y="2334895"/>
                </a:lnTo>
                <a:lnTo>
                  <a:pt x="4009617" y="2331085"/>
                </a:lnTo>
                <a:lnTo>
                  <a:pt x="4014346" y="2326958"/>
                </a:lnTo>
                <a:lnTo>
                  <a:pt x="4018779" y="2322830"/>
                </a:lnTo>
                <a:lnTo>
                  <a:pt x="4023213" y="2318068"/>
                </a:lnTo>
                <a:lnTo>
                  <a:pt x="4027646" y="2313306"/>
                </a:lnTo>
                <a:lnTo>
                  <a:pt x="4031193" y="2308544"/>
                </a:lnTo>
                <a:lnTo>
                  <a:pt x="4034740" y="2303463"/>
                </a:lnTo>
                <a:lnTo>
                  <a:pt x="4037991" y="2298384"/>
                </a:lnTo>
                <a:lnTo>
                  <a:pt x="4040946" y="2292985"/>
                </a:lnTo>
                <a:lnTo>
                  <a:pt x="4043606" y="2287588"/>
                </a:lnTo>
                <a:lnTo>
                  <a:pt x="4046267" y="2281873"/>
                </a:lnTo>
                <a:lnTo>
                  <a:pt x="4048040" y="2276476"/>
                </a:lnTo>
                <a:lnTo>
                  <a:pt x="4050109" y="2270761"/>
                </a:lnTo>
                <a:lnTo>
                  <a:pt x="4051587" y="2265046"/>
                </a:lnTo>
                <a:lnTo>
                  <a:pt x="4052769" y="2259331"/>
                </a:lnTo>
                <a:lnTo>
                  <a:pt x="4053656" y="2253298"/>
                </a:lnTo>
                <a:lnTo>
                  <a:pt x="4054542" y="2247266"/>
                </a:lnTo>
                <a:cubicBezTo>
                  <a:pt x="4054641" y="2245362"/>
                  <a:pt x="4054739" y="2243456"/>
                  <a:pt x="4054838" y="2241551"/>
                </a:cubicBezTo>
                <a:cubicBezTo>
                  <a:pt x="4054936" y="2239540"/>
                  <a:pt x="4055035" y="2237530"/>
                  <a:pt x="4055133" y="2235519"/>
                </a:cubicBezTo>
                <a:cubicBezTo>
                  <a:pt x="4055035" y="2233614"/>
                  <a:pt x="4054936" y="2231709"/>
                  <a:pt x="4054838" y="2229804"/>
                </a:cubicBezTo>
                <a:cubicBezTo>
                  <a:pt x="4054739" y="2227793"/>
                  <a:pt x="4054641" y="2225781"/>
                  <a:pt x="4054542" y="2223770"/>
                </a:cubicBezTo>
                <a:lnTo>
                  <a:pt x="4053656" y="2217739"/>
                </a:lnTo>
                <a:lnTo>
                  <a:pt x="4052769" y="2212024"/>
                </a:lnTo>
                <a:lnTo>
                  <a:pt x="4051587" y="2206309"/>
                </a:lnTo>
                <a:lnTo>
                  <a:pt x="4050109" y="2200593"/>
                </a:lnTo>
                <a:lnTo>
                  <a:pt x="4048040" y="2194878"/>
                </a:lnTo>
                <a:lnTo>
                  <a:pt x="4046267" y="2189163"/>
                </a:lnTo>
                <a:lnTo>
                  <a:pt x="4043606" y="2183765"/>
                </a:lnTo>
                <a:lnTo>
                  <a:pt x="4040946" y="2178368"/>
                </a:lnTo>
                <a:lnTo>
                  <a:pt x="4037991" y="2172970"/>
                </a:lnTo>
                <a:lnTo>
                  <a:pt x="4034740" y="2167890"/>
                </a:lnTo>
                <a:lnTo>
                  <a:pt x="4031193" y="2162494"/>
                </a:lnTo>
                <a:lnTo>
                  <a:pt x="4027646" y="2157730"/>
                </a:lnTo>
                <a:lnTo>
                  <a:pt x="4023213" y="2153285"/>
                </a:lnTo>
                <a:lnTo>
                  <a:pt x="4018779" y="2148523"/>
                </a:lnTo>
                <a:lnTo>
                  <a:pt x="3632182" y="1761490"/>
                </a:lnTo>
                <a:lnTo>
                  <a:pt x="3435928" y="1565276"/>
                </a:lnTo>
                <a:lnTo>
                  <a:pt x="3431198" y="1560514"/>
                </a:lnTo>
                <a:lnTo>
                  <a:pt x="3427356" y="1555751"/>
                </a:lnTo>
                <a:lnTo>
                  <a:pt x="3423218" y="1550671"/>
                </a:lnTo>
                <a:lnTo>
                  <a:pt x="3420262" y="1545909"/>
                </a:lnTo>
                <a:lnTo>
                  <a:pt x="3417012" y="1540829"/>
                </a:lnTo>
                <a:lnTo>
                  <a:pt x="3413760" y="1535430"/>
                </a:lnTo>
                <a:lnTo>
                  <a:pt x="3411100" y="1530034"/>
                </a:lnTo>
                <a:lnTo>
                  <a:pt x="3408736" y="1524635"/>
                </a:lnTo>
                <a:lnTo>
                  <a:pt x="3406371" y="1518920"/>
                </a:lnTo>
                <a:lnTo>
                  <a:pt x="3404598" y="1513205"/>
                </a:lnTo>
                <a:lnTo>
                  <a:pt x="3403120" y="1507174"/>
                </a:lnTo>
                <a:lnTo>
                  <a:pt x="3401938" y="1501459"/>
                </a:lnTo>
                <a:lnTo>
                  <a:pt x="3401051" y="1495744"/>
                </a:lnTo>
                <a:lnTo>
                  <a:pt x="3400460" y="1489710"/>
                </a:lnTo>
                <a:lnTo>
                  <a:pt x="3399869" y="1483995"/>
                </a:lnTo>
                <a:cubicBezTo>
                  <a:pt x="3399770" y="1482090"/>
                  <a:pt x="3399672" y="1480186"/>
                  <a:pt x="3399573" y="1478281"/>
                </a:cubicBezTo>
                <a:cubicBezTo>
                  <a:pt x="3399672" y="1476270"/>
                  <a:pt x="3399770" y="1474260"/>
                  <a:pt x="3399869" y="1472249"/>
                </a:cubicBezTo>
                <a:lnTo>
                  <a:pt x="3400460" y="1466215"/>
                </a:lnTo>
                <a:lnTo>
                  <a:pt x="3401051" y="1460183"/>
                </a:lnTo>
                <a:lnTo>
                  <a:pt x="3401938" y="1454468"/>
                </a:lnTo>
                <a:lnTo>
                  <a:pt x="3403120" y="1448754"/>
                </a:lnTo>
                <a:lnTo>
                  <a:pt x="3404598" y="1443039"/>
                </a:lnTo>
                <a:lnTo>
                  <a:pt x="3406371" y="1437324"/>
                </a:lnTo>
                <a:lnTo>
                  <a:pt x="3408736" y="1431609"/>
                </a:lnTo>
                <a:lnTo>
                  <a:pt x="3411100" y="1426211"/>
                </a:lnTo>
                <a:lnTo>
                  <a:pt x="3413760" y="1420814"/>
                </a:lnTo>
                <a:lnTo>
                  <a:pt x="3417012" y="1415416"/>
                </a:lnTo>
                <a:lnTo>
                  <a:pt x="3420262" y="1410336"/>
                </a:lnTo>
                <a:lnTo>
                  <a:pt x="3423218" y="1405256"/>
                </a:lnTo>
                <a:lnTo>
                  <a:pt x="3427356" y="1400175"/>
                </a:lnTo>
                <a:lnTo>
                  <a:pt x="3431198" y="1395731"/>
                </a:lnTo>
                <a:lnTo>
                  <a:pt x="3435928" y="1390969"/>
                </a:lnTo>
                <a:lnTo>
                  <a:pt x="3440361" y="1386524"/>
                </a:lnTo>
                <a:lnTo>
                  <a:pt x="3445386" y="1382396"/>
                </a:lnTo>
                <a:lnTo>
                  <a:pt x="3449819" y="1378585"/>
                </a:lnTo>
                <a:lnTo>
                  <a:pt x="3454844" y="1375094"/>
                </a:lnTo>
                <a:lnTo>
                  <a:pt x="3460459" y="1371919"/>
                </a:lnTo>
                <a:lnTo>
                  <a:pt x="3465780" y="1369061"/>
                </a:lnTo>
                <a:lnTo>
                  <a:pt x="3471100" y="1366204"/>
                </a:lnTo>
                <a:lnTo>
                  <a:pt x="3476420" y="1363980"/>
                </a:lnTo>
                <a:lnTo>
                  <a:pt x="3482331" y="1361759"/>
                </a:lnTo>
                <a:lnTo>
                  <a:pt x="3487947" y="1360170"/>
                </a:lnTo>
                <a:lnTo>
                  <a:pt x="3493858" y="1358265"/>
                </a:lnTo>
                <a:lnTo>
                  <a:pt x="3499474" y="1357314"/>
                </a:lnTo>
                <a:lnTo>
                  <a:pt x="3505385" y="1356043"/>
                </a:lnTo>
                <a:lnTo>
                  <a:pt x="3511001" y="1355409"/>
                </a:lnTo>
                <a:lnTo>
                  <a:pt x="3517208" y="1355090"/>
                </a:lnTo>
                <a:lnTo>
                  <a:pt x="3522823" y="1354773"/>
                </a:lnTo>
                <a:lnTo>
                  <a:pt x="3529030" y="1355090"/>
                </a:lnTo>
                <a:lnTo>
                  <a:pt x="3534646" y="1355409"/>
                </a:lnTo>
                <a:lnTo>
                  <a:pt x="3540557" y="1356043"/>
                </a:lnTo>
                <a:lnTo>
                  <a:pt x="3546468" y="1357314"/>
                </a:lnTo>
                <a:lnTo>
                  <a:pt x="3552380" y="1358265"/>
                </a:lnTo>
                <a:lnTo>
                  <a:pt x="3557995" y="1360170"/>
                </a:lnTo>
                <a:lnTo>
                  <a:pt x="3563906" y="1361759"/>
                </a:lnTo>
                <a:lnTo>
                  <a:pt x="3569227" y="1363980"/>
                </a:lnTo>
                <a:lnTo>
                  <a:pt x="3574842" y="1366204"/>
                </a:lnTo>
                <a:lnTo>
                  <a:pt x="3580458" y="1369061"/>
                </a:lnTo>
                <a:lnTo>
                  <a:pt x="3585778" y="1371919"/>
                </a:lnTo>
                <a:lnTo>
                  <a:pt x="3590803" y="1375094"/>
                </a:lnTo>
                <a:lnTo>
                  <a:pt x="3595828" y="1378585"/>
                </a:lnTo>
                <a:lnTo>
                  <a:pt x="3600852" y="1382396"/>
                </a:lnTo>
                <a:lnTo>
                  <a:pt x="3605581" y="1386524"/>
                </a:lnTo>
                <a:lnTo>
                  <a:pt x="3610014" y="1390969"/>
                </a:lnTo>
                <a:lnTo>
                  <a:pt x="3817500" y="1598296"/>
                </a:lnTo>
                <a:lnTo>
                  <a:pt x="3821934" y="1602423"/>
                </a:lnTo>
                <a:lnTo>
                  <a:pt x="3826663" y="1606869"/>
                </a:lnTo>
                <a:lnTo>
                  <a:pt x="3831687" y="1610361"/>
                </a:lnTo>
                <a:lnTo>
                  <a:pt x="3836712" y="1613854"/>
                </a:lnTo>
                <a:lnTo>
                  <a:pt x="3841736" y="1617345"/>
                </a:lnTo>
                <a:lnTo>
                  <a:pt x="3847352" y="1620204"/>
                </a:lnTo>
                <a:lnTo>
                  <a:pt x="3852672" y="1623061"/>
                </a:lnTo>
                <a:lnTo>
                  <a:pt x="3857992" y="1625283"/>
                </a:lnTo>
                <a:lnTo>
                  <a:pt x="3863608" y="1627189"/>
                </a:lnTo>
                <a:lnTo>
                  <a:pt x="3869519" y="1629094"/>
                </a:lnTo>
                <a:lnTo>
                  <a:pt x="3875135" y="1630998"/>
                </a:lnTo>
                <a:lnTo>
                  <a:pt x="3881046" y="1631950"/>
                </a:lnTo>
                <a:lnTo>
                  <a:pt x="3886662" y="1632904"/>
                </a:lnTo>
                <a:lnTo>
                  <a:pt x="3892869" y="1633856"/>
                </a:lnTo>
                <a:lnTo>
                  <a:pt x="3898485" y="1634174"/>
                </a:lnTo>
                <a:lnTo>
                  <a:pt x="3904396" y="1634174"/>
                </a:lnTo>
                <a:lnTo>
                  <a:pt x="3910307" y="1634174"/>
                </a:lnTo>
                <a:lnTo>
                  <a:pt x="3916219" y="1633856"/>
                </a:lnTo>
                <a:lnTo>
                  <a:pt x="3922425" y="1632904"/>
                </a:lnTo>
                <a:lnTo>
                  <a:pt x="3928041" y="1631950"/>
                </a:lnTo>
                <a:lnTo>
                  <a:pt x="3933657" y="1630998"/>
                </a:lnTo>
                <a:lnTo>
                  <a:pt x="3939568" y="1629094"/>
                </a:lnTo>
                <a:lnTo>
                  <a:pt x="3945184" y="1627189"/>
                </a:lnTo>
                <a:lnTo>
                  <a:pt x="3950799" y="1625283"/>
                </a:lnTo>
                <a:lnTo>
                  <a:pt x="3956415" y="1623061"/>
                </a:lnTo>
                <a:lnTo>
                  <a:pt x="3961735" y="1620204"/>
                </a:lnTo>
                <a:lnTo>
                  <a:pt x="3967055" y="1617345"/>
                </a:lnTo>
                <a:lnTo>
                  <a:pt x="3972376" y="1613854"/>
                </a:lnTo>
                <a:lnTo>
                  <a:pt x="3977400" y="1610361"/>
                </a:lnTo>
                <a:lnTo>
                  <a:pt x="3982425" y="1606869"/>
                </a:lnTo>
                <a:lnTo>
                  <a:pt x="3986858" y="1602423"/>
                </a:lnTo>
                <a:lnTo>
                  <a:pt x="3991587" y="1598296"/>
                </a:lnTo>
                <a:lnTo>
                  <a:pt x="3996021" y="1593533"/>
                </a:lnTo>
                <a:lnTo>
                  <a:pt x="4000159" y="1588771"/>
                </a:lnTo>
                <a:lnTo>
                  <a:pt x="4003705" y="1583691"/>
                </a:lnTo>
                <a:lnTo>
                  <a:pt x="4007548" y="1578928"/>
                </a:lnTo>
                <a:lnTo>
                  <a:pt x="4010799" y="1573849"/>
                </a:lnTo>
                <a:lnTo>
                  <a:pt x="4013459" y="1568451"/>
                </a:lnTo>
                <a:lnTo>
                  <a:pt x="4016415" y="1563054"/>
                </a:lnTo>
                <a:lnTo>
                  <a:pt x="4018484" y="1557339"/>
                </a:lnTo>
                <a:lnTo>
                  <a:pt x="4020848" y="1551941"/>
                </a:lnTo>
                <a:lnTo>
                  <a:pt x="4022621" y="1546226"/>
                </a:lnTo>
                <a:lnTo>
                  <a:pt x="4024395" y="1540511"/>
                </a:lnTo>
                <a:lnTo>
                  <a:pt x="4025282" y="1534478"/>
                </a:lnTo>
                <a:lnTo>
                  <a:pt x="4026464" y="1528763"/>
                </a:lnTo>
                <a:lnTo>
                  <a:pt x="4027055" y="1522731"/>
                </a:lnTo>
                <a:lnTo>
                  <a:pt x="4027646" y="1517016"/>
                </a:lnTo>
                <a:lnTo>
                  <a:pt x="4027646" y="1510984"/>
                </a:lnTo>
                <a:lnTo>
                  <a:pt x="4027646" y="1505268"/>
                </a:lnTo>
                <a:lnTo>
                  <a:pt x="4027055" y="1499553"/>
                </a:lnTo>
                <a:lnTo>
                  <a:pt x="4026464" y="1493204"/>
                </a:lnTo>
                <a:lnTo>
                  <a:pt x="4025282" y="1487489"/>
                </a:lnTo>
                <a:lnTo>
                  <a:pt x="4024395" y="1481773"/>
                </a:lnTo>
                <a:lnTo>
                  <a:pt x="4022621" y="1476058"/>
                </a:lnTo>
                <a:lnTo>
                  <a:pt x="4020848" y="1470343"/>
                </a:lnTo>
                <a:lnTo>
                  <a:pt x="4018484" y="1464629"/>
                </a:lnTo>
                <a:lnTo>
                  <a:pt x="4016415" y="1459231"/>
                </a:lnTo>
                <a:lnTo>
                  <a:pt x="4013459" y="1453834"/>
                </a:lnTo>
                <a:lnTo>
                  <a:pt x="4010799" y="1448436"/>
                </a:lnTo>
                <a:lnTo>
                  <a:pt x="4007548" y="1443356"/>
                </a:lnTo>
                <a:lnTo>
                  <a:pt x="4003705" y="1438275"/>
                </a:lnTo>
                <a:lnTo>
                  <a:pt x="4000159" y="1433195"/>
                </a:lnTo>
                <a:lnTo>
                  <a:pt x="3996021" y="1428751"/>
                </a:lnTo>
                <a:lnTo>
                  <a:pt x="3991587" y="1423988"/>
                </a:lnTo>
                <a:lnTo>
                  <a:pt x="3323022" y="755333"/>
                </a:lnTo>
                <a:lnTo>
                  <a:pt x="3316815" y="748348"/>
                </a:lnTo>
                <a:lnTo>
                  <a:pt x="3310904" y="741045"/>
                </a:lnTo>
                <a:lnTo>
                  <a:pt x="3305584" y="733108"/>
                </a:lnTo>
                <a:lnTo>
                  <a:pt x="3300855" y="725170"/>
                </a:lnTo>
                <a:lnTo>
                  <a:pt x="3297308" y="716915"/>
                </a:lnTo>
                <a:lnTo>
                  <a:pt x="3293761" y="708660"/>
                </a:lnTo>
                <a:lnTo>
                  <a:pt x="3291101" y="699770"/>
                </a:lnTo>
                <a:lnTo>
                  <a:pt x="3289328" y="691198"/>
                </a:lnTo>
                <a:lnTo>
                  <a:pt x="2596527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3500000" scaled="1"/>
          </a:gra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  <a:noAutofit/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5FFD27D7-FEE3-4A38-ADDC-B39156DF7F4D}"/>
              </a:ext>
            </a:extLst>
          </p:cNvPr>
          <p:cNvSpPr>
            <a:spLocks/>
          </p:cNvSpPr>
          <p:nvPr userDrawn="1"/>
        </p:nvSpPr>
        <p:spPr bwMode="auto">
          <a:xfrm flipH="1">
            <a:off x="3810998" y="6716396"/>
            <a:ext cx="3560656" cy="2884805"/>
          </a:xfrm>
          <a:custGeom>
            <a:avLst/>
            <a:gdLst>
              <a:gd name="T0" fmla="*/ 156 w 8608"/>
              <a:gd name="T1" fmla="*/ 1515 h 6490"/>
              <a:gd name="T2" fmla="*/ 226 w 8608"/>
              <a:gd name="T3" fmla="*/ 1472 h 6490"/>
              <a:gd name="T4" fmla="*/ 303 w 8608"/>
              <a:gd name="T5" fmla="*/ 1444 h 6490"/>
              <a:gd name="T6" fmla="*/ 382 w 8608"/>
              <a:gd name="T7" fmla="*/ 1429 h 6490"/>
              <a:gd name="T8" fmla="*/ 463 w 8608"/>
              <a:gd name="T9" fmla="*/ 1429 h 6490"/>
              <a:gd name="T10" fmla="*/ 542 w 8608"/>
              <a:gd name="T11" fmla="*/ 1444 h 6490"/>
              <a:gd name="T12" fmla="*/ 619 w 8608"/>
              <a:gd name="T13" fmla="*/ 1472 h 6490"/>
              <a:gd name="T14" fmla="*/ 689 w 8608"/>
              <a:gd name="T15" fmla="*/ 1515 h 6490"/>
              <a:gd name="T16" fmla="*/ 3176 w 8608"/>
              <a:gd name="T17" fmla="*/ 3828 h 6490"/>
              <a:gd name="T18" fmla="*/ 3243 w 8608"/>
              <a:gd name="T19" fmla="*/ 3879 h 6490"/>
              <a:gd name="T20" fmla="*/ 3316 w 8608"/>
              <a:gd name="T21" fmla="*/ 3915 h 6490"/>
              <a:gd name="T22" fmla="*/ 3393 w 8608"/>
              <a:gd name="T23" fmla="*/ 3936 h 6490"/>
              <a:gd name="T24" fmla="*/ 3475 w 8608"/>
              <a:gd name="T25" fmla="*/ 3943 h 6490"/>
              <a:gd name="T26" fmla="*/ 3555 w 8608"/>
              <a:gd name="T27" fmla="*/ 3936 h 6490"/>
              <a:gd name="T28" fmla="*/ 3633 w 8608"/>
              <a:gd name="T29" fmla="*/ 3915 h 6490"/>
              <a:gd name="T30" fmla="*/ 3706 w 8608"/>
              <a:gd name="T31" fmla="*/ 3879 h 6490"/>
              <a:gd name="T32" fmla="*/ 3772 w 8608"/>
              <a:gd name="T33" fmla="*/ 3828 h 6490"/>
              <a:gd name="T34" fmla="*/ 3814 w 8608"/>
              <a:gd name="T35" fmla="*/ 3783 h 6490"/>
              <a:gd name="T36" fmla="*/ 3856 w 8608"/>
              <a:gd name="T37" fmla="*/ 3716 h 6490"/>
              <a:gd name="T38" fmla="*/ 3884 w 8608"/>
              <a:gd name="T39" fmla="*/ 3644 h 6490"/>
              <a:gd name="T40" fmla="*/ 3895 w 8608"/>
              <a:gd name="T41" fmla="*/ 3570 h 6490"/>
              <a:gd name="T42" fmla="*/ 3892 w 8608"/>
              <a:gd name="T43" fmla="*/ 3494 h 6490"/>
              <a:gd name="T44" fmla="*/ 3872 w 8608"/>
              <a:gd name="T45" fmla="*/ 3420 h 6490"/>
              <a:gd name="T46" fmla="*/ 3838 w 8608"/>
              <a:gd name="T47" fmla="*/ 3351 h 6490"/>
              <a:gd name="T48" fmla="*/ 3787 w 8608"/>
              <a:gd name="T49" fmla="*/ 3288 h 6490"/>
              <a:gd name="T50" fmla="*/ 963 w 8608"/>
              <a:gd name="T51" fmla="*/ 656 h 6490"/>
              <a:gd name="T52" fmla="*/ 913 w 8608"/>
              <a:gd name="T53" fmla="*/ 593 h 6490"/>
              <a:gd name="T54" fmla="*/ 878 w 8608"/>
              <a:gd name="T55" fmla="*/ 523 h 6490"/>
              <a:gd name="T56" fmla="*/ 858 w 8608"/>
              <a:gd name="T57" fmla="*/ 449 h 6490"/>
              <a:gd name="T58" fmla="*/ 854 w 8608"/>
              <a:gd name="T59" fmla="*/ 375 h 6490"/>
              <a:gd name="T60" fmla="*/ 865 w 8608"/>
              <a:gd name="T61" fmla="*/ 300 h 6490"/>
              <a:gd name="T62" fmla="*/ 893 w 8608"/>
              <a:gd name="T63" fmla="*/ 228 h 6490"/>
              <a:gd name="T64" fmla="*/ 936 w 8608"/>
              <a:gd name="T65" fmla="*/ 161 h 6490"/>
              <a:gd name="T66" fmla="*/ 977 w 8608"/>
              <a:gd name="T67" fmla="*/ 116 h 6490"/>
              <a:gd name="T68" fmla="*/ 1044 w 8608"/>
              <a:gd name="T69" fmla="*/ 66 h 6490"/>
              <a:gd name="T70" fmla="*/ 1117 w 8608"/>
              <a:gd name="T71" fmla="*/ 30 h 6490"/>
              <a:gd name="T72" fmla="*/ 1195 w 8608"/>
              <a:gd name="T73" fmla="*/ 8 h 6490"/>
              <a:gd name="T74" fmla="*/ 1276 w 8608"/>
              <a:gd name="T75" fmla="*/ 0 h 6490"/>
              <a:gd name="T76" fmla="*/ 1356 w 8608"/>
              <a:gd name="T77" fmla="*/ 8 h 6490"/>
              <a:gd name="T78" fmla="*/ 1434 w 8608"/>
              <a:gd name="T79" fmla="*/ 30 h 6490"/>
              <a:gd name="T80" fmla="*/ 1508 w 8608"/>
              <a:gd name="T81" fmla="*/ 66 h 6490"/>
              <a:gd name="T82" fmla="*/ 1574 w 8608"/>
              <a:gd name="T83" fmla="*/ 116 h 6490"/>
              <a:gd name="T84" fmla="*/ 3679 w 8608"/>
              <a:gd name="T85" fmla="*/ 2073 h 6490"/>
              <a:gd name="T86" fmla="*/ 3749 w 8608"/>
              <a:gd name="T87" fmla="*/ 2116 h 6490"/>
              <a:gd name="T88" fmla="*/ 3826 w 8608"/>
              <a:gd name="T89" fmla="*/ 2145 h 6490"/>
              <a:gd name="T90" fmla="*/ 3906 w 8608"/>
              <a:gd name="T91" fmla="*/ 2159 h 6490"/>
              <a:gd name="T92" fmla="*/ 4842 w 8608"/>
              <a:gd name="T93" fmla="*/ 6490 h 6490"/>
              <a:gd name="T94" fmla="*/ 95 w 8608"/>
              <a:gd name="T95" fmla="*/ 2068 h 6490"/>
              <a:gd name="T96" fmla="*/ 49 w 8608"/>
              <a:gd name="T97" fmla="*/ 2003 h 6490"/>
              <a:gd name="T98" fmla="*/ 18 w 8608"/>
              <a:gd name="T99" fmla="*/ 1931 h 6490"/>
              <a:gd name="T100" fmla="*/ 2 w 8608"/>
              <a:gd name="T101" fmla="*/ 1858 h 6490"/>
              <a:gd name="T102" fmla="*/ 2 w 8608"/>
              <a:gd name="T103" fmla="*/ 1782 h 6490"/>
              <a:gd name="T104" fmla="*/ 18 w 8608"/>
              <a:gd name="T105" fmla="*/ 1709 h 6490"/>
              <a:gd name="T106" fmla="*/ 49 w 8608"/>
              <a:gd name="T107" fmla="*/ 1637 h 6490"/>
              <a:gd name="T108" fmla="*/ 95 w 8608"/>
              <a:gd name="T109" fmla="*/ 1572 h 6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608" h="6490">
                <a:moveTo>
                  <a:pt x="124" y="1542"/>
                </a:moveTo>
                <a:lnTo>
                  <a:pt x="124" y="1542"/>
                </a:lnTo>
                <a:lnTo>
                  <a:pt x="140" y="1529"/>
                </a:lnTo>
                <a:lnTo>
                  <a:pt x="156" y="1515"/>
                </a:lnTo>
                <a:lnTo>
                  <a:pt x="173" y="1504"/>
                </a:lnTo>
                <a:lnTo>
                  <a:pt x="191" y="1493"/>
                </a:lnTo>
                <a:lnTo>
                  <a:pt x="208" y="1482"/>
                </a:lnTo>
                <a:lnTo>
                  <a:pt x="226" y="1472"/>
                </a:lnTo>
                <a:lnTo>
                  <a:pt x="244" y="1464"/>
                </a:lnTo>
                <a:lnTo>
                  <a:pt x="264" y="1456"/>
                </a:lnTo>
                <a:lnTo>
                  <a:pt x="283" y="1450"/>
                </a:lnTo>
                <a:lnTo>
                  <a:pt x="303" y="1444"/>
                </a:lnTo>
                <a:lnTo>
                  <a:pt x="322" y="1438"/>
                </a:lnTo>
                <a:lnTo>
                  <a:pt x="342" y="1435"/>
                </a:lnTo>
                <a:lnTo>
                  <a:pt x="362" y="1431"/>
                </a:lnTo>
                <a:lnTo>
                  <a:pt x="382" y="1429"/>
                </a:lnTo>
                <a:lnTo>
                  <a:pt x="402" y="1428"/>
                </a:lnTo>
                <a:lnTo>
                  <a:pt x="422" y="1427"/>
                </a:lnTo>
                <a:lnTo>
                  <a:pt x="442" y="1428"/>
                </a:lnTo>
                <a:lnTo>
                  <a:pt x="463" y="1429"/>
                </a:lnTo>
                <a:lnTo>
                  <a:pt x="483" y="1431"/>
                </a:lnTo>
                <a:lnTo>
                  <a:pt x="503" y="1435"/>
                </a:lnTo>
                <a:lnTo>
                  <a:pt x="523" y="1438"/>
                </a:lnTo>
                <a:lnTo>
                  <a:pt x="542" y="1444"/>
                </a:lnTo>
                <a:lnTo>
                  <a:pt x="562" y="1450"/>
                </a:lnTo>
                <a:lnTo>
                  <a:pt x="581" y="1456"/>
                </a:lnTo>
                <a:lnTo>
                  <a:pt x="600" y="1464"/>
                </a:lnTo>
                <a:lnTo>
                  <a:pt x="619" y="1472"/>
                </a:lnTo>
                <a:lnTo>
                  <a:pt x="637" y="1482"/>
                </a:lnTo>
                <a:lnTo>
                  <a:pt x="654" y="1493"/>
                </a:lnTo>
                <a:lnTo>
                  <a:pt x="672" y="1504"/>
                </a:lnTo>
                <a:lnTo>
                  <a:pt x="689" y="1515"/>
                </a:lnTo>
                <a:lnTo>
                  <a:pt x="705" y="1529"/>
                </a:lnTo>
                <a:lnTo>
                  <a:pt x="721" y="1542"/>
                </a:lnTo>
                <a:lnTo>
                  <a:pt x="3176" y="3828"/>
                </a:lnTo>
                <a:lnTo>
                  <a:pt x="3176" y="3828"/>
                </a:lnTo>
                <a:lnTo>
                  <a:pt x="3192" y="3842"/>
                </a:lnTo>
                <a:lnTo>
                  <a:pt x="3209" y="3855"/>
                </a:lnTo>
                <a:lnTo>
                  <a:pt x="3224" y="3867"/>
                </a:lnTo>
                <a:lnTo>
                  <a:pt x="3243" y="3879"/>
                </a:lnTo>
                <a:lnTo>
                  <a:pt x="3260" y="3889"/>
                </a:lnTo>
                <a:lnTo>
                  <a:pt x="3278" y="3898"/>
                </a:lnTo>
                <a:lnTo>
                  <a:pt x="3296" y="3907"/>
                </a:lnTo>
                <a:lnTo>
                  <a:pt x="3316" y="3915"/>
                </a:lnTo>
                <a:lnTo>
                  <a:pt x="3335" y="3922"/>
                </a:lnTo>
                <a:lnTo>
                  <a:pt x="3354" y="3927"/>
                </a:lnTo>
                <a:lnTo>
                  <a:pt x="3374" y="3932"/>
                </a:lnTo>
                <a:lnTo>
                  <a:pt x="3393" y="3936"/>
                </a:lnTo>
                <a:lnTo>
                  <a:pt x="3414" y="3939"/>
                </a:lnTo>
                <a:lnTo>
                  <a:pt x="3433" y="3941"/>
                </a:lnTo>
                <a:lnTo>
                  <a:pt x="3454" y="3943"/>
                </a:lnTo>
                <a:lnTo>
                  <a:pt x="3475" y="3943"/>
                </a:lnTo>
                <a:lnTo>
                  <a:pt x="3494" y="3943"/>
                </a:lnTo>
                <a:lnTo>
                  <a:pt x="3515" y="3941"/>
                </a:lnTo>
                <a:lnTo>
                  <a:pt x="3534" y="3939"/>
                </a:lnTo>
                <a:lnTo>
                  <a:pt x="3555" y="3936"/>
                </a:lnTo>
                <a:lnTo>
                  <a:pt x="3574" y="3932"/>
                </a:lnTo>
                <a:lnTo>
                  <a:pt x="3594" y="3927"/>
                </a:lnTo>
                <a:lnTo>
                  <a:pt x="3613" y="3922"/>
                </a:lnTo>
                <a:lnTo>
                  <a:pt x="3633" y="3915"/>
                </a:lnTo>
                <a:lnTo>
                  <a:pt x="3652" y="3907"/>
                </a:lnTo>
                <a:lnTo>
                  <a:pt x="3670" y="3898"/>
                </a:lnTo>
                <a:lnTo>
                  <a:pt x="3689" y="3889"/>
                </a:lnTo>
                <a:lnTo>
                  <a:pt x="3706" y="3879"/>
                </a:lnTo>
                <a:lnTo>
                  <a:pt x="3724" y="3867"/>
                </a:lnTo>
                <a:lnTo>
                  <a:pt x="3741" y="3855"/>
                </a:lnTo>
                <a:lnTo>
                  <a:pt x="3757" y="3842"/>
                </a:lnTo>
                <a:lnTo>
                  <a:pt x="3772" y="3828"/>
                </a:lnTo>
                <a:lnTo>
                  <a:pt x="3772" y="3828"/>
                </a:lnTo>
                <a:lnTo>
                  <a:pt x="3787" y="3813"/>
                </a:lnTo>
                <a:lnTo>
                  <a:pt x="3802" y="3798"/>
                </a:lnTo>
                <a:lnTo>
                  <a:pt x="3814" y="3783"/>
                </a:lnTo>
                <a:lnTo>
                  <a:pt x="3826" y="3767"/>
                </a:lnTo>
                <a:lnTo>
                  <a:pt x="3838" y="3750"/>
                </a:lnTo>
                <a:lnTo>
                  <a:pt x="3848" y="3733"/>
                </a:lnTo>
                <a:lnTo>
                  <a:pt x="3856" y="3716"/>
                </a:lnTo>
                <a:lnTo>
                  <a:pt x="3865" y="3699"/>
                </a:lnTo>
                <a:lnTo>
                  <a:pt x="3872" y="3681"/>
                </a:lnTo>
                <a:lnTo>
                  <a:pt x="3878" y="3663"/>
                </a:lnTo>
                <a:lnTo>
                  <a:pt x="3884" y="3644"/>
                </a:lnTo>
                <a:lnTo>
                  <a:pt x="3888" y="3625"/>
                </a:lnTo>
                <a:lnTo>
                  <a:pt x="3892" y="3607"/>
                </a:lnTo>
                <a:lnTo>
                  <a:pt x="3894" y="3588"/>
                </a:lnTo>
                <a:lnTo>
                  <a:pt x="3895" y="3570"/>
                </a:lnTo>
                <a:lnTo>
                  <a:pt x="3896" y="3551"/>
                </a:lnTo>
                <a:lnTo>
                  <a:pt x="3895" y="3531"/>
                </a:lnTo>
                <a:lnTo>
                  <a:pt x="3894" y="3513"/>
                </a:lnTo>
                <a:lnTo>
                  <a:pt x="3892" y="3494"/>
                </a:lnTo>
                <a:lnTo>
                  <a:pt x="3888" y="3476"/>
                </a:lnTo>
                <a:lnTo>
                  <a:pt x="3884" y="3457"/>
                </a:lnTo>
                <a:lnTo>
                  <a:pt x="3878" y="3439"/>
                </a:lnTo>
                <a:lnTo>
                  <a:pt x="3872" y="3420"/>
                </a:lnTo>
                <a:lnTo>
                  <a:pt x="3865" y="3402"/>
                </a:lnTo>
                <a:lnTo>
                  <a:pt x="3856" y="3385"/>
                </a:lnTo>
                <a:lnTo>
                  <a:pt x="3848" y="3368"/>
                </a:lnTo>
                <a:lnTo>
                  <a:pt x="3838" y="3351"/>
                </a:lnTo>
                <a:lnTo>
                  <a:pt x="3826" y="3334"/>
                </a:lnTo>
                <a:lnTo>
                  <a:pt x="3814" y="3319"/>
                </a:lnTo>
                <a:lnTo>
                  <a:pt x="3802" y="3303"/>
                </a:lnTo>
                <a:lnTo>
                  <a:pt x="3787" y="3288"/>
                </a:lnTo>
                <a:lnTo>
                  <a:pt x="3772" y="3273"/>
                </a:lnTo>
                <a:lnTo>
                  <a:pt x="977" y="671"/>
                </a:lnTo>
                <a:lnTo>
                  <a:pt x="977" y="671"/>
                </a:lnTo>
                <a:lnTo>
                  <a:pt x="963" y="656"/>
                </a:lnTo>
                <a:lnTo>
                  <a:pt x="948" y="642"/>
                </a:lnTo>
                <a:lnTo>
                  <a:pt x="936" y="626"/>
                </a:lnTo>
                <a:lnTo>
                  <a:pt x="924" y="609"/>
                </a:lnTo>
                <a:lnTo>
                  <a:pt x="913" y="593"/>
                </a:lnTo>
                <a:lnTo>
                  <a:pt x="902" y="576"/>
                </a:lnTo>
                <a:lnTo>
                  <a:pt x="893" y="559"/>
                </a:lnTo>
                <a:lnTo>
                  <a:pt x="885" y="541"/>
                </a:lnTo>
                <a:lnTo>
                  <a:pt x="878" y="523"/>
                </a:lnTo>
                <a:lnTo>
                  <a:pt x="871" y="505"/>
                </a:lnTo>
                <a:lnTo>
                  <a:pt x="865" y="487"/>
                </a:lnTo>
                <a:lnTo>
                  <a:pt x="862" y="469"/>
                </a:lnTo>
                <a:lnTo>
                  <a:pt x="858" y="449"/>
                </a:lnTo>
                <a:lnTo>
                  <a:pt x="856" y="431"/>
                </a:lnTo>
                <a:lnTo>
                  <a:pt x="854" y="412"/>
                </a:lnTo>
                <a:lnTo>
                  <a:pt x="854" y="393"/>
                </a:lnTo>
                <a:lnTo>
                  <a:pt x="854" y="375"/>
                </a:lnTo>
                <a:lnTo>
                  <a:pt x="856" y="355"/>
                </a:lnTo>
                <a:lnTo>
                  <a:pt x="858" y="337"/>
                </a:lnTo>
                <a:lnTo>
                  <a:pt x="862" y="318"/>
                </a:lnTo>
                <a:lnTo>
                  <a:pt x="865" y="300"/>
                </a:lnTo>
                <a:lnTo>
                  <a:pt x="871" y="282"/>
                </a:lnTo>
                <a:lnTo>
                  <a:pt x="878" y="264"/>
                </a:lnTo>
                <a:lnTo>
                  <a:pt x="885" y="246"/>
                </a:lnTo>
                <a:lnTo>
                  <a:pt x="893" y="228"/>
                </a:lnTo>
                <a:lnTo>
                  <a:pt x="902" y="211"/>
                </a:lnTo>
                <a:lnTo>
                  <a:pt x="913" y="194"/>
                </a:lnTo>
                <a:lnTo>
                  <a:pt x="924" y="178"/>
                </a:lnTo>
                <a:lnTo>
                  <a:pt x="936" y="161"/>
                </a:lnTo>
                <a:lnTo>
                  <a:pt x="948" y="145"/>
                </a:lnTo>
                <a:lnTo>
                  <a:pt x="963" y="130"/>
                </a:lnTo>
                <a:lnTo>
                  <a:pt x="977" y="116"/>
                </a:lnTo>
                <a:lnTo>
                  <a:pt x="977" y="116"/>
                </a:lnTo>
                <a:lnTo>
                  <a:pt x="993" y="102"/>
                </a:lnTo>
                <a:lnTo>
                  <a:pt x="1010" y="88"/>
                </a:lnTo>
                <a:lnTo>
                  <a:pt x="1026" y="77"/>
                </a:lnTo>
                <a:lnTo>
                  <a:pt x="1044" y="66"/>
                </a:lnTo>
                <a:lnTo>
                  <a:pt x="1061" y="54"/>
                </a:lnTo>
                <a:lnTo>
                  <a:pt x="1079" y="45"/>
                </a:lnTo>
                <a:lnTo>
                  <a:pt x="1098" y="37"/>
                </a:lnTo>
                <a:lnTo>
                  <a:pt x="1117" y="30"/>
                </a:lnTo>
                <a:lnTo>
                  <a:pt x="1136" y="23"/>
                </a:lnTo>
                <a:lnTo>
                  <a:pt x="1156" y="17"/>
                </a:lnTo>
                <a:lnTo>
                  <a:pt x="1175" y="11"/>
                </a:lnTo>
                <a:lnTo>
                  <a:pt x="1195" y="8"/>
                </a:lnTo>
                <a:lnTo>
                  <a:pt x="1215" y="5"/>
                </a:lnTo>
                <a:lnTo>
                  <a:pt x="1235" y="2"/>
                </a:lnTo>
                <a:lnTo>
                  <a:pt x="1256" y="1"/>
                </a:lnTo>
                <a:lnTo>
                  <a:pt x="1276" y="0"/>
                </a:lnTo>
                <a:lnTo>
                  <a:pt x="1296" y="1"/>
                </a:lnTo>
                <a:lnTo>
                  <a:pt x="1316" y="2"/>
                </a:lnTo>
                <a:lnTo>
                  <a:pt x="1336" y="5"/>
                </a:lnTo>
                <a:lnTo>
                  <a:pt x="1356" y="8"/>
                </a:lnTo>
                <a:lnTo>
                  <a:pt x="1376" y="11"/>
                </a:lnTo>
                <a:lnTo>
                  <a:pt x="1395" y="17"/>
                </a:lnTo>
                <a:lnTo>
                  <a:pt x="1415" y="23"/>
                </a:lnTo>
                <a:lnTo>
                  <a:pt x="1434" y="30"/>
                </a:lnTo>
                <a:lnTo>
                  <a:pt x="1454" y="37"/>
                </a:lnTo>
                <a:lnTo>
                  <a:pt x="1472" y="45"/>
                </a:lnTo>
                <a:lnTo>
                  <a:pt x="1490" y="54"/>
                </a:lnTo>
                <a:lnTo>
                  <a:pt x="1508" y="66"/>
                </a:lnTo>
                <a:lnTo>
                  <a:pt x="1525" y="77"/>
                </a:lnTo>
                <a:lnTo>
                  <a:pt x="1542" y="88"/>
                </a:lnTo>
                <a:lnTo>
                  <a:pt x="1558" y="102"/>
                </a:lnTo>
                <a:lnTo>
                  <a:pt x="1574" y="116"/>
                </a:lnTo>
                <a:lnTo>
                  <a:pt x="3647" y="2046"/>
                </a:lnTo>
                <a:lnTo>
                  <a:pt x="3647" y="2046"/>
                </a:lnTo>
                <a:lnTo>
                  <a:pt x="3663" y="2059"/>
                </a:lnTo>
                <a:lnTo>
                  <a:pt x="3679" y="2073"/>
                </a:lnTo>
                <a:lnTo>
                  <a:pt x="3696" y="2085"/>
                </a:lnTo>
                <a:lnTo>
                  <a:pt x="3714" y="2097"/>
                </a:lnTo>
                <a:lnTo>
                  <a:pt x="3731" y="2107"/>
                </a:lnTo>
                <a:lnTo>
                  <a:pt x="3749" y="2116"/>
                </a:lnTo>
                <a:lnTo>
                  <a:pt x="3769" y="2125"/>
                </a:lnTo>
                <a:lnTo>
                  <a:pt x="3787" y="2132"/>
                </a:lnTo>
                <a:lnTo>
                  <a:pt x="3807" y="2139"/>
                </a:lnTo>
                <a:lnTo>
                  <a:pt x="3826" y="2145"/>
                </a:lnTo>
                <a:lnTo>
                  <a:pt x="3845" y="2150"/>
                </a:lnTo>
                <a:lnTo>
                  <a:pt x="3866" y="2153"/>
                </a:lnTo>
                <a:lnTo>
                  <a:pt x="3886" y="2157"/>
                </a:lnTo>
                <a:lnTo>
                  <a:pt x="3906" y="2159"/>
                </a:lnTo>
                <a:lnTo>
                  <a:pt x="3927" y="2160"/>
                </a:lnTo>
                <a:lnTo>
                  <a:pt x="3946" y="2161"/>
                </a:lnTo>
                <a:lnTo>
                  <a:pt x="8608" y="6490"/>
                </a:lnTo>
                <a:lnTo>
                  <a:pt x="4842" y="6490"/>
                </a:lnTo>
                <a:lnTo>
                  <a:pt x="124" y="2098"/>
                </a:lnTo>
                <a:lnTo>
                  <a:pt x="124" y="2098"/>
                </a:lnTo>
                <a:lnTo>
                  <a:pt x="109" y="2083"/>
                </a:lnTo>
                <a:lnTo>
                  <a:pt x="95" y="2068"/>
                </a:lnTo>
                <a:lnTo>
                  <a:pt x="83" y="2053"/>
                </a:lnTo>
                <a:lnTo>
                  <a:pt x="71" y="2036"/>
                </a:lnTo>
                <a:lnTo>
                  <a:pt x="60" y="2020"/>
                </a:lnTo>
                <a:lnTo>
                  <a:pt x="49" y="2003"/>
                </a:lnTo>
                <a:lnTo>
                  <a:pt x="40" y="1986"/>
                </a:lnTo>
                <a:lnTo>
                  <a:pt x="32" y="1968"/>
                </a:lnTo>
                <a:lnTo>
                  <a:pt x="24" y="1950"/>
                </a:lnTo>
                <a:lnTo>
                  <a:pt x="18" y="1931"/>
                </a:lnTo>
                <a:lnTo>
                  <a:pt x="12" y="1913"/>
                </a:lnTo>
                <a:lnTo>
                  <a:pt x="9" y="1895"/>
                </a:lnTo>
                <a:lnTo>
                  <a:pt x="5" y="1876"/>
                </a:lnTo>
                <a:lnTo>
                  <a:pt x="2" y="1858"/>
                </a:lnTo>
                <a:lnTo>
                  <a:pt x="1" y="1839"/>
                </a:lnTo>
                <a:lnTo>
                  <a:pt x="0" y="1821"/>
                </a:lnTo>
                <a:lnTo>
                  <a:pt x="1" y="1801"/>
                </a:lnTo>
                <a:lnTo>
                  <a:pt x="2" y="1782"/>
                </a:lnTo>
                <a:lnTo>
                  <a:pt x="5" y="1764"/>
                </a:lnTo>
                <a:lnTo>
                  <a:pt x="9" y="1745"/>
                </a:lnTo>
                <a:lnTo>
                  <a:pt x="12" y="1727"/>
                </a:lnTo>
                <a:lnTo>
                  <a:pt x="18" y="1709"/>
                </a:lnTo>
                <a:lnTo>
                  <a:pt x="24" y="1691"/>
                </a:lnTo>
                <a:lnTo>
                  <a:pt x="32" y="1672"/>
                </a:lnTo>
                <a:lnTo>
                  <a:pt x="40" y="1654"/>
                </a:lnTo>
                <a:lnTo>
                  <a:pt x="49" y="1637"/>
                </a:lnTo>
                <a:lnTo>
                  <a:pt x="60" y="1620"/>
                </a:lnTo>
                <a:lnTo>
                  <a:pt x="71" y="1605"/>
                </a:lnTo>
                <a:lnTo>
                  <a:pt x="83" y="1588"/>
                </a:lnTo>
                <a:lnTo>
                  <a:pt x="95" y="1572"/>
                </a:lnTo>
                <a:lnTo>
                  <a:pt x="109" y="1557"/>
                </a:lnTo>
                <a:lnTo>
                  <a:pt x="124" y="1542"/>
                </a:lnTo>
                <a:lnTo>
                  <a:pt x="124" y="154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1C5BE35B-92F2-4840-B88A-906665E6F936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2444707" y="0"/>
            <a:ext cx="2087567" cy="1840230"/>
          </a:xfrm>
          <a:custGeom>
            <a:avLst/>
            <a:gdLst>
              <a:gd name="T0" fmla="*/ 4922 w 5046"/>
              <a:gd name="T1" fmla="*/ 3468 h 4141"/>
              <a:gd name="T2" fmla="*/ 4951 w 5046"/>
              <a:gd name="T3" fmla="*/ 3498 h 4141"/>
              <a:gd name="T4" fmla="*/ 4977 w 5046"/>
              <a:gd name="T5" fmla="*/ 3530 h 4141"/>
              <a:gd name="T6" fmla="*/ 4997 w 5046"/>
              <a:gd name="T7" fmla="*/ 3564 h 4141"/>
              <a:gd name="T8" fmla="*/ 5016 w 5046"/>
              <a:gd name="T9" fmla="*/ 3598 h 4141"/>
              <a:gd name="T10" fmla="*/ 5029 w 5046"/>
              <a:gd name="T11" fmla="*/ 3634 h 4141"/>
              <a:gd name="T12" fmla="*/ 5039 w 5046"/>
              <a:gd name="T13" fmla="*/ 3671 h 4141"/>
              <a:gd name="T14" fmla="*/ 5045 w 5046"/>
              <a:gd name="T15" fmla="*/ 3709 h 4141"/>
              <a:gd name="T16" fmla="*/ 5046 w 5046"/>
              <a:gd name="T17" fmla="*/ 3746 h 4141"/>
              <a:gd name="T18" fmla="*/ 5045 w 5046"/>
              <a:gd name="T19" fmla="*/ 3785 h 4141"/>
              <a:gd name="T20" fmla="*/ 5039 w 5046"/>
              <a:gd name="T21" fmla="*/ 3822 h 4141"/>
              <a:gd name="T22" fmla="*/ 5029 w 5046"/>
              <a:gd name="T23" fmla="*/ 3859 h 4141"/>
              <a:gd name="T24" fmla="*/ 5016 w 5046"/>
              <a:gd name="T25" fmla="*/ 3894 h 4141"/>
              <a:gd name="T26" fmla="*/ 4997 w 5046"/>
              <a:gd name="T27" fmla="*/ 3929 h 4141"/>
              <a:gd name="T28" fmla="*/ 4977 w 5046"/>
              <a:gd name="T29" fmla="*/ 3963 h 4141"/>
              <a:gd name="T30" fmla="*/ 4951 w 5046"/>
              <a:gd name="T31" fmla="*/ 3995 h 4141"/>
              <a:gd name="T32" fmla="*/ 4922 w 5046"/>
              <a:gd name="T33" fmla="*/ 4026 h 4141"/>
              <a:gd name="T34" fmla="*/ 4922 w 5046"/>
              <a:gd name="T35" fmla="*/ 4026 h 4141"/>
              <a:gd name="T36" fmla="*/ 4891 w 5046"/>
              <a:gd name="T37" fmla="*/ 4052 h 4141"/>
              <a:gd name="T38" fmla="*/ 4857 w 5046"/>
              <a:gd name="T39" fmla="*/ 4075 h 4141"/>
              <a:gd name="T40" fmla="*/ 4820 w 5046"/>
              <a:gd name="T41" fmla="*/ 4096 h 4141"/>
              <a:gd name="T42" fmla="*/ 4782 w 5046"/>
              <a:gd name="T43" fmla="*/ 4112 h 4141"/>
              <a:gd name="T44" fmla="*/ 4743 w 5046"/>
              <a:gd name="T45" fmla="*/ 4124 h 4141"/>
              <a:gd name="T46" fmla="*/ 4705 w 5046"/>
              <a:gd name="T47" fmla="*/ 4133 h 4141"/>
              <a:gd name="T48" fmla="*/ 4663 w 5046"/>
              <a:gd name="T49" fmla="*/ 4139 h 4141"/>
              <a:gd name="T50" fmla="*/ 4623 w 5046"/>
              <a:gd name="T51" fmla="*/ 4141 h 4141"/>
              <a:gd name="T52" fmla="*/ 4583 w 5046"/>
              <a:gd name="T53" fmla="*/ 4139 h 4141"/>
              <a:gd name="T54" fmla="*/ 4543 w 5046"/>
              <a:gd name="T55" fmla="*/ 4133 h 4141"/>
              <a:gd name="T56" fmla="*/ 4503 w 5046"/>
              <a:gd name="T57" fmla="*/ 4124 h 4141"/>
              <a:gd name="T58" fmla="*/ 4464 w 5046"/>
              <a:gd name="T59" fmla="*/ 4112 h 4141"/>
              <a:gd name="T60" fmla="*/ 4426 w 5046"/>
              <a:gd name="T61" fmla="*/ 4096 h 4141"/>
              <a:gd name="T62" fmla="*/ 4391 w 5046"/>
              <a:gd name="T63" fmla="*/ 4075 h 4141"/>
              <a:gd name="T64" fmla="*/ 4356 w 5046"/>
              <a:gd name="T65" fmla="*/ 4052 h 4141"/>
              <a:gd name="T66" fmla="*/ 4324 w 5046"/>
              <a:gd name="T67" fmla="*/ 4026 h 4141"/>
              <a:gd name="T68" fmla="*/ 1197 w 5046"/>
              <a:gd name="T69" fmla="*/ 0 h 4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046" h="4141">
                <a:moveTo>
                  <a:pt x="4922" y="3468"/>
                </a:moveTo>
                <a:lnTo>
                  <a:pt x="4922" y="3468"/>
                </a:lnTo>
                <a:lnTo>
                  <a:pt x="4938" y="3483"/>
                </a:lnTo>
                <a:lnTo>
                  <a:pt x="4951" y="3498"/>
                </a:lnTo>
                <a:lnTo>
                  <a:pt x="4965" y="3514"/>
                </a:lnTo>
                <a:lnTo>
                  <a:pt x="4977" y="3530"/>
                </a:lnTo>
                <a:lnTo>
                  <a:pt x="4988" y="3547"/>
                </a:lnTo>
                <a:lnTo>
                  <a:pt x="4997" y="3564"/>
                </a:lnTo>
                <a:lnTo>
                  <a:pt x="5007" y="3581"/>
                </a:lnTo>
                <a:lnTo>
                  <a:pt x="5016" y="3598"/>
                </a:lnTo>
                <a:lnTo>
                  <a:pt x="5023" y="3616"/>
                </a:lnTo>
                <a:lnTo>
                  <a:pt x="5029" y="3634"/>
                </a:lnTo>
                <a:lnTo>
                  <a:pt x="5034" y="3653"/>
                </a:lnTo>
                <a:lnTo>
                  <a:pt x="5039" y="3671"/>
                </a:lnTo>
                <a:lnTo>
                  <a:pt x="5042" y="3691"/>
                </a:lnTo>
                <a:lnTo>
                  <a:pt x="5045" y="3709"/>
                </a:lnTo>
                <a:lnTo>
                  <a:pt x="5046" y="3728"/>
                </a:lnTo>
                <a:lnTo>
                  <a:pt x="5046" y="3746"/>
                </a:lnTo>
                <a:lnTo>
                  <a:pt x="5046" y="3765"/>
                </a:lnTo>
                <a:lnTo>
                  <a:pt x="5045" y="3785"/>
                </a:lnTo>
                <a:lnTo>
                  <a:pt x="5042" y="3803"/>
                </a:lnTo>
                <a:lnTo>
                  <a:pt x="5039" y="3822"/>
                </a:lnTo>
                <a:lnTo>
                  <a:pt x="5034" y="3840"/>
                </a:lnTo>
                <a:lnTo>
                  <a:pt x="5029" y="3859"/>
                </a:lnTo>
                <a:lnTo>
                  <a:pt x="5023" y="3877"/>
                </a:lnTo>
                <a:lnTo>
                  <a:pt x="5016" y="3894"/>
                </a:lnTo>
                <a:lnTo>
                  <a:pt x="5007" y="3912"/>
                </a:lnTo>
                <a:lnTo>
                  <a:pt x="4997" y="3929"/>
                </a:lnTo>
                <a:lnTo>
                  <a:pt x="4988" y="3946"/>
                </a:lnTo>
                <a:lnTo>
                  <a:pt x="4977" y="3963"/>
                </a:lnTo>
                <a:lnTo>
                  <a:pt x="4965" y="3979"/>
                </a:lnTo>
                <a:lnTo>
                  <a:pt x="4951" y="3995"/>
                </a:lnTo>
                <a:lnTo>
                  <a:pt x="4938" y="4011"/>
                </a:lnTo>
                <a:lnTo>
                  <a:pt x="4922" y="4026"/>
                </a:lnTo>
                <a:lnTo>
                  <a:pt x="4922" y="4026"/>
                </a:lnTo>
                <a:lnTo>
                  <a:pt x="4922" y="4026"/>
                </a:lnTo>
                <a:lnTo>
                  <a:pt x="4906" y="4039"/>
                </a:lnTo>
                <a:lnTo>
                  <a:pt x="4891" y="4052"/>
                </a:lnTo>
                <a:lnTo>
                  <a:pt x="4874" y="4064"/>
                </a:lnTo>
                <a:lnTo>
                  <a:pt x="4857" y="4075"/>
                </a:lnTo>
                <a:lnTo>
                  <a:pt x="4838" y="4086"/>
                </a:lnTo>
                <a:lnTo>
                  <a:pt x="4820" y="4096"/>
                </a:lnTo>
                <a:lnTo>
                  <a:pt x="4802" y="4104"/>
                </a:lnTo>
                <a:lnTo>
                  <a:pt x="4782" y="4112"/>
                </a:lnTo>
                <a:lnTo>
                  <a:pt x="4763" y="4118"/>
                </a:lnTo>
                <a:lnTo>
                  <a:pt x="4743" y="4124"/>
                </a:lnTo>
                <a:lnTo>
                  <a:pt x="4724" y="4130"/>
                </a:lnTo>
                <a:lnTo>
                  <a:pt x="4705" y="4133"/>
                </a:lnTo>
                <a:lnTo>
                  <a:pt x="4684" y="4136"/>
                </a:lnTo>
                <a:lnTo>
                  <a:pt x="4663" y="4139"/>
                </a:lnTo>
                <a:lnTo>
                  <a:pt x="4644" y="4140"/>
                </a:lnTo>
                <a:lnTo>
                  <a:pt x="4623" y="4141"/>
                </a:lnTo>
                <a:lnTo>
                  <a:pt x="4603" y="4140"/>
                </a:lnTo>
                <a:lnTo>
                  <a:pt x="4583" y="4139"/>
                </a:lnTo>
                <a:lnTo>
                  <a:pt x="4562" y="4136"/>
                </a:lnTo>
                <a:lnTo>
                  <a:pt x="4543" y="4133"/>
                </a:lnTo>
                <a:lnTo>
                  <a:pt x="4522" y="4130"/>
                </a:lnTo>
                <a:lnTo>
                  <a:pt x="4503" y="4124"/>
                </a:lnTo>
                <a:lnTo>
                  <a:pt x="4483" y="4118"/>
                </a:lnTo>
                <a:lnTo>
                  <a:pt x="4464" y="4112"/>
                </a:lnTo>
                <a:lnTo>
                  <a:pt x="4445" y="4104"/>
                </a:lnTo>
                <a:lnTo>
                  <a:pt x="4426" y="4096"/>
                </a:lnTo>
                <a:lnTo>
                  <a:pt x="4408" y="4086"/>
                </a:lnTo>
                <a:lnTo>
                  <a:pt x="4391" y="4075"/>
                </a:lnTo>
                <a:lnTo>
                  <a:pt x="4373" y="4064"/>
                </a:lnTo>
                <a:lnTo>
                  <a:pt x="4356" y="4052"/>
                </a:lnTo>
                <a:lnTo>
                  <a:pt x="4340" y="4039"/>
                </a:lnTo>
                <a:lnTo>
                  <a:pt x="4324" y="4026"/>
                </a:lnTo>
                <a:lnTo>
                  <a:pt x="0" y="0"/>
                </a:lnTo>
                <a:lnTo>
                  <a:pt x="1197" y="0"/>
                </a:lnTo>
                <a:lnTo>
                  <a:pt x="4922" y="34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EC8B37-AF59-4E96-B36D-87B4BAA786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576" y="8898891"/>
            <a:ext cx="3840480" cy="511175"/>
          </a:xfrm>
        </p:spPr>
        <p:txBody>
          <a:bodyPr/>
          <a:lstStyle/>
          <a:p>
            <a:fld id="{796BFFBD-4F37-4A8C-A8AB-2E76B8FDE8EC}" type="datetime1">
              <a:rPr lang="ru-RU" smtClean="0">
                <a:solidFill>
                  <a:srgbClr val="CBCBCA">
                    <a:lumMod val="75000"/>
                  </a:srgbClr>
                </a:solidFill>
              </a:rPr>
              <a:pPr/>
              <a:t>08.09.2023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1B75BA-DEDF-49E5-BC2F-916385CD69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4528" y="8898891"/>
            <a:ext cx="3840480" cy="511175"/>
          </a:xfrm>
        </p:spPr>
        <p:txBody>
          <a:bodyPr/>
          <a:lstStyle/>
          <a:p>
            <a:fld id="{1513E0AC-52E7-4010-9D37-41BE99808841}" type="slidenum">
              <a:rPr lang="en-US" smtClean="0">
                <a:solidFill>
                  <a:srgbClr val="CBCBCA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18" name="Freeform 9">
            <a:extLst>
              <a:ext uri="{FF2B5EF4-FFF2-40B4-BE49-F238E27FC236}">
                <a16:creationId xmlns:a16="http://schemas.microsoft.com/office/drawing/2014/main" id="{7251E51A-1874-4DDE-B93C-74C28365E5B6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0938514" y="0"/>
            <a:ext cx="5919253" cy="5671820"/>
          </a:xfrm>
          <a:custGeom>
            <a:avLst/>
            <a:gdLst>
              <a:gd name="T0" fmla="*/ 6294 w 14307"/>
              <a:gd name="T1" fmla="*/ 4745 h 12762"/>
              <a:gd name="T2" fmla="*/ 14184 w 14307"/>
              <a:gd name="T3" fmla="*/ 12090 h 12762"/>
              <a:gd name="T4" fmla="*/ 14213 w 14307"/>
              <a:gd name="T5" fmla="*/ 12121 h 12762"/>
              <a:gd name="T6" fmla="*/ 14238 w 14307"/>
              <a:gd name="T7" fmla="*/ 12153 h 12762"/>
              <a:gd name="T8" fmla="*/ 14259 w 14307"/>
              <a:gd name="T9" fmla="*/ 12185 h 12762"/>
              <a:gd name="T10" fmla="*/ 14277 w 14307"/>
              <a:gd name="T11" fmla="*/ 12221 h 12762"/>
              <a:gd name="T12" fmla="*/ 14290 w 14307"/>
              <a:gd name="T13" fmla="*/ 12257 h 12762"/>
              <a:gd name="T14" fmla="*/ 14300 w 14307"/>
              <a:gd name="T15" fmla="*/ 12294 h 12762"/>
              <a:gd name="T16" fmla="*/ 14306 w 14307"/>
              <a:gd name="T17" fmla="*/ 12331 h 12762"/>
              <a:gd name="T18" fmla="*/ 14307 w 14307"/>
              <a:gd name="T19" fmla="*/ 12369 h 12762"/>
              <a:gd name="T20" fmla="*/ 14306 w 14307"/>
              <a:gd name="T21" fmla="*/ 12407 h 12762"/>
              <a:gd name="T22" fmla="*/ 14300 w 14307"/>
              <a:gd name="T23" fmla="*/ 12445 h 12762"/>
              <a:gd name="T24" fmla="*/ 14290 w 14307"/>
              <a:gd name="T25" fmla="*/ 12481 h 12762"/>
              <a:gd name="T26" fmla="*/ 14277 w 14307"/>
              <a:gd name="T27" fmla="*/ 12517 h 12762"/>
              <a:gd name="T28" fmla="*/ 14259 w 14307"/>
              <a:gd name="T29" fmla="*/ 12552 h 12762"/>
              <a:gd name="T30" fmla="*/ 14238 w 14307"/>
              <a:gd name="T31" fmla="*/ 12586 h 12762"/>
              <a:gd name="T32" fmla="*/ 14213 w 14307"/>
              <a:gd name="T33" fmla="*/ 12618 h 12762"/>
              <a:gd name="T34" fmla="*/ 14184 w 14307"/>
              <a:gd name="T35" fmla="*/ 12647 h 12762"/>
              <a:gd name="T36" fmla="*/ 14168 w 14307"/>
              <a:gd name="T37" fmla="*/ 12662 h 12762"/>
              <a:gd name="T38" fmla="*/ 14135 w 14307"/>
              <a:gd name="T39" fmla="*/ 12687 h 12762"/>
              <a:gd name="T40" fmla="*/ 14100 w 14307"/>
              <a:gd name="T41" fmla="*/ 12708 h 12762"/>
              <a:gd name="T42" fmla="*/ 14063 w 14307"/>
              <a:gd name="T43" fmla="*/ 12726 h 12762"/>
              <a:gd name="T44" fmla="*/ 14024 w 14307"/>
              <a:gd name="T45" fmla="*/ 12741 h 12762"/>
              <a:gd name="T46" fmla="*/ 13985 w 14307"/>
              <a:gd name="T47" fmla="*/ 12751 h 12762"/>
              <a:gd name="T48" fmla="*/ 13945 w 14307"/>
              <a:gd name="T49" fmla="*/ 12759 h 12762"/>
              <a:gd name="T50" fmla="*/ 13905 w 14307"/>
              <a:gd name="T51" fmla="*/ 12762 h 12762"/>
              <a:gd name="T52" fmla="*/ 13864 w 14307"/>
              <a:gd name="T53" fmla="*/ 12762 h 12762"/>
              <a:gd name="T54" fmla="*/ 13824 w 14307"/>
              <a:gd name="T55" fmla="*/ 12759 h 12762"/>
              <a:gd name="T56" fmla="*/ 13784 w 14307"/>
              <a:gd name="T57" fmla="*/ 12751 h 12762"/>
              <a:gd name="T58" fmla="*/ 13745 w 14307"/>
              <a:gd name="T59" fmla="*/ 12741 h 12762"/>
              <a:gd name="T60" fmla="*/ 13707 w 14307"/>
              <a:gd name="T61" fmla="*/ 12726 h 12762"/>
              <a:gd name="T62" fmla="*/ 13669 w 14307"/>
              <a:gd name="T63" fmla="*/ 12708 h 12762"/>
              <a:gd name="T64" fmla="*/ 13634 w 14307"/>
              <a:gd name="T65" fmla="*/ 12687 h 12762"/>
              <a:gd name="T66" fmla="*/ 13601 w 14307"/>
              <a:gd name="T67" fmla="*/ 12662 h 12762"/>
              <a:gd name="T68" fmla="*/ 6294 w 14307"/>
              <a:gd name="T69" fmla="*/ 5860 h 12762"/>
              <a:gd name="T70" fmla="*/ 0 w 14307"/>
              <a:gd name="T71" fmla="*/ 0 h 12762"/>
              <a:gd name="T72" fmla="*/ 6294 w 14307"/>
              <a:gd name="T73" fmla="*/ 4745 h 12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307" h="12762">
                <a:moveTo>
                  <a:pt x="6294" y="4745"/>
                </a:moveTo>
                <a:lnTo>
                  <a:pt x="6294" y="4745"/>
                </a:lnTo>
                <a:lnTo>
                  <a:pt x="14184" y="12090"/>
                </a:lnTo>
                <a:lnTo>
                  <a:pt x="14184" y="12090"/>
                </a:lnTo>
                <a:lnTo>
                  <a:pt x="14199" y="12105"/>
                </a:lnTo>
                <a:lnTo>
                  <a:pt x="14213" y="12121"/>
                </a:lnTo>
                <a:lnTo>
                  <a:pt x="14226" y="12136"/>
                </a:lnTo>
                <a:lnTo>
                  <a:pt x="14238" y="12153"/>
                </a:lnTo>
                <a:lnTo>
                  <a:pt x="14249" y="12168"/>
                </a:lnTo>
                <a:lnTo>
                  <a:pt x="14259" y="12185"/>
                </a:lnTo>
                <a:lnTo>
                  <a:pt x="14269" y="12204"/>
                </a:lnTo>
                <a:lnTo>
                  <a:pt x="14277" y="12221"/>
                </a:lnTo>
                <a:lnTo>
                  <a:pt x="14284" y="12239"/>
                </a:lnTo>
                <a:lnTo>
                  <a:pt x="14290" y="12257"/>
                </a:lnTo>
                <a:lnTo>
                  <a:pt x="14295" y="12275"/>
                </a:lnTo>
                <a:lnTo>
                  <a:pt x="14300" y="12294"/>
                </a:lnTo>
                <a:lnTo>
                  <a:pt x="14304" y="12312"/>
                </a:lnTo>
                <a:lnTo>
                  <a:pt x="14306" y="12331"/>
                </a:lnTo>
                <a:lnTo>
                  <a:pt x="14307" y="12349"/>
                </a:lnTo>
                <a:lnTo>
                  <a:pt x="14307" y="12369"/>
                </a:lnTo>
                <a:lnTo>
                  <a:pt x="14307" y="12388"/>
                </a:lnTo>
                <a:lnTo>
                  <a:pt x="14306" y="12407"/>
                </a:lnTo>
                <a:lnTo>
                  <a:pt x="14304" y="12425"/>
                </a:lnTo>
                <a:lnTo>
                  <a:pt x="14300" y="12445"/>
                </a:lnTo>
                <a:lnTo>
                  <a:pt x="14295" y="12463"/>
                </a:lnTo>
                <a:lnTo>
                  <a:pt x="14290" y="12481"/>
                </a:lnTo>
                <a:lnTo>
                  <a:pt x="14284" y="12499"/>
                </a:lnTo>
                <a:lnTo>
                  <a:pt x="14277" y="12517"/>
                </a:lnTo>
                <a:lnTo>
                  <a:pt x="14269" y="12535"/>
                </a:lnTo>
                <a:lnTo>
                  <a:pt x="14259" y="12552"/>
                </a:lnTo>
                <a:lnTo>
                  <a:pt x="14249" y="12569"/>
                </a:lnTo>
                <a:lnTo>
                  <a:pt x="14238" y="12586"/>
                </a:lnTo>
                <a:lnTo>
                  <a:pt x="14226" y="12602"/>
                </a:lnTo>
                <a:lnTo>
                  <a:pt x="14213" y="12618"/>
                </a:lnTo>
                <a:lnTo>
                  <a:pt x="14199" y="12632"/>
                </a:lnTo>
                <a:lnTo>
                  <a:pt x="14184" y="12647"/>
                </a:lnTo>
                <a:lnTo>
                  <a:pt x="14184" y="12647"/>
                </a:lnTo>
                <a:lnTo>
                  <a:pt x="14168" y="12662"/>
                </a:lnTo>
                <a:lnTo>
                  <a:pt x="14152" y="12674"/>
                </a:lnTo>
                <a:lnTo>
                  <a:pt x="14135" y="12687"/>
                </a:lnTo>
                <a:lnTo>
                  <a:pt x="14118" y="12698"/>
                </a:lnTo>
                <a:lnTo>
                  <a:pt x="14100" y="12708"/>
                </a:lnTo>
                <a:lnTo>
                  <a:pt x="14081" y="12717"/>
                </a:lnTo>
                <a:lnTo>
                  <a:pt x="14063" y="12726"/>
                </a:lnTo>
                <a:lnTo>
                  <a:pt x="14044" y="12734"/>
                </a:lnTo>
                <a:lnTo>
                  <a:pt x="14024" y="12741"/>
                </a:lnTo>
                <a:lnTo>
                  <a:pt x="14005" y="12747"/>
                </a:lnTo>
                <a:lnTo>
                  <a:pt x="13985" y="12751"/>
                </a:lnTo>
                <a:lnTo>
                  <a:pt x="13966" y="12756"/>
                </a:lnTo>
                <a:lnTo>
                  <a:pt x="13945" y="12759"/>
                </a:lnTo>
                <a:lnTo>
                  <a:pt x="13926" y="12761"/>
                </a:lnTo>
                <a:lnTo>
                  <a:pt x="13905" y="12762"/>
                </a:lnTo>
                <a:lnTo>
                  <a:pt x="13885" y="12762"/>
                </a:lnTo>
                <a:lnTo>
                  <a:pt x="13864" y="12762"/>
                </a:lnTo>
                <a:lnTo>
                  <a:pt x="13844" y="12761"/>
                </a:lnTo>
                <a:lnTo>
                  <a:pt x="13824" y="12759"/>
                </a:lnTo>
                <a:lnTo>
                  <a:pt x="13804" y="12756"/>
                </a:lnTo>
                <a:lnTo>
                  <a:pt x="13784" y="12751"/>
                </a:lnTo>
                <a:lnTo>
                  <a:pt x="13764" y="12747"/>
                </a:lnTo>
                <a:lnTo>
                  <a:pt x="13745" y="12741"/>
                </a:lnTo>
                <a:lnTo>
                  <a:pt x="13725" y="12734"/>
                </a:lnTo>
                <a:lnTo>
                  <a:pt x="13707" y="12726"/>
                </a:lnTo>
                <a:lnTo>
                  <a:pt x="13688" y="12717"/>
                </a:lnTo>
                <a:lnTo>
                  <a:pt x="13669" y="12708"/>
                </a:lnTo>
                <a:lnTo>
                  <a:pt x="13652" y="12698"/>
                </a:lnTo>
                <a:lnTo>
                  <a:pt x="13634" y="12687"/>
                </a:lnTo>
                <a:lnTo>
                  <a:pt x="13617" y="12674"/>
                </a:lnTo>
                <a:lnTo>
                  <a:pt x="13601" y="12662"/>
                </a:lnTo>
                <a:lnTo>
                  <a:pt x="13586" y="12647"/>
                </a:lnTo>
                <a:lnTo>
                  <a:pt x="6294" y="5860"/>
                </a:lnTo>
                <a:lnTo>
                  <a:pt x="6294" y="5860"/>
                </a:lnTo>
                <a:lnTo>
                  <a:pt x="0" y="0"/>
                </a:lnTo>
                <a:lnTo>
                  <a:pt x="1196" y="0"/>
                </a:lnTo>
                <a:lnTo>
                  <a:pt x="6294" y="474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19" name="Freeform 13">
            <a:extLst>
              <a:ext uri="{FF2B5EF4-FFF2-40B4-BE49-F238E27FC236}">
                <a16:creationId xmlns:a16="http://schemas.microsoft.com/office/drawing/2014/main" id="{77525606-DBE0-4F82-B648-F946AD356827}"/>
              </a:ext>
            </a:extLst>
          </p:cNvPr>
          <p:cNvSpPr>
            <a:spLocks/>
          </p:cNvSpPr>
          <p:nvPr userDrawn="1"/>
        </p:nvSpPr>
        <p:spPr bwMode="auto">
          <a:xfrm flipH="1">
            <a:off x="6624764" y="8172134"/>
            <a:ext cx="1690329" cy="1429068"/>
          </a:xfrm>
          <a:custGeom>
            <a:avLst/>
            <a:gdLst>
              <a:gd name="T0" fmla="*/ 121 w 4084"/>
              <a:gd name="T1" fmla="*/ 115 h 3217"/>
              <a:gd name="T2" fmla="*/ 153 w 4084"/>
              <a:gd name="T3" fmla="*/ 87 h 3217"/>
              <a:gd name="T4" fmla="*/ 187 w 4084"/>
              <a:gd name="T5" fmla="*/ 65 h 3217"/>
              <a:gd name="T6" fmla="*/ 222 w 4084"/>
              <a:gd name="T7" fmla="*/ 44 h 3217"/>
              <a:gd name="T8" fmla="*/ 260 w 4084"/>
              <a:gd name="T9" fmla="*/ 29 h 3217"/>
              <a:gd name="T10" fmla="*/ 297 w 4084"/>
              <a:gd name="T11" fmla="*/ 16 h 3217"/>
              <a:gd name="T12" fmla="*/ 336 w 4084"/>
              <a:gd name="T13" fmla="*/ 7 h 3217"/>
              <a:gd name="T14" fmla="*/ 376 w 4084"/>
              <a:gd name="T15" fmla="*/ 3 h 3217"/>
              <a:gd name="T16" fmla="*/ 416 w 4084"/>
              <a:gd name="T17" fmla="*/ 0 h 3217"/>
              <a:gd name="T18" fmla="*/ 456 w 4084"/>
              <a:gd name="T19" fmla="*/ 3 h 3217"/>
              <a:gd name="T20" fmla="*/ 495 w 4084"/>
              <a:gd name="T21" fmla="*/ 7 h 3217"/>
              <a:gd name="T22" fmla="*/ 534 w 4084"/>
              <a:gd name="T23" fmla="*/ 16 h 3217"/>
              <a:gd name="T24" fmla="*/ 573 w 4084"/>
              <a:gd name="T25" fmla="*/ 29 h 3217"/>
              <a:gd name="T26" fmla="*/ 610 w 4084"/>
              <a:gd name="T27" fmla="*/ 44 h 3217"/>
              <a:gd name="T28" fmla="*/ 646 w 4084"/>
              <a:gd name="T29" fmla="*/ 65 h 3217"/>
              <a:gd name="T30" fmla="*/ 679 w 4084"/>
              <a:gd name="T31" fmla="*/ 87 h 3217"/>
              <a:gd name="T32" fmla="*/ 710 w 4084"/>
              <a:gd name="T33" fmla="*/ 115 h 3217"/>
              <a:gd name="T34" fmla="*/ 2865 w 4084"/>
              <a:gd name="T35" fmla="*/ 3217 h 3217"/>
              <a:gd name="T36" fmla="*/ 121 w 4084"/>
              <a:gd name="T37" fmla="*/ 663 h 3217"/>
              <a:gd name="T38" fmla="*/ 93 w 4084"/>
              <a:gd name="T39" fmla="*/ 634 h 3217"/>
              <a:gd name="T40" fmla="*/ 68 w 4084"/>
              <a:gd name="T41" fmla="*/ 602 h 3217"/>
              <a:gd name="T42" fmla="*/ 47 w 4084"/>
              <a:gd name="T43" fmla="*/ 569 h 3217"/>
              <a:gd name="T44" fmla="*/ 30 w 4084"/>
              <a:gd name="T45" fmla="*/ 534 h 3217"/>
              <a:gd name="T46" fmla="*/ 17 w 4084"/>
              <a:gd name="T47" fmla="*/ 499 h 3217"/>
              <a:gd name="T48" fmla="*/ 7 w 4084"/>
              <a:gd name="T49" fmla="*/ 463 h 3217"/>
              <a:gd name="T50" fmla="*/ 1 w 4084"/>
              <a:gd name="T51" fmla="*/ 426 h 3217"/>
              <a:gd name="T52" fmla="*/ 0 w 4084"/>
              <a:gd name="T53" fmla="*/ 388 h 3217"/>
              <a:gd name="T54" fmla="*/ 1 w 4084"/>
              <a:gd name="T55" fmla="*/ 351 h 3217"/>
              <a:gd name="T56" fmla="*/ 7 w 4084"/>
              <a:gd name="T57" fmla="*/ 315 h 3217"/>
              <a:gd name="T58" fmla="*/ 17 w 4084"/>
              <a:gd name="T59" fmla="*/ 279 h 3217"/>
              <a:gd name="T60" fmla="*/ 30 w 4084"/>
              <a:gd name="T61" fmla="*/ 242 h 3217"/>
              <a:gd name="T62" fmla="*/ 47 w 4084"/>
              <a:gd name="T63" fmla="*/ 209 h 3217"/>
              <a:gd name="T64" fmla="*/ 68 w 4084"/>
              <a:gd name="T65" fmla="*/ 175 h 3217"/>
              <a:gd name="T66" fmla="*/ 93 w 4084"/>
              <a:gd name="T67" fmla="*/ 144 h 3217"/>
              <a:gd name="T68" fmla="*/ 121 w 4084"/>
              <a:gd name="T69" fmla="*/ 115 h 3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084" h="3217">
                <a:moveTo>
                  <a:pt x="121" y="115"/>
                </a:moveTo>
                <a:lnTo>
                  <a:pt x="121" y="115"/>
                </a:lnTo>
                <a:lnTo>
                  <a:pt x="137" y="100"/>
                </a:lnTo>
                <a:lnTo>
                  <a:pt x="153" y="87"/>
                </a:lnTo>
                <a:lnTo>
                  <a:pt x="170" y="76"/>
                </a:lnTo>
                <a:lnTo>
                  <a:pt x="187" y="65"/>
                </a:lnTo>
                <a:lnTo>
                  <a:pt x="204" y="55"/>
                </a:lnTo>
                <a:lnTo>
                  <a:pt x="222" y="44"/>
                </a:lnTo>
                <a:lnTo>
                  <a:pt x="240" y="37"/>
                </a:lnTo>
                <a:lnTo>
                  <a:pt x="260" y="29"/>
                </a:lnTo>
                <a:lnTo>
                  <a:pt x="278" y="22"/>
                </a:lnTo>
                <a:lnTo>
                  <a:pt x="297" y="16"/>
                </a:lnTo>
                <a:lnTo>
                  <a:pt x="317" y="12"/>
                </a:lnTo>
                <a:lnTo>
                  <a:pt x="336" y="7"/>
                </a:lnTo>
                <a:lnTo>
                  <a:pt x="357" y="5"/>
                </a:lnTo>
                <a:lnTo>
                  <a:pt x="376" y="3"/>
                </a:lnTo>
                <a:lnTo>
                  <a:pt x="396" y="1"/>
                </a:lnTo>
                <a:lnTo>
                  <a:pt x="416" y="0"/>
                </a:lnTo>
                <a:lnTo>
                  <a:pt x="436" y="1"/>
                </a:lnTo>
                <a:lnTo>
                  <a:pt x="456" y="3"/>
                </a:lnTo>
                <a:lnTo>
                  <a:pt x="476" y="5"/>
                </a:lnTo>
                <a:lnTo>
                  <a:pt x="495" y="7"/>
                </a:lnTo>
                <a:lnTo>
                  <a:pt x="515" y="12"/>
                </a:lnTo>
                <a:lnTo>
                  <a:pt x="534" y="16"/>
                </a:lnTo>
                <a:lnTo>
                  <a:pt x="554" y="22"/>
                </a:lnTo>
                <a:lnTo>
                  <a:pt x="573" y="29"/>
                </a:lnTo>
                <a:lnTo>
                  <a:pt x="591" y="37"/>
                </a:lnTo>
                <a:lnTo>
                  <a:pt x="610" y="44"/>
                </a:lnTo>
                <a:lnTo>
                  <a:pt x="628" y="55"/>
                </a:lnTo>
                <a:lnTo>
                  <a:pt x="646" y="65"/>
                </a:lnTo>
                <a:lnTo>
                  <a:pt x="663" y="76"/>
                </a:lnTo>
                <a:lnTo>
                  <a:pt x="679" y="87"/>
                </a:lnTo>
                <a:lnTo>
                  <a:pt x="696" y="100"/>
                </a:lnTo>
                <a:lnTo>
                  <a:pt x="710" y="115"/>
                </a:lnTo>
                <a:lnTo>
                  <a:pt x="4084" y="3217"/>
                </a:lnTo>
                <a:lnTo>
                  <a:pt x="2865" y="3217"/>
                </a:lnTo>
                <a:lnTo>
                  <a:pt x="121" y="663"/>
                </a:lnTo>
                <a:lnTo>
                  <a:pt x="121" y="663"/>
                </a:lnTo>
                <a:lnTo>
                  <a:pt x="106" y="649"/>
                </a:lnTo>
                <a:lnTo>
                  <a:pt x="93" y="634"/>
                </a:lnTo>
                <a:lnTo>
                  <a:pt x="80" y="618"/>
                </a:lnTo>
                <a:lnTo>
                  <a:pt x="68" y="602"/>
                </a:lnTo>
                <a:lnTo>
                  <a:pt x="57" y="586"/>
                </a:lnTo>
                <a:lnTo>
                  <a:pt x="47" y="569"/>
                </a:lnTo>
                <a:lnTo>
                  <a:pt x="37" y="552"/>
                </a:lnTo>
                <a:lnTo>
                  <a:pt x="30" y="534"/>
                </a:lnTo>
                <a:lnTo>
                  <a:pt x="23" y="517"/>
                </a:lnTo>
                <a:lnTo>
                  <a:pt x="17" y="499"/>
                </a:lnTo>
                <a:lnTo>
                  <a:pt x="12" y="481"/>
                </a:lnTo>
                <a:lnTo>
                  <a:pt x="7" y="463"/>
                </a:lnTo>
                <a:lnTo>
                  <a:pt x="3" y="445"/>
                </a:lnTo>
                <a:lnTo>
                  <a:pt x="1" y="426"/>
                </a:lnTo>
                <a:lnTo>
                  <a:pt x="0" y="408"/>
                </a:lnTo>
                <a:lnTo>
                  <a:pt x="0" y="388"/>
                </a:lnTo>
                <a:lnTo>
                  <a:pt x="0" y="370"/>
                </a:lnTo>
                <a:lnTo>
                  <a:pt x="1" y="351"/>
                </a:lnTo>
                <a:lnTo>
                  <a:pt x="3" y="333"/>
                </a:lnTo>
                <a:lnTo>
                  <a:pt x="7" y="315"/>
                </a:lnTo>
                <a:lnTo>
                  <a:pt x="12" y="297"/>
                </a:lnTo>
                <a:lnTo>
                  <a:pt x="17" y="279"/>
                </a:lnTo>
                <a:lnTo>
                  <a:pt x="23" y="261"/>
                </a:lnTo>
                <a:lnTo>
                  <a:pt x="30" y="242"/>
                </a:lnTo>
                <a:lnTo>
                  <a:pt x="37" y="226"/>
                </a:lnTo>
                <a:lnTo>
                  <a:pt x="47" y="209"/>
                </a:lnTo>
                <a:lnTo>
                  <a:pt x="57" y="192"/>
                </a:lnTo>
                <a:lnTo>
                  <a:pt x="68" y="175"/>
                </a:lnTo>
                <a:lnTo>
                  <a:pt x="80" y="159"/>
                </a:lnTo>
                <a:lnTo>
                  <a:pt x="93" y="144"/>
                </a:lnTo>
                <a:lnTo>
                  <a:pt x="106" y="128"/>
                </a:lnTo>
                <a:lnTo>
                  <a:pt x="121" y="115"/>
                </a:lnTo>
                <a:lnTo>
                  <a:pt x="121" y="11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85A81A-1E89-48A3-B9FE-0A671F3D4F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69075" y="4282722"/>
            <a:ext cx="5795933" cy="3342640"/>
          </a:xfrm>
        </p:spPr>
        <p:txBody>
          <a:bodyPr anchor="b">
            <a:normAutofit/>
          </a:bodyPr>
          <a:lstStyle>
            <a:lvl1pPr algn="ctr">
              <a:defRPr sz="6160" b="1" cap="all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24D900-431F-491D-97C0-C35C95FD11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69075" y="7754268"/>
            <a:ext cx="5795933" cy="1651318"/>
          </a:xfrm>
        </p:spPr>
        <p:txBody>
          <a:bodyPr/>
          <a:lstStyle>
            <a:lvl1pPr marL="0" indent="0" algn="ctr">
              <a:buNone/>
              <a:defRPr sz="3360">
                <a:solidFill>
                  <a:schemeClr val="bg1"/>
                </a:solidFill>
              </a:defRPr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606D5F-434D-4332-8327-E038BF507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22" name="Freeform 12">
            <a:extLst>
              <a:ext uri="{FF2B5EF4-FFF2-40B4-BE49-F238E27FC236}">
                <a16:creationId xmlns:a16="http://schemas.microsoft.com/office/drawing/2014/main" id="{F600A2E7-554A-49F7-B774-D3EECDD7CDE9}"/>
              </a:ext>
            </a:extLst>
          </p:cNvPr>
          <p:cNvSpPr>
            <a:spLocks/>
          </p:cNvSpPr>
          <p:nvPr userDrawn="1"/>
        </p:nvSpPr>
        <p:spPr bwMode="auto">
          <a:xfrm flipH="1">
            <a:off x="6210975" y="960121"/>
            <a:ext cx="3153073" cy="3151505"/>
          </a:xfrm>
          <a:custGeom>
            <a:avLst/>
            <a:gdLst>
              <a:gd name="T0" fmla="*/ 124 w 7620"/>
              <a:gd name="T1" fmla="*/ 673 h 7094"/>
              <a:gd name="T2" fmla="*/ 81 w 7620"/>
              <a:gd name="T3" fmla="*/ 626 h 7094"/>
              <a:gd name="T4" fmla="*/ 48 w 7620"/>
              <a:gd name="T5" fmla="*/ 577 h 7094"/>
              <a:gd name="T6" fmla="*/ 24 w 7620"/>
              <a:gd name="T7" fmla="*/ 525 h 7094"/>
              <a:gd name="T8" fmla="*/ 8 w 7620"/>
              <a:gd name="T9" fmla="*/ 469 h 7094"/>
              <a:gd name="T10" fmla="*/ 1 w 7620"/>
              <a:gd name="T11" fmla="*/ 413 h 7094"/>
              <a:gd name="T12" fmla="*/ 2 w 7620"/>
              <a:gd name="T13" fmla="*/ 356 h 7094"/>
              <a:gd name="T14" fmla="*/ 12 w 7620"/>
              <a:gd name="T15" fmla="*/ 301 h 7094"/>
              <a:gd name="T16" fmla="*/ 31 w 7620"/>
              <a:gd name="T17" fmla="*/ 246 h 7094"/>
              <a:gd name="T18" fmla="*/ 58 w 7620"/>
              <a:gd name="T19" fmla="*/ 194 h 7094"/>
              <a:gd name="T20" fmla="*/ 95 w 7620"/>
              <a:gd name="T21" fmla="*/ 146 h 7094"/>
              <a:gd name="T22" fmla="*/ 124 w 7620"/>
              <a:gd name="T23" fmla="*/ 115 h 7094"/>
              <a:gd name="T24" fmla="*/ 172 w 7620"/>
              <a:gd name="T25" fmla="*/ 77 h 7094"/>
              <a:gd name="T26" fmla="*/ 226 w 7620"/>
              <a:gd name="T27" fmla="*/ 45 h 7094"/>
              <a:gd name="T28" fmla="*/ 283 w 7620"/>
              <a:gd name="T29" fmla="*/ 22 h 7094"/>
              <a:gd name="T30" fmla="*/ 343 w 7620"/>
              <a:gd name="T31" fmla="*/ 8 h 7094"/>
              <a:gd name="T32" fmla="*/ 402 w 7620"/>
              <a:gd name="T33" fmla="*/ 1 h 7094"/>
              <a:gd name="T34" fmla="*/ 464 w 7620"/>
              <a:gd name="T35" fmla="*/ 2 h 7094"/>
              <a:gd name="T36" fmla="*/ 524 w 7620"/>
              <a:gd name="T37" fmla="*/ 11 h 7094"/>
              <a:gd name="T38" fmla="*/ 582 w 7620"/>
              <a:gd name="T39" fmla="*/ 29 h 7094"/>
              <a:gd name="T40" fmla="*/ 638 w 7620"/>
              <a:gd name="T41" fmla="*/ 55 h 7094"/>
              <a:gd name="T42" fmla="*/ 690 w 7620"/>
              <a:gd name="T43" fmla="*/ 88 h 7094"/>
              <a:gd name="T44" fmla="*/ 7496 w 7620"/>
              <a:gd name="T45" fmla="*/ 6422 h 7094"/>
              <a:gd name="T46" fmla="*/ 7525 w 7620"/>
              <a:gd name="T47" fmla="*/ 6451 h 7094"/>
              <a:gd name="T48" fmla="*/ 7562 w 7620"/>
              <a:gd name="T49" fmla="*/ 6500 h 7094"/>
              <a:gd name="T50" fmla="*/ 7588 w 7620"/>
              <a:gd name="T51" fmla="*/ 6552 h 7094"/>
              <a:gd name="T52" fmla="*/ 7608 w 7620"/>
              <a:gd name="T53" fmla="*/ 6606 h 7094"/>
              <a:gd name="T54" fmla="*/ 7618 w 7620"/>
              <a:gd name="T55" fmla="*/ 6663 h 7094"/>
              <a:gd name="T56" fmla="*/ 7619 w 7620"/>
              <a:gd name="T57" fmla="*/ 6719 h 7094"/>
              <a:gd name="T58" fmla="*/ 7612 w 7620"/>
              <a:gd name="T59" fmla="*/ 6776 h 7094"/>
              <a:gd name="T60" fmla="*/ 7596 w 7620"/>
              <a:gd name="T61" fmla="*/ 6830 h 7094"/>
              <a:gd name="T62" fmla="*/ 7571 w 7620"/>
              <a:gd name="T63" fmla="*/ 6883 h 7094"/>
              <a:gd name="T64" fmla="*/ 7537 w 7620"/>
              <a:gd name="T65" fmla="*/ 6933 h 7094"/>
              <a:gd name="T66" fmla="*/ 7496 w 7620"/>
              <a:gd name="T67" fmla="*/ 6978 h 7094"/>
              <a:gd name="T68" fmla="*/ 7463 w 7620"/>
              <a:gd name="T69" fmla="*/ 7005 h 7094"/>
              <a:gd name="T70" fmla="*/ 7412 w 7620"/>
              <a:gd name="T71" fmla="*/ 7039 h 7094"/>
              <a:gd name="T72" fmla="*/ 7356 w 7620"/>
              <a:gd name="T73" fmla="*/ 7065 h 7094"/>
              <a:gd name="T74" fmla="*/ 7298 w 7620"/>
              <a:gd name="T75" fmla="*/ 7082 h 7094"/>
              <a:gd name="T76" fmla="*/ 7237 w 7620"/>
              <a:gd name="T77" fmla="*/ 7091 h 7094"/>
              <a:gd name="T78" fmla="*/ 7176 w 7620"/>
              <a:gd name="T79" fmla="*/ 7094 h 7094"/>
              <a:gd name="T80" fmla="*/ 7116 w 7620"/>
              <a:gd name="T81" fmla="*/ 7087 h 7094"/>
              <a:gd name="T82" fmla="*/ 7057 w 7620"/>
              <a:gd name="T83" fmla="*/ 7072 h 7094"/>
              <a:gd name="T84" fmla="*/ 7000 w 7620"/>
              <a:gd name="T85" fmla="*/ 7048 h 7094"/>
              <a:gd name="T86" fmla="*/ 6947 w 7620"/>
              <a:gd name="T87" fmla="*/ 7018 h 7094"/>
              <a:gd name="T88" fmla="*/ 6898 w 7620"/>
              <a:gd name="T89" fmla="*/ 6978 h 70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7620" h="7094">
                <a:moveTo>
                  <a:pt x="6898" y="6978"/>
                </a:moveTo>
                <a:lnTo>
                  <a:pt x="124" y="673"/>
                </a:lnTo>
                <a:lnTo>
                  <a:pt x="124" y="673"/>
                </a:lnTo>
                <a:lnTo>
                  <a:pt x="109" y="658"/>
                </a:lnTo>
                <a:lnTo>
                  <a:pt x="95" y="642"/>
                </a:lnTo>
                <a:lnTo>
                  <a:pt x="81" y="626"/>
                </a:lnTo>
                <a:lnTo>
                  <a:pt x="69" y="611"/>
                </a:lnTo>
                <a:lnTo>
                  <a:pt x="58" y="594"/>
                </a:lnTo>
                <a:lnTo>
                  <a:pt x="48" y="577"/>
                </a:lnTo>
                <a:lnTo>
                  <a:pt x="39" y="560"/>
                </a:lnTo>
                <a:lnTo>
                  <a:pt x="31" y="542"/>
                </a:lnTo>
                <a:lnTo>
                  <a:pt x="24" y="525"/>
                </a:lnTo>
                <a:lnTo>
                  <a:pt x="17" y="507"/>
                </a:lnTo>
                <a:lnTo>
                  <a:pt x="12" y="487"/>
                </a:lnTo>
                <a:lnTo>
                  <a:pt x="8" y="469"/>
                </a:lnTo>
                <a:lnTo>
                  <a:pt x="5" y="450"/>
                </a:lnTo>
                <a:lnTo>
                  <a:pt x="2" y="432"/>
                </a:lnTo>
                <a:lnTo>
                  <a:pt x="1" y="413"/>
                </a:lnTo>
                <a:lnTo>
                  <a:pt x="0" y="393"/>
                </a:lnTo>
                <a:lnTo>
                  <a:pt x="1" y="375"/>
                </a:lnTo>
                <a:lnTo>
                  <a:pt x="2" y="356"/>
                </a:lnTo>
                <a:lnTo>
                  <a:pt x="5" y="338"/>
                </a:lnTo>
                <a:lnTo>
                  <a:pt x="8" y="319"/>
                </a:lnTo>
                <a:lnTo>
                  <a:pt x="12" y="301"/>
                </a:lnTo>
                <a:lnTo>
                  <a:pt x="17" y="281"/>
                </a:lnTo>
                <a:lnTo>
                  <a:pt x="24" y="263"/>
                </a:lnTo>
                <a:lnTo>
                  <a:pt x="31" y="246"/>
                </a:lnTo>
                <a:lnTo>
                  <a:pt x="39" y="228"/>
                </a:lnTo>
                <a:lnTo>
                  <a:pt x="48" y="211"/>
                </a:lnTo>
                <a:lnTo>
                  <a:pt x="58" y="194"/>
                </a:lnTo>
                <a:lnTo>
                  <a:pt x="69" y="177"/>
                </a:lnTo>
                <a:lnTo>
                  <a:pt x="81" y="161"/>
                </a:lnTo>
                <a:lnTo>
                  <a:pt x="95" y="146"/>
                </a:lnTo>
                <a:lnTo>
                  <a:pt x="109" y="130"/>
                </a:lnTo>
                <a:lnTo>
                  <a:pt x="124" y="115"/>
                </a:lnTo>
                <a:lnTo>
                  <a:pt x="124" y="115"/>
                </a:lnTo>
                <a:lnTo>
                  <a:pt x="140" y="101"/>
                </a:lnTo>
                <a:lnTo>
                  <a:pt x="157" y="88"/>
                </a:lnTo>
                <a:lnTo>
                  <a:pt x="172" y="77"/>
                </a:lnTo>
                <a:lnTo>
                  <a:pt x="191" y="65"/>
                </a:lnTo>
                <a:lnTo>
                  <a:pt x="208" y="55"/>
                </a:lnTo>
                <a:lnTo>
                  <a:pt x="226" y="45"/>
                </a:lnTo>
                <a:lnTo>
                  <a:pt x="245" y="37"/>
                </a:lnTo>
                <a:lnTo>
                  <a:pt x="264" y="29"/>
                </a:lnTo>
                <a:lnTo>
                  <a:pt x="283" y="22"/>
                </a:lnTo>
                <a:lnTo>
                  <a:pt x="302" y="17"/>
                </a:lnTo>
                <a:lnTo>
                  <a:pt x="322" y="11"/>
                </a:lnTo>
                <a:lnTo>
                  <a:pt x="343" y="8"/>
                </a:lnTo>
                <a:lnTo>
                  <a:pt x="362" y="4"/>
                </a:lnTo>
                <a:lnTo>
                  <a:pt x="383" y="2"/>
                </a:lnTo>
                <a:lnTo>
                  <a:pt x="402" y="1"/>
                </a:lnTo>
                <a:lnTo>
                  <a:pt x="423" y="0"/>
                </a:lnTo>
                <a:lnTo>
                  <a:pt x="443" y="1"/>
                </a:lnTo>
                <a:lnTo>
                  <a:pt x="464" y="2"/>
                </a:lnTo>
                <a:lnTo>
                  <a:pt x="484" y="4"/>
                </a:lnTo>
                <a:lnTo>
                  <a:pt x="504" y="8"/>
                </a:lnTo>
                <a:lnTo>
                  <a:pt x="524" y="11"/>
                </a:lnTo>
                <a:lnTo>
                  <a:pt x="543" y="17"/>
                </a:lnTo>
                <a:lnTo>
                  <a:pt x="563" y="22"/>
                </a:lnTo>
                <a:lnTo>
                  <a:pt x="582" y="29"/>
                </a:lnTo>
                <a:lnTo>
                  <a:pt x="601" y="37"/>
                </a:lnTo>
                <a:lnTo>
                  <a:pt x="620" y="45"/>
                </a:lnTo>
                <a:lnTo>
                  <a:pt x="638" y="55"/>
                </a:lnTo>
                <a:lnTo>
                  <a:pt x="656" y="65"/>
                </a:lnTo>
                <a:lnTo>
                  <a:pt x="673" y="77"/>
                </a:lnTo>
                <a:lnTo>
                  <a:pt x="690" y="88"/>
                </a:lnTo>
                <a:lnTo>
                  <a:pt x="706" y="101"/>
                </a:lnTo>
                <a:lnTo>
                  <a:pt x="722" y="115"/>
                </a:lnTo>
                <a:lnTo>
                  <a:pt x="7496" y="6422"/>
                </a:lnTo>
                <a:lnTo>
                  <a:pt x="7496" y="6422"/>
                </a:lnTo>
                <a:lnTo>
                  <a:pt x="7511" y="6436"/>
                </a:lnTo>
                <a:lnTo>
                  <a:pt x="7525" y="6451"/>
                </a:lnTo>
                <a:lnTo>
                  <a:pt x="7537" y="6467"/>
                </a:lnTo>
                <a:lnTo>
                  <a:pt x="7550" y="6484"/>
                </a:lnTo>
                <a:lnTo>
                  <a:pt x="7562" y="6500"/>
                </a:lnTo>
                <a:lnTo>
                  <a:pt x="7571" y="6517"/>
                </a:lnTo>
                <a:lnTo>
                  <a:pt x="7581" y="6534"/>
                </a:lnTo>
                <a:lnTo>
                  <a:pt x="7588" y="6552"/>
                </a:lnTo>
                <a:lnTo>
                  <a:pt x="7596" y="6570"/>
                </a:lnTo>
                <a:lnTo>
                  <a:pt x="7602" y="6588"/>
                </a:lnTo>
                <a:lnTo>
                  <a:pt x="7608" y="6606"/>
                </a:lnTo>
                <a:lnTo>
                  <a:pt x="7612" y="6625"/>
                </a:lnTo>
                <a:lnTo>
                  <a:pt x="7615" y="6643"/>
                </a:lnTo>
                <a:lnTo>
                  <a:pt x="7618" y="6663"/>
                </a:lnTo>
                <a:lnTo>
                  <a:pt x="7619" y="6681"/>
                </a:lnTo>
                <a:lnTo>
                  <a:pt x="7620" y="6700"/>
                </a:lnTo>
                <a:lnTo>
                  <a:pt x="7619" y="6719"/>
                </a:lnTo>
                <a:lnTo>
                  <a:pt x="7618" y="6737"/>
                </a:lnTo>
                <a:lnTo>
                  <a:pt x="7615" y="6756"/>
                </a:lnTo>
                <a:lnTo>
                  <a:pt x="7612" y="6776"/>
                </a:lnTo>
                <a:lnTo>
                  <a:pt x="7608" y="6794"/>
                </a:lnTo>
                <a:lnTo>
                  <a:pt x="7602" y="6812"/>
                </a:lnTo>
                <a:lnTo>
                  <a:pt x="7596" y="6830"/>
                </a:lnTo>
                <a:lnTo>
                  <a:pt x="7588" y="6848"/>
                </a:lnTo>
                <a:lnTo>
                  <a:pt x="7581" y="6866"/>
                </a:lnTo>
                <a:lnTo>
                  <a:pt x="7571" y="6883"/>
                </a:lnTo>
                <a:lnTo>
                  <a:pt x="7562" y="6900"/>
                </a:lnTo>
                <a:lnTo>
                  <a:pt x="7550" y="6917"/>
                </a:lnTo>
                <a:lnTo>
                  <a:pt x="7537" y="6933"/>
                </a:lnTo>
                <a:lnTo>
                  <a:pt x="7525" y="6949"/>
                </a:lnTo>
                <a:lnTo>
                  <a:pt x="7511" y="6964"/>
                </a:lnTo>
                <a:lnTo>
                  <a:pt x="7496" y="6978"/>
                </a:lnTo>
                <a:lnTo>
                  <a:pt x="7496" y="6978"/>
                </a:lnTo>
                <a:lnTo>
                  <a:pt x="7480" y="6992"/>
                </a:lnTo>
                <a:lnTo>
                  <a:pt x="7463" y="7005"/>
                </a:lnTo>
                <a:lnTo>
                  <a:pt x="7447" y="7018"/>
                </a:lnTo>
                <a:lnTo>
                  <a:pt x="7429" y="7029"/>
                </a:lnTo>
                <a:lnTo>
                  <a:pt x="7412" y="7039"/>
                </a:lnTo>
                <a:lnTo>
                  <a:pt x="7394" y="7048"/>
                </a:lnTo>
                <a:lnTo>
                  <a:pt x="7375" y="7057"/>
                </a:lnTo>
                <a:lnTo>
                  <a:pt x="7356" y="7065"/>
                </a:lnTo>
                <a:lnTo>
                  <a:pt x="7337" y="7072"/>
                </a:lnTo>
                <a:lnTo>
                  <a:pt x="7317" y="7078"/>
                </a:lnTo>
                <a:lnTo>
                  <a:pt x="7298" y="7082"/>
                </a:lnTo>
                <a:lnTo>
                  <a:pt x="7277" y="7087"/>
                </a:lnTo>
                <a:lnTo>
                  <a:pt x="7258" y="7090"/>
                </a:lnTo>
                <a:lnTo>
                  <a:pt x="7237" y="7091"/>
                </a:lnTo>
                <a:lnTo>
                  <a:pt x="7217" y="7094"/>
                </a:lnTo>
                <a:lnTo>
                  <a:pt x="7197" y="7094"/>
                </a:lnTo>
                <a:lnTo>
                  <a:pt x="7176" y="7094"/>
                </a:lnTo>
                <a:lnTo>
                  <a:pt x="7156" y="7091"/>
                </a:lnTo>
                <a:lnTo>
                  <a:pt x="7136" y="7090"/>
                </a:lnTo>
                <a:lnTo>
                  <a:pt x="7116" y="7087"/>
                </a:lnTo>
                <a:lnTo>
                  <a:pt x="7096" y="7082"/>
                </a:lnTo>
                <a:lnTo>
                  <a:pt x="7077" y="7078"/>
                </a:lnTo>
                <a:lnTo>
                  <a:pt x="7057" y="7072"/>
                </a:lnTo>
                <a:lnTo>
                  <a:pt x="7038" y="7065"/>
                </a:lnTo>
                <a:lnTo>
                  <a:pt x="7018" y="7057"/>
                </a:lnTo>
                <a:lnTo>
                  <a:pt x="7000" y="7048"/>
                </a:lnTo>
                <a:lnTo>
                  <a:pt x="6982" y="7039"/>
                </a:lnTo>
                <a:lnTo>
                  <a:pt x="6964" y="7029"/>
                </a:lnTo>
                <a:lnTo>
                  <a:pt x="6947" y="7018"/>
                </a:lnTo>
                <a:lnTo>
                  <a:pt x="6930" y="7005"/>
                </a:lnTo>
                <a:lnTo>
                  <a:pt x="6914" y="6992"/>
                </a:lnTo>
                <a:lnTo>
                  <a:pt x="6898" y="6978"/>
                </a:lnTo>
                <a:lnTo>
                  <a:pt x="6898" y="697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1" name="Freeform 10">
            <a:extLst>
              <a:ext uri="{FF2B5EF4-FFF2-40B4-BE49-F238E27FC236}">
                <a16:creationId xmlns:a16="http://schemas.microsoft.com/office/drawing/2014/main" id="{C4AB493B-5268-4D2C-87A4-208D2D3BE335}"/>
              </a:ext>
            </a:extLst>
          </p:cNvPr>
          <p:cNvSpPr>
            <a:spLocks/>
          </p:cNvSpPr>
          <p:nvPr userDrawn="1"/>
        </p:nvSpPr>
        <p:spPr bwMode="auto">
          <a:xfrm flipH="1">
            <a:off x="7286827" y="0"/>
            <a:ext cx="2066877" cy="1778000"/>
          </a:xfrm>
          <a:custGeom>
            <a:avLst/>
            <a:gdLst>
              <a:gd name="T0" fmla="*/ 4855 w 4991"/>
              <a:gd name="T1" fmla="*/ 3261 h 4001"/>
              <a:gd name="T2" fmla="*/ 4887 w 4991"/>
              <a:gd name="T3" fmla="*/ 3294 h 4001"/>
              <a:gd name="T4" fmla="*/ 4915 w 4991"/>
              <a:gd name="T5" fmla="*/ 3329 h 4001"/>
              <a:gd name="T6" fmla="*/ 4938 w 4991"/>
              <a:gd name="T7" fmla="*/ 3366 h 4001"/>
              <a:gd name="T8" fmla="*/ 4957 w 4991"/>
              <a:gd name="T9" fmla="*/ 3404 h 4001"/>
              <a:gd name="T10" fmla="*/ 4972 w 4991"/>
              <a:gd name="T11" fmla="*/ 3444 h 4001"/>
              <a:gd name="T12" fmla="*/ 4983 w 4991"/>
              <a:gd name="T13" fmla="*/ 3485 h 4001"/>
              <a:gd name="T14" fmla="*/ 4990 w 4991"/>
              <a:gd name="T15" fmla="*/ 3526 h 4001"/>
              <a:gd name="T16" fmla="*/ 4991 w 4991"/>
              <a:gd name="T17" fmla="*/ 3567 h 4001"/>
              <a:gd name="T18" fmla="*/ 4990 w 4991"/>
              <a:gd name="T19" fmla="*/ 3609 h 4001"/>
              <a:gd name="T20" fmla="*/ 4983 w 4991"/>
              <a:gd name="T21" fmla="*/ 3650 h 4001"/>
              <a:gd name="T22" fmla="*/ 4972 w 4991"/>
              <a:gd name="T23" fmla="*/ 3691 h 4001"/>
              <a:gd name="T24" fmla="*/ 4957 w 4991"/>
              <a:gd name="T25" fmla="*/ 3730 h 4001"/>
              <a:gd name="T26" fmla="*/ 4938 w 4991"/>
              <a:gd name="T27" fmla="*/ 3769 h 4001"/>
              <a:gd name="T28" fmla="*/ 4915 w 4991"/>
              <a:gd name="T29" fmla="*/ 3806 h 4001"/>
              <a:gd name="T30" fmla="*/ 4887 w 4991"/>
              <a:gd name="T31" fmla="*/ 3841 h 4001"/>
              <a:gd name="T32" fmla="*/ 4855 w 4991"/>
              <a:gd name="T33" fmla="*/ 3874 h 4001"/>
              <a:gd name="T34" fmla="*/ 4838 w 4991"/>
              <a:gd name="T35" fmla="*/ 3890 h 4001"/>
              <a:gd name="T36" fmla="*/ 4802 w 4991"/>
              <a:gd name="T37" fmla="*/ 3917 h 4001"/>
              <a:gd name="T38" fmla="*/ 4763 w 4991"/>
              <a:gd name="T39" fmla="*/ 3941 h 4001"/>
              <a:gd name="T40" fmla="*/ 4722 w 4991"/>
              <a:gd name="T41" fmla="*/ 3961 h 4001"/>
              <a:gd name="T42" fmla="*/ 4680 w 4991"/>
              <a:gd name="T43" fmla="*/ 3977 h 4001"/>
              <a:gd name="T44" fmla="*/ 4637 w 4991"/>
              <a:gd name="T45" fmla="*/ 3989 h 4001"/>
              <a:gd name="T46" fmla="*/ 4593 w 4991"/>
              <a:gd name="T47" fmla="*/ 3997 h 4001"/>
              <a:gd name="T48" fmla="*/ 4548 w 4991"/>
              <a:gd name="T49" fmla="*/ 4001 h 4001"/>
              <a:gd name="T50" fmla="*/ 4503 w 4991"/>
              <a:gd name="T51" fmla="*/ 4001 h 4001"/>
              <a:gd name="T52" fmla="*/ 4459 w 4991"/>
              <a:gd name="T53" fmla="*/ 3997 h 4001"/>
              <a:gd name="T54" fmla="*/ 4414 w 4991"/>
              <a:gd name="T55" fmla="*/ 3989 h 4001"/>
              <a:gd name="T56" fmla="*/ 4372 w 4991"/>
              <a:gd name="T57" fmla="*/ 3977 h 4001"/>
              <a:gd name="T58" fmla="*/ 4329 w 4991"/>
              <a:gd name="T59" fmla="*/ 3961 h 4001"/>
              <a:gd name="T60" fmla="*/ 4289 w 4991"/>
              <a:gd name="T61" fmla="*/ 3941 h 4001"/>
              <a:gd name="T62" fmla="*/ 4250 w 4991"/>
              <a:gd name="T63" fmla="*/ 3917 h 4001"/>
              <a:gd name="T64" fmla="*/ 4214 w 4991"/>
              <a:gd name="T65" fmla="*/ 3890 h 4001"/>
              <a:gd name="T66" fmla="*/ 0 w 4991"/>
              <a:gd name="T67" fmla="*/ 0 h 4001"/>
              <a:gd name="T68" fmla="*/ 4855 w 4991"/>
              <a:gd name="T69" fmla="*/ 3261 h 40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991" h="4001">
                <a:moveTo>
                  <a:pt x="4855" y="3261"/>
                </a:moveTo>
                <a:lnTo>
                  <a:pt x="4855" y="3261"/>
                </a:lnTo>
                <a:lnTo>
                  <a:pt x="4872" y="3277"/>
                </a:lnTo>
                <a:lnTo>
                  <a:pt x="4887" y="3294"/>
                </a:lnTo>
                <a:lnTo>
                  <a:pt x="4902" y="3311"/>
                </a:lnTo>
                <a:lnTo>
                  <a:pt x="4915" y="3329"/>
                </a:lnTo>
                <a:lnTo>
                  <a:pt x="4927" y="3347"/>
                </a:lnTo>
                <a:lnTo>
                  <a:pt x="4938" y="3366"/>
                </a:lnTo>
                <a:lnTo>
                  <a:pt x="4949" y="3384"/>
                </a:lnTo>
                <a:lnTo>
                  <a:pt x="4957" y="3404"/>
                </a:lnTo>
                <a:lnTo>
                  <a:pt x="4966" y="3424"/>
                </a:lnTo>
                <a:lnTo>
                  <a:pt x="4972" y="3444"/>
                </a:lnTo>
                <a:lnTo>
                  <a:pt x="4978" y="3464"/>
                </a:lnTo>
                <a:lnTo>
                  <a:pt x="4983" y="3485"/>
                </a:lnTo>
                <a:lnTo>
                  <a:pt x="4987" y="3505"/>
                </a:lnTo>
                <a:lnTo>
                  <a:pt x="4990" y="3526"/>
                </a:lnTo>
                <a:lnTo>
                  <a:pt x="4991" y="3547"/>
                </a:lnTo>
                <a:lnTo>
                  <a:pt x="4991" y="3567"/>
                </a:lnTo>
                <a:lnTo>
                  <a:pt x="4991" y="3588"/>
                </a:lnTo>
                <a:lnTo>
                  <a:pt x="4990" y="3609"/>
                </a:lnTo>
                <a:lnTo>
                  <a:pt x="4987" y="3630"/>
                </a:lnTo>
                <a:lnTo>
                  <a:pt x="4983" y="3650"/>
                </a:lnTo>
                <a:lnTo>
                  <a:pt x="4978" y="3670"/>
                </a:lnTo>
                <a:lnTo>
                  <a:pt x="4972" y="3691"/>
                </a:lnTo>
                <a:lnTo>
                  <a:pt x="4966" y="3711"/>
                </a:lnTo>
                <a:lnTo>
                  <a:pt x="4957" y="3730"/>
                </a:lnTo>
                <a:lnTo>
                  <a:pt x="4949" y="3750"/>
                </a:lnTo>
                <a:lnTo>
                  <a:pt x="4938" y="3769"/>
                </a:lnTo>
                <a:lnTo>
                  <a:pt x="4927" y="3788"/>
                </a:lnTo>
                <a:lnTo>
                  <a:pt x="4915" y="3806"/>
                </a:lnTo>
                <a:lnTo>
                  <a:pt x="4902" y="3824"/>
                </a:lnTo>
                <a:lnTo>
                  <a:pt x="4887" y="3841"/>
                </a:lnTo>
                <a:lnTo>
                  <a:pt x="4872" y="3858"/>
                </a:lnTo>
                <a:lnTo>
                  <a:pt x="4855" y="3874"/>
                </a:lnTo>
                <a:lnTo>
                  <a:pt x="4855" y="3874"/>
                </a:lnTo>
                <a:lnTo>
                  <a:pt x="4838" y="3890"/>
                </a:lnTo>
                <a:lnTo>
                  <a:pt x="4820" y="3903"/>
                </a:lnTo>
                <a:lnTo>
                  <a:pt x="4802" y="3917"/>
                </a:lnTo>
                <a:lnTo>
                  <a:pt x="4782" y="3929"/>
                </a:lnTo>
                <a:lnTo>
                  <a:pt x="4763" y="3941"/>
                </a:lnTo>
                <a:lnTo>
                  <a:pt x="4742" y="3952"/>
                </a:lnTo>
                <a:lnTo>
                  <a:pt x="4722" y="3961"/>
                </a:lnTo>
                <a:lnTo>
                  <a:pt x="4701" y="3969"/>
                </a:lnTo>
                <a:lnTo>
                  <a:pt x="4680" y="3977"/>
                </a:lnTo>
                <a:lnTo>
                  <a:pt x="4658" y="3984"/>
                </a:lnTo>
                <a:lnTo>
                  <a:pt x="4637" y="3989"/>
                </a:lnTo>
                <a:lnTo>
                  <a:pt x="4615" y="3993"/>
                </a:lnTo>
                <a:lnTo>
                  <a:pt x="4593" y="3997"/>
                </a:lnTo>
                <a:lnTo>
                  <a:pt x="4570" y="4000"/>
                </a:lnTo>
                <a:lnTo>
                  <a:pt x="4548" y="4001"/>
                </a:lnTo>
                <a:lnTo>
                  <a:pt x="4526" y="4001"/>
                </a:lnTo>
                <a:lnTo>
                  <a:pt x="4503" y="4001"/>
                </a:lnTo>
                <a:lnTo>
                  <a:pt x="4481" y="4000"/>
                </a:lnTo>
                <a:lnTo>
                  <a:pt x="4459" y="3997"/>
                </a:lnTo>
                <a:lnTo>
                  <a:pt x="4436" y="3993"/>
                </a:lnTo>
                <a:lnTo>
                  <a:pt x="4414" y="3989"/>
                </a:lnTo>
                <a:lnTo>
                  <a:pt x="4394" y="3984"/>
                </a:lnTo>
                <a:lnTo>
                  <a:pt x="4372" y="3977"/>
                </a:lnTo>
                <a:lnTo>
                  <a:pt x="4350" y="3969"/>
                </a:lnTo>
                <a:lnTo>
                  <a:pt x="4329" y="3961"/>
                </a:lnTo>
                <a:lnTo>
                  <a:pt x="4308" y="3952"/>
                </a:lnTo>
                <a:lnTo>
                  <a:pt x="4289" y="3941"/>
                </a:lnTo>
                <a:lnTo>
                  <a:pt x="4270" y="3929"/>
                </a:lnTo>
                <a:lnTo>
                  <a:pt x="4250" y="3917"/>
                </a:lnTo>
                <a:lnTo>
                  <a:pt x="4232" y="3903"/>
                </a:lnTo>
                <a:lnTo>
                  <a:pt x="4214" y="3890"/>
                </a:lnTo>
                <a:lnTo>
                  <a:pt x="4197" y="3874"/>
                </a:lnTo>
                <a:lnTo>
                  <a:pt x="0" y="0"/>
                </a:lnTo>
                <a:lnTo>
                  <a:pt x="1359" y="0"/>
                </a:lnTo>
                <a:lnTo>
                  <a:pt x="4855" y="32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8059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C9B5115B-B254-4EF0-A9DA-5547816FDA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5553" y="0"/>
            <a:ext cx="14410806" cy="96012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2C81594-D14D-4B01-B041-F49E2FD5E1DC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0"/>
            <a:ext cx="13433664" cy="9601200"/>
          </a:xfrm>
          <a:custGeom>
            <a:avLst/>
            <a:gdLst>
              <a:gd name="connsiteX0" fmla="*/ 9595474 w 9595474"/>
              <a:gd name="connsiteY0" fmla="*/ 0 h 6858000"/>
              <a:gd name="connsiteX1" fmla="*/ 3372834 w 9595474"/>
              <a:gd name="connsiteY1" fmla="*/ 0 h 6858000"/>
              <a:gd name="connsiteX2" fmla="*/ 3316326 w 9595474"/>
              <a:gd name="connsiteY2" fmla="*/ 0 h 6858000"/>
              <a:gd name="connsiteX3" fmla="*/ 2914643 w 9595474"/>
              <a:gd name="connsiteY3" fmla="*/ 0 h 6858000"/>
              <a:gd name="connsiteX4" fmla="*/ 2857270 w 9595474"/>
              <a:gd name="connsiteY4" fmla="*/ 0 h 6858000"/>
              <a:gd name="connsiteX5" fmla="*/ 0 w 9595474"/>
              <a:gd name="connsiteY5" fmla="*/ 0 h 6858000"/>
              <a:gd name="connsiteX6" fmla="*/ 692823 w 9595474"/>
              <a:gd name="connsiteY6" fmla="*/ 691198 h 6858000"/>
              <a:gd name="connsiteX7" fmla="*/ 691345 w 9595474"/>
              <a:gd name="connsiteY7" fmla="*/ 683895 h 6858000"/>
              <a:gd name="connsiteX8" fmla="*/ 690754 w 9595474"/>
              <a:gd name="connsiteY8" fmla="*/ 676275 h 6858000"/>
              <a:gd name="connsiteX9" fmla="*/ 690754 w 9595474"/>
              <a:gd name="connsiteY9" fmla="*/ 669290 h 6858000"/>
              <a:gd name="connsiteX10" fmla="*/ 690754 w 9595474"/>
              <a:gd name="connsiteY10" fmla="*/ 661988 h 6858000"/>
              <a:gd name="connsiteX11" fmla="*/ 691345 w 9595474"/>
              <a:gd name="connsiteY11" fmla="*/ 654368 h 6858000"/>
              <a:gd name="connsiteX12" fmla="*/ 692527 w 9595474"/>
              <a:gd name="connsiteY12" fmla="*/ 647383 h 6858000"/>
              <a:gd name="connsiteX13" fmla="*/ 694005 w 9595474"/>
              <a:gd name="connsiteY13" fmla="*/ 640080 h 6858000"/>
              <a:gd name="connsiteX14" fmla="*/ 695778 w 9595474"/>
              <a:gd name="connsiteY14" fmla="*/ 633095 h 6858000"/>
              <a:gd name="connsiteX15" fmla="*/ 698143 w 9595474"/>
              <a:gd name="connsiteY15" fmla="*/ 625793 h 6858000"/>
              <a:gd name="connsiteX16" fmla="*/ 700803 w 9595474"/>
              <a:gd name="connsiteY16" fmla="*/ 618808 h 6858000"/>
              <a:gd name="connsiteX17" fmla="*/ 704054 w 9595474"/>
              <a:gd name="connsiteY17" fmla="*/ 612140 h 6858000"/>
              <a:gd name="connsiteX18" fmla="*/ 707601 w 9595474"/>
              <a:gd name="connsiteY18" fmla="*/ 605790 h 6858000"/>
              <a:gd name="connsiteX19" fmla="*/ 712035 w 9595474"/>
              <a:gd name="connsiteY19" fmla="*/ 599123 h 6858000"/>
              <a:gd name="connsiteX20" fmla="*/ 716173 w 9595474"/>
              <a:gd name="connsiteY20" fmla="*/ 592773 h 6858000"/>
              <a:gd name="connsiteX21" fmla="*/ 721198 w 9595474"/>
              <a:gd name="connsiteY21" fmla="*/ 587058 h 6858000"/>
              <a:gd name="connsiteX22" fmla="*/ 726518 w 9595474"/>
              <a:gd name="connsiteY22" fmla="*/ 581343 h 6858000"/>
              <a:gd name="connsiteX23" fmla="*/ 731247 w 9595474"/>
              <a:gd name="connsiteY23" fmla="*/ 576898 h 6858000"/>
              <a:gd name="connsiteX24" fmla="*/ 735976 w 9595474"/>
              <a:gd name="connsiteY24" fmla="*/ 572453 h 6858000"/>
              <a:gd name="connsiteX25" fmla="*/ 741001 w 9595474"/>
              <a:gd name="connsiteY25" fmla="*/ 568960 h 6858000"/>
              <a:gd name="connsiteX26" fmla="*/ 746026 w 9595474"/>
              <a:gd name="connsiteY26" fmla="*/ 565468 h 6858000"/>
              <a:gd name="connsiteX27" fmla="*/ 751050 w 9595474"/>
              <a:gd name="connsiteY27" fmla="*/ 562293 h 6858000"/>
              <a:gd name="connsiteX28" fmla="*/ 756371 w 9595474"/>
              <a:gd name="connsiteY28" fmla="*/ 558800 h 6858000"/>
              <a:gd name="connsiteX29" fmla="*/ 761691 w 9595474"/>
              <a:gd name="connsiteY29" fmla="*/ 556578 h 6858000"/>
              <a:gd name="connsiteX30" fmla="*/ 767602 w 9595474"/>
              <a:gd name="connsiteY30" fmla="*/ 554038 h 6858000"/>
              <a:gd name="connsiteX31" fmla="*/ 772923 w 9595474"/>
              <a:gd name="connsiteY31" fmla="*/ 551815 h 6858000"/>
              <a:gd name="connsiteX32" fmla="*/ 778834 w 9595474"/>
              <a:gd name="connsiteY32" fmla="*/ 549910 h 6858000"/>
              <a:gd name="connsiteX33" fmla="*/ 784450 w 9595474"/>
              <a:gd name="connsiteY33" fmla="*/ 548640 h 6858000"/>
              <a:gd name="connsiteX34" fmla="*/ 790066 w 9595474"/>
              <a:gd name="connsiteY34" fmla="*/ 547370 h 6858000"/>
              <a:gd name="connsiteX35" fmla="*/ 795977 w 9595474"/>
              <a:gd name="connsiteY35" fmla="*/ 546418 h 6858000"/>
              <a:gd name="connsiteX36" fmla="*/ 802184 w 9595474"/>
              <a:gd name="connsiteY36" fmla="*/ 545783 h 6858000"/>
              <a:gd name="connsiteX37" fmla="*/ 807800 w 9595474"/>
              <a:gd name="connsiteY37" fmla="*/ 545465 h 6858000"/>
              <a:gd name="connsiteX38" fmla="*/ 814007 w 9595474"/>
              <a:gd name="connsiteY38" fmla="*/ 544830 h 6858000"/>
              <a:gd name="connsiteX39" fmla="*/ 819623 w 9595474"/>
              <a:gd name="connsiteY39" fmla="*/ 545465 h 6858000"/>
              <a:gd name="connsiteX40" fmla="*/ 825830 w 9595474"/>
              <a:gd name="connsiteY40" fmla="*/ 545783 h 6858000"/>
              <a:gd name="connsiteX41" fmla="*/ 831446 w 9595474"/>
              <a:gd name="connsiteY41" fmla="*/ 546418 h 6858000"/>
              <a:gd name="connsiteX42" fmla="*/ 837358 w 9595474"/>
              <a:gd name="connsiteY42" fmla="*/ 547370 h 6858000"/>
              <a:gd name="connsiteX43" fmla="*/ 842974 w 9595474"/>
              <a:gd name="connsiteY43" fmla="*/ 548640 h 6858000"/>
              <a:gd name="connsiteX44" fmla="*/ 848885 w 9595474"/>
              <a:gd name="connsiteY44" fmla="*/ 549910 h 6858000"/>
              <a:gd name="connsiteX45" fmla="*/ 854501 w 9595474"/>
              <a:gd name="connsiteY45" fmla="*/ 551815 h 6858000"/>
              <a:gd name="connsiteX46" fmla="*/ 860117 w 9595474"/>
              <a:gd name="connsiteY46" fmla="*/ 554038 h 6858000"/>
              <a:gd name="connsiteX47" fmla="*/ 865733 w 9595474"/>
              <a:gd name="connsiteY47" fmla="*/ 556578 h 6858000"/>
              <a:gd name="connsiteX48" fmla="*/ 871053 w 9595474"/>
              <a:gd name="connsiteY48" fmla="*/ 558800 h 6858000"/>
              <a:gd name="connsiteX49" fmla="*/ 876373 w 9595474"/>
              <a:gd name="connsiteY49" fmla="*/ 562293 h 6858000"/>
              <a:gd name="connsiteX50" fmla="*/ 881398 w 9595474"/>
              <a:gd name="connsiteY50" fmla="*/ 565468 h 6858000"/>
              <a:gd name="connsiteX51" fmla="*/ 886718 w 9595474"/>
              <a:gd name="connsiteY51" fmla="*/ 568960 h 6858000"/>
              <a:gd name="connsiteX52" fmla="*/ 891447 w 9595474"/>
              <a:gd name="connsiteY52" fmla="*/ 572453 h 6858000"/>
              <a:gd name="connsiteX53" fmla="*/ 896177 w 9595474"/>
              <a:gd name="connsiteY53" fmla="*/ 576898 h 6858000"/>
              <a:gd name="connsiteX54" fmla="*/ 900906 w 9595474"/>
              <a:gd name="connsiteY54" fmla="*/ 581343 h 6858000"/>
              <a:gd name="connsiteX55" fmla="*/ 1431459 w 9595474"/>
              <a:gd name="connsiteY55" fmla="*/ 1111568 h 6858000"/>
              <a:gd name="connsiteX56" fmla="*/ 2394731 w 9595474"/>
              <a:gd name="connsiteY56" fmla="*/ 2074863 h 6858000"/>
              <a:gd name="connsiteX57" fmla="*/ 2399164 w 9595474"/>
              <a:gd name="connsiteY57" fmla="*/ 2079308 h 6858000"/>
              <a:gd name="connsiteX58" fmla="*/ 2404189 w 9595474"/>
              <a:gd name="connsiteY58" fmla="*/ 2083435 h 6858000"/>
              <a:gd name="connsiteX59" fmla="*/ 2408918 w 9595474"/>
              <a:gd name="connsiteY59" fmla="*/ 2087245 h 6858000"/>
              <a:gd name="connsiteX60" fmla="*/ 2413943 w 9595474"/>
              <a:gd name="connsiteY60" fmla="*/ 2090738 h 6858000"/>
              <a:gd name="connsiteX61" fmla="*/ 2419263 w 9595474"/>
              <a:gd name="connsiteY61" fmla="*/ 2093913 h 6858000"/>
              <a:gd name="connsiteX62" fmla="*/ 2424583 w 9595474"/>
              <a:gd name="connsiteY62" fmla="*/ 2096770 h 6858000"/>
              <a:gd name="connsiteX63" fmla="*/ 2430199 w 9595474"/>
              <a:gd name="connsiteY63" fmla="*/ 2099628 h 6858000"/>
              <a:gd name="connsiteX64" fmla="*/ 2435520 w 9595474"/>
              <a:gd name="connsiteY64" fmla="*/ 2101850 h 6858000"/>
              <a:gd name="connsiteX65" fmla="*/ 2441136 w 9595474"/>
              <a:gd name="connsiteY65" fmla="*/ 2104073 h 6858000"/>
              <a:gd name="connsiteX66" fmla="*/ 2447047 w 9595474"/>
              <a:gd name="connsiteY66" fmla="*/ 2105660 h 6858000"/>
              <a:gd name="connsiteX67" fmla="*/ 2452663 w 9595474"/>
              <a:gd name="connsiteY67" fmla="*/ 2107565 h 6858000"/>
              <a:gd name="connsiteX68" fmla="*/ 2458574 w 9595474"/>
              <a:gd name="connsiteY68" fmla="*/ 2108518 h 6858000"/>
              <a:gd name="connsiteX69" fmla="*/ 2464190 w 9595474"/>
              <a:gd name="connsiteY69" fmla="*/ 2109788 h 6858000"/>
              <a:gd name="connsiteX70" fmla="*/ 2469806 w 9595474"/>
              <a:gd name="connsiteY70" fmla="*/ 2110423 h 6858000"/>
              <a:gd name="connsiteX71" fmla="*/ 2476013 w 9595474"/>
              <a:gd name="connsiteY71" fmla="*/ 2110740 h 6858000"/>
              <a:gd name="connsiteX72" fmla="*/ 2481925 w 9595474"/>
              <a:gd name="connsiteY72" fmla="*/ 2111058 h 6858000"/>
              <a:gd name="connsiteX73" fmla="*/ 2487836 w 9595474"/>
              <a:gd name="connsiteY73" fmla="*/ 2110740 h 6858000"/>
              <a:gd name="connsiteX74" fmla="*/ 2493747 w 9595474"/>
              <a:gd name="connsiteY74" fmla="*/ 2110423 h 6858000"/>
              <a:gd name="connsiteX75" fmla="*/ 2499363 w 9595474"/>
              <a:gd name="connsiteY75" fmla="*/ 2109788 h 6858000"/>
              <a:gd name="connsiteX76" fmla="*/ 2505570 w 9595474"/>
              <a:gd name="connsiteY76" fmla="*/ 2108518 h 6858000"/>
              <a:gd name="connsiteX77" fmla="*/ 2511186 w 9595474"/>
              <a:gd name="connsiteY77" fmla="*/ 2107565 h 6858000"/>
              <a:gd name="connsiteX78" fmla="*/ 2517098 w 9595474"/>
              <a:gd name="connsiteY78" fmla="*/ 2105660 h 6858000"/>
              <a:gd name="connsiteX79" fmla="*/ 2522714 w 9595474"/>
              <a:gd name="connsiteY79" fmla="*/ 2104073 h 6858000"/>
              <a:gd name="connsiteX80" fmla="*/ 2528034 w 9595474"/>
              <a:gd name="connsiteY80" fmla="*/ 2101850 h 6858000"/>
              <a:gd name="connsiteX81" fmla="*/ 2533945 w 9595474"/>
              <a:gd name="connsiteY81" fmla="*/ 2099628 h 6858000"/>
              <a:gd name="connsiteX82" fmla="*/ 2539266 w 9595474"/>
              <a:gd name="connsiteY82" fmla="*/ 2096770 h 6858000"/>
              <a:gd name="connsiteX83" fmla="*/ 2544290 w 9595474"/>
              <a:gd name="connsiteY83" fmla="*/ 2093913 h 6858000"/>
              <a:gd name="connsiteX84" fmla="*/ 2549611 w 9595474"/>
              <a:gd name="connsiteY84" fmla="*/ 2090738 h 6858000"/>
              <a:gd name="connsiteX85" fmla="*/ 2554635 w 9595474"/>
              <a:gd name="connsiteY85" fmla="*/ 2087245 h 6858000"/>
              <a:gd name="connsiteX86" fmla="*/ 2559660 w 9595474"/>
              <a:gd name="connsiteY86" fmla="*/ 2083435 h 6858000"/>
              <a:gd name="connsiteX87" fmla="*/ 2564389 w 9595474"/>
              <a:gd name="connsiteY87" fmla="*/ 2079308 h 6858000"/>
              <a:gd name="connsiteX88" fmla="*/ 2569119 w 9595474"/>
              <a:gd name="connsiteY88" fmla="*/ 2074863 h 6858000"/>
              <a:gd name="connsiteX89" fmla="*/ 2573257 w 9595474"/>
              <a:gd name="connsiteY89" fmla="*/ 2070100 h 6858000"/>
              <a:gd name="connsiteX90" fmla="*/ 2577395 w 9595474"/>
              <a:gd name="connsiteY90" fmla="*/ 2065655 h 6858000"/>
              <a:gd name="connsiteX91" fmla="*/ 2581237 w 9595474"/>
              <a:gd name="connsiteY91" fmla="*/ 2060575 h 6858000"/>
              <a:gd name="connsiteX92" fmla="*/ 2584784 w 9595474"/>
              <a:gd name="connsiteY92" fmla="*/ 2055495 h 6858000"/>
              <a:gd name="connsiteX93" fmla="*/ 2588035 w 9595474"/>
              <a:gd name="connsiteY93" fmla="*/ 2050415 h 6858000"/>
              <a:gd name="connsiteX94" fmla="*/ 2590991 w 9595474"/>
              <a:gd name="connsiteY94" fmla="*/ 2045018 h 6858000"/>
              <a:gd name="connsiteX95" fmla="*/ 2593651 w 9595474"/>
              <a:gd name="connsiteY95" fmla="*/ 2039620 h 6858000"/>
              <a:gd name="connsiteX96" fmla="*/ 2596016 w 9595474"/>
              <a:gd name="connsiteY96" fmla="*/ 2034223 h 6858000"/>
              <a:gd name="connsiteX97" fmla="*/ 2598085 w 9595474"/>
              <a:gd name="connsiteY97" fmla="*/ 2028508 h 6858000"/>
              <a:gd name="connsiteX98" fmla="*/ 2599858 w 9595474"/>
              <a:gd name="connsiteY98" fmla="*/ 2022793 h 6858000"/>
              <a:gd name="connsiteX99" fmla="*/ 2601336 w 9595474"/>
              <a:gd name="connsiteY99" fmla="*/ 2017078 h 6858000"/>
              <a:gd name="connsiteX100" fmla="*/ 2602814 w 9595474"/>
              <a:gd name="connsiteY100" fmla="*/ 2011363 h 6858000"/>
              <a:gd name="connsiteX101" fmla="*/ 2603996 w 9595474"/>
              <a:gd name="connsiteY101" fmla="*/ 2005648 h 6858000"/>
              <a:gd name="connsiteX102" fmla="*/ 2604587 w 9595474"/>
              <a:gd name="connsiteY102" fmla="*/ 1999615 h 6858000"/>
              <a:gd name="connsiteX103" fmla="*/ 2604883 w 9595474"/>
              <a:gd name="connsiteY103" fmla="*/ 1993583 h 6858000"/>
              <a:gd name="connsiteX104" fmla="*/ 2604883 w 9595474"/>
              <a:gd name="connsiteY104" fmla="*/ 1987550 h 6858000"/>
              <a:gd name="connsiteX105" fmla="*/ 2604883 w 9595474"/>
              <a:gd name="connsiteY105" fmla="*/ 1981835 h 6858000"/>
              <a:gd name="connsiteX106" fmla="*/ 2604587 w 9595474"/>
              <a:gd name="connsiteY106" fmla="*/ 1976120 h 6858000"/>
              <a:gd name="connsiteX107" fmla="*/ 2603996 w 9595474"/>
              <a:gd name="connsiteY107" fmla="*/ 1970088 h 6858000"/>
              <a:gd name="connsiteX108" fmla="*/ 2602814 w 9595474"/>
              <a:gd name="connsiteY108" fmla="*/ 1964373 h 6858000"/>
              <a:gd name="connsiteX109" fmla="*/ 2601336 w 9595474"/>
              <a:gd name="connsiteY109" fmla="*/ 1958658 h 6858000"/>
              <a:gd name="connsiteX110" fmla="*/ 2599858 w 9595474"/>
              <a:gd name="connsiteY110" fmla="*/ 1952625 h 6858000"/>
              <a:gd name="connsiteX111" fmla="*/ 2598085 w 9595474"/>
              <a:gd name="connsiteY111" fmla="*/ 1946910 h 6858000"/>
              <a:gd name="connsiteX112" fmla="*/ 2596016 w 9595474"/>
              <a:gd name="connsiteY112" fmla="*/ 1941195 h 6858000"/>
              <a:gd name="connsiteX113" fmla="*/ 2593651 w 9595474"/>
              <a:gd name="connsiteY113" fmla="*/ 1935798 h 6858000"/>
              <a:gd name="connsiteX114" fmla="*/ 2590991 w 9595474"/>
              <a:gd name="connsiteY114" fmla="*/ 1930400 h 6858000"/>
              <a:gd name="connsiteX115" fmla="*/ 2588035 w 9595474"/>
              <a:gd name="connsiteY115" fmla="*/ 1925003 h 6858000"/>
              <a:gd name="connsiteX116" fmla="*/ 2584784 w 9595474"/>
              <a:gd name="connsiteY116" fmla="*/ 1919923 h 6858000"/>
              <a:gd name="connsiteX117" fmla="*/ 2581237 w 9595474"/>
              <a:gd name="connsiteY117" fmla="*/ 1915160 h 6858000"/>
              <a:gd name="connsiteX118" fmla="*/ 2577395 w 9595474"/>
              <a:gd name="connsiteY118" fmla="*/ 1910080 h 6858000"/>
              <a:gd name="connsiteX119" fmla="*/ 2573257 w 9595474"/>
              <a:gd name="connsiteY119" fmla="*/ 1905318 h 6858000"/>
              <a:gd name="connsiteX120" fmla="*/ 2569119 w 9595474"/>
              <a:gd name="connsiteY120" fmla="*/ 1900555 h 6858000"/>
              <a:gd name="connsiteX121" fmla="*/ 1590477 w 9595474"/>
              <a:gd name="connsiteY121" fmla="*/ 922020 h 6858000"/>
              <a:gd name="connsiteX122" fmla="*/ 1272736 w 9595474"/>
              <a:gd name="connsiteY122" fmla="*/ 604203 h 6858000"/>
              <a:gd name="connsiteX123" fmla="*/ 1268303 w 9595474"/>
              <a:gd name="connsiteY123" fmla="*/ 599440 h 6858000"/>
              <a:gd name="connsiteX124" fmla="*/ 1264165 w 9595474"/>
              <a:gd name="connsiteY124" fmla="*/ 594995 h 6858000"/>
              <a:gd name="connsiteX125" fmla="*/ 1260322 w 9595474"/>
              <a:gd name="connsiteY125" fmla="*/ 589915 h 6858000"/>
              <a:gd name="connsiteX126" fmla="*/ 1256776 w 9595474"/>
              <a:gd name="connsiteY126" fmla="*/ 584835 h 6858000"/>
              <a:gd name="connsiteX127" fmla="*/ 1253524 w 9595474"/>
              <a:gd name="connsiteY127" fmla="*/ 579755 h 6858000"/>
              <a:gd name="connsiteX128" fmla="*/ 1250864 w 9595474"/>
              <a:gd name="connsiteY128" fmla="*/ 574358 h 6858000"/>
              <a:gd name="connsiteX129" fmla="*/ 1247908 w 9595474"/>
              <a:gd name="connsiteY129" fmla="*/ 568960 h 6858000"/>
              <a:gd name="connsiteX130" fmla="*/ 1245839 w 9595474"/>
              <a:gd name="connsiteY130" fmla="*/ 563563 h 6858000"/>
              <a:gd name="connsiteX131" fmla="*/ 1243475 w 9595474"/>
              <a:gd name="connsiteY131" fmla="*/ 557848 h 6858000"/>
              <a:gd name="connsiteX132" fmla="*/ 1241701 w 9595474"/>
              <a:gd name="connsiteY132" fmla="*/ 552133 h 6858000"/>
              <a:gd name="connsiteX133" fmla="*/ 1239928 w 9595474"/>
              <a:gd name="connsiteY133" fmla="*/ 546418 h 6858000"/>
              <a:gd name="connsiteX134" fmla="*/ 1238746 w 9595474"/>
              <a:gd name="connsiteY134" fmla="*/ 540703 h 6858000"/>
              <a:gd name="connsiteX135" fmla="*/ 1237859 w 9595474"/>
              <a:gd name="connsiteY135" fmla="*/ 534988 h 6858000"/>
              <a:gd name="connsiteX136" fmla="*/ 1236972 w 9595474"/>
              <a:gd name="connsiteY136" fmla="*/ 528638 h 6858000"/>
              <a:gd name="connsiteX137" fmla="*/ 1236677 w 9595474"/>
              <a:gd name="connsiteY137" fmla="*/ 522923 h 6858000"/>
              <a:gd name="connsiteX138" fmla="*/ 1236381 w 9595474"/>
              <a:gd name="connsiteY138" fmla="*/ 516890 h 6858000"/>
              <a:gd name="connsiteX139" fmla="*/ 1236677 w 9595474"/>
              <a:gd name="connsiteY139" fmla="*/ 511175 h 6858000"/>
              <a:gd name="connsiteX140" fmla="*/ 1236972 w 9595474"/>
              <a:gd name="connsiteY140" fmla="*/ 505460 h 6858000"/>
              <a:gd name="connsiteX141" fmla="*/ 1237859 w 9595474"/>
              <a:gd name="connsiteY141" fmla="*/ 499428 h 6858000"/>
              <a:gd name="connsiteX142" fmla="*/ 1238746 w 9595474"/>
              <a:gd name="connsiteY142" fmla="*/ 493713 h 6858000"/>
              <a:gd name="connsiteX143" fmla="*/ 1239928 w 9595474"/>
              <a:gd name="connsiteY143" fmla="*/ 487680 h 6858000"/>
              <a:gd name="connsiteX144" fmla="*/ 1241701 w 9595474"/>
              <a:gd name="connsiteY144" fmla="*/ 481965 h 6858000"/>
              <a:gd name="connsiteX145" fmla="*/ 1243475 w 9595474"/>
              <a:gd name="connsiteY145" fmla="*/ 476250 h 6858000"/>
              <a:gd name="connsiteX146" fmla="*/ 1245839 w 9595474"/>
              <a:gd name="connsiteY146" fmla="*/ 470535 h 6858000"/>
              <a:gd name="connsiteX147" fmla="*/ 1247908 w 9595474"/>
              <a:gd name="connsiteY147" fmla="*/ 465138 h 6858000"/>
              <a:gd name="connsiteX148" fmla="*/ 1250864 w 9595474"/>
              <a:gd name="connsiteY148" fmla="*/ 459740 h 6858000"/>
              <a:gd name="connsiteX149" fmla="*/ 1253524 w 9595474"/>
              <a:gd name="connsiteY149" fmla="*/ 454343 h 6858000"/>
              <a:gd name="connsiteX150" fmla="*/ 1256776 w 9595474"/>
              <a:gd name="connsiteY150" fmla="*/ 449263 h 6858000"/>
              <a:gd name="connsiteX151" fmla="*/ 1260322 w 9595474"/>
              <a:gd name="connsiteY151" fmla="*/ 444500 h 6858000"/>
              <a:gd name="connsiteX152" fmla="*/ 1264165 w 9595474"/>
              <a:gd name="connsiteY152" fmla="*/ 439420 h 6858000"/>
              <a:gd name="connsiteX153" fmla="*/ 1268303 w 9595474"/>
              <a:gd name="connsiteY153" fmla="*/ 434658 h 6858000"/>
              <a:gd name="connsiteX154" fmla="*/ 1272736 w 9595474"/>
              <a:gd name="connsiteY154" fmla="*/ 429895 h 6858000"/>
              <a:gd name="connsiteX155" fmla="*/ 1277466 w 9595474"/>
              <a:gd name="connsiteY155" fmla="*/ 425768 h 6858000"/>
              <a:gd name="connsiteX156" fmla="*/ 1281899 w 9595474"/>
              <a:gd name="connsiteY156" fmla="*/ 421323 h 6858000"/>
              <a:gd name="connsiteX157" fmla="*/ 1286924 w 9595474"/>
              <a:gd name="connsiteY157" fmla="*/ 417830 h 6858000"/>
              <a:gd name="connsiteX158" fmla="*/ 1291949 w 9595474"/>
              <a:gd name="connsiteY158" fmla="*/ 414338 h 6858000"/>
              <a:gd name="connsiteX159" fmla="*/ 1296973 w 9595474"/>
              <a:gd name="connsiteY159" fmla="*/ 410845 h 6858000"/>
              <a:gd name="connsiteX160" fmla="*/ 1302589 w 9595474"/>
              <a:gd name="connsiteY160" fmla="*/ 407988 h 6858000"/>
              <a:gd name="connsiteX161" fmla="*/ 1307910 w 9595474"/>
              <a:gd name="connsiteY161" fmla="*/ 405130 h 6858000"/>
              <a:gd name="connsiteX162" fmla="*/ 1313230 w 9595474"/>
              <a:gd name="connsiteY162" fmla="*/ 402908 h 6858000"/>
              <a:gd name="connsiteX163" fmla="*/ 1318846 w 9595474"/>
              <a:gd name="connsiteY163" fmla="*/ 401003 h 6858000"/>
              <a:gd name="connsiteX164" fmla="*/ 1324757 w 9595474"/>
              <a:gd name="connsiteY164" fmla="*/ 399098 h 6858000"/>
              <a:gd name="connsiteX165" fmla="*/ 1330373 w 9595474"/>
              <a:gd name="connsiteY165" fmla="*/ 397193 h 6858000"/>
              <a:gd name="connsiteX166" fmla="*/ 1336285 w 9595474"/>
              <a:gd name="connsiteY166" fmla="*/ 396240 h 6858000"/>
              <a:gd name="connsiteX167" fmla="*/ 1341901 w 9595474"/>
              <a:gd name="connsiteY167" fmla="*/ 395288 h 6858000"/>
              <a:gd name="connsiteX168" fmla="*/ 1348108 w 9595474"/>
              <a:gd name="connsiteY168" fmla="*/ 394335 h 6858000"/>
              <a:gd name="connsiteX169" fmla="*/ 1353723 w 9595474"/>
              <a:gd name="connsiteY169" fmla="*/ 394018 h 6858000"/>
              <a:gd name="connsiteX170" fmla="*/ 1359930 w 9595474"/>
              <a:gd name="connsiteY170" fmla="*/ 393700 h 6858000"/>
              <a:gd name="connsiteX171" fmla="*/ 1365546 w 9595474"/>
              <a:gd name="connsiteY171" fmla="*/ 394018 h 6858000"/>
              <a:gd name="connsiteX172" fmla="*/ 1371458 w 9595474"/>
              <a:gd name="connsiteY172" fmla="*/ 394335 h 6858000"/>
              <a:gd name="connsiteX173" fmla="*/ 1377665 w 9595474"/>
              <a:gd name="connsiteY173" fmla="*/ 395288 h 6858000"/>
              <a:gd name="connsiteX174" fmla="*/ 1383281 w 9595474"/>
              <a:gd name="connsiteY174" fmla="*/ 396240 h 6858000"/>
              <a:gd name="connsiteX175" fmla="*/ 1388897 w 9595474"/>
              <a:gd name="connsiteY175" fmla="*/ 397193 h 6858000"/>
              <a:gd name="connsiteX176" fmla="*/ 1394808 w 9595474"/>
              <a:gd name="connsiteY176" fmla="*/ 399098 h 6858000"/>
              <a:gd name="connsiteX177" fmla="*/ 1400424 w 9595474"/>
              <a:gd name="connsiteY177" fmla="*/ 401003 h 6858000"/>
              <a:gd name="connsiteX178" fmla="*/ 1406335 w 9595474"/>
              <a:gd name="connsiteY178" fmla="*/ 402908 h 6858000"/>
              <a:gd name="connsiteX179" fmla="*/ 1411656 w 9595474"/>
              <a:gd name="connsiteY179" fmla="*/ 405130 h 6858000"/>
              <a:gd name="connsiteX180" fmla="*/ 1416976 w 9595474"/>
              <a:gd name="connsiteY180" fmla="*/ 407988 h 6858000"/>
              <a:gd name="connsiteX181" fmla="*/ 1422296 w 9595474"/>
              <a:gd name="connsiteY181" fmla="*/ 410845 h 6858000"/>
              <a:gd name="connsiteX182" fmla="*/ 1427617 w 9595474"/>
              <a:gd name="connsiteY182" fmla="*/ 414338 h 6858000"/>
              <a:gd name="connsiteX183" fmla="*/ 1432641 w 9595474"/>
              <a:gd name="connsiteY183" fmla="*/ 417830 h 6858000"/>
              <a:gd name="connsiteX184" fmla="*/ 1437666 w 9595474"/>
              <a:gd name="connsiteY184" fmla="*/ 421323 h 6858000"/>
              <a:gd name="connsiteX185" fmla="*/ 1442100 w 9595474"/>
              <a:gd name="connsiteY185" fmla="*/ 425768 h 6858000"/>
              <a:gd name="connsiteX186" fmla="*/ 1446829 w 9595474"/>
              <a:gd name="connsiteY186" fmla="*/ 429895 h 6858000"/>
              <a:gd name="connsiteX187" fmla="*/ 1907036 w 9595474"/>
              <a:gd name="connsiteY187" fmla="*/ 890270 h 6858000"/>
              <a:gd name="connsiteX188" fmla="*/ 2165662 w 9595474"/>
              <a:gd name="connsiteY188" fmla="*/ 1148715 h 6858000"/>
              <a:gd name="connsiteX189" fmla="*/ 2170391 w 9595474"/>
              <a:gd name="connsiteY189" fmla="*/ 1153160 h 6858000"/>
              <a:gd name="connsiteX190" fmla="*/ 2175416 w 9595474"/>
              <a:gd name="connsiteY190" fmla="*/ 1157288 h 6858000"/>
              <a:gd name="connsiteX191" fmla="*/ 2180145 w 9595474"/>
              <a:gd name="connsiteY191" fmla="*/ 1161098 h 6858000"/>
              <a:gd name="connsiteX192" fmla="*/ 2185170 w 9595474"/>
              <a:gd name="connsiteY192" fmla="*/ 1164590 h 6858000"/>
              <a:gd name="connsiteX193" fmla="*/ 2190490 w 9595474"/>
              <a:gd name="connsiteY193" fmla="*/ 1167765 h 6858000"/>
              <a:gd name="connsiteX194" fmla="*/ 2195810 w 9595474"/>
              <a:gd name="connsiteY194" fmla="*/ 1170623 h 6858000"/>
              <a:gd name="connsiteX195" fmla="*/ 2201130 w 9595474"/>
              <a:gd name="connsiteY195" fmla="*/ 1173480 h 6858000"/>
              <a:gd name="connsiteX196" fmla="*/ 2206746 w 9595474"/>
              <a:gd name="connsiteY196" fmla="*/ 1176020 h 6858000"/>
              <a:gd name="connsiteX197" fmla="*/ 2212362 w 9595474"/>
              <a:gd name="connsiteY197" fmla="*/ 1177925 h 6858000"/>
              <a:gd name="connsiteX198" fmla="*/ 2217683 w 9595474"/>
              <a:gd name="connsiteY198" fmla="*/ 1180148 h 6858000"/>
              <a:gd name="connsiteX199" fmla="*/ 2223594 w 9595474"/>
              <a:gd name="connsiteY199" fmla="*/ 1181418 h 6858000"/>
              <a:gd name="connsiteX200" fmla="*/ 2229505 w 9595474"/>
              <a:gd name="connsiteY200" fmla="*/ 1182688 h 6858000"/>
              <a:gd name="connsiteX201" fmla="*/ 2235417 w 9595474"/>
              <a:gd name="connsiteY201" fmla="*/ 1183640 h 6858000"/>
              <a:gd name="connsiteX202" fmla="*/ 2241033 w 9595474"/>
              <a:gd name="connsiteY202" fmla="*/ 1184275 h 6858000"/>
              <a:gd name="connsiteX203" fmla="*/ 2247240 w 9595474"/>
              <a:gd name="connsiteY203" fmla="*/ 1184593 h 6858000"/>
              <a:gd name="connsiteX204" fmla="*/ 2252856 w 9595474"/>
              <a:gd name="connsiteY204" fmla="*/ 1185228 h 6858000"/>
              <a:gd name="connsiteX205" fmla="*/ 2259063 w 9595474"/>
              <a:gd name="connsiteY205" fmla="*/ 1184593 h 6858000"/>
              <a:gd name="connsiteX206" fmla="*/ 2264679 w 9595474"/>
              <a:gd name="connsiteY206" fmla="*/ 1184275 h 6858000"/>
              <a:gd name="connsiteX207" fmla="*/ 2270590 w 9595474"/>
              <a:gd name="connsiteY207" fmla="*/ 1183640 h 6858000"/>
              <a:gd name="connsiteX208" fmla="*/ 2276797 w 9595474"/>
              <a:gd name="connsiteY208" fmla="*/ 1182688 h 6858000"/>
              <a:gd name="connsiteX209" fmla="*/ 2282413 w 9595474"/>
              <a:gd name="connsiteY209" fmla="*/ 1181418 h 6858000"/>
              <a:gd name="connsiteX210" fmla="*/ 2288029 w 9595474"/>
              <a:gd name="connsiteY210" fmla="*/ 1180148 h 6858000"/>
              <a:gd name="connsiteX211" fmla="*/ 2293940 w 9595474"/>
              <a:gd name="connsiteY211" fmla="*/ 1177925 h 6858000"/>
              <a:gd name="connsiteX212" fmla="*/ 2299261 w 9595474"/>
              <a:gd name="connsiteY212" fmla="*/ 1176020 h 6858000"/>
              <a:gd name="connsiteX213" fmla="*/ 2304581 w 9595474"/>
              <a:gd name="connsiteY213" fmla="*/ 1173480 h 6858000"/>
              <a:gd name="connsiteX214" fmla="*/ 2310492 w 9595474"/>
              <a:gd name="connsiteY214" fmla="*/ 1170623 h 6858000"/>
              <a:gd name="connsiteX215" fmla="*/ 2315517 w 9595474"/>
              <a:gd name="connsiteY215" fmla="*/ 1167765 h 6858000"/>
              <a:gd name="connsiteX216" fmla="*/ 2320837 w 9595474"/>
              <a:gd name="connsiteY216" fmla="*/ 1164590 h 6858000"/>
              <a:gd name="connsiteX217" fmla="*/ 2325862 w 9595474"/>
              <a:gd name="connsiteY217" fmla="*/ 1161098 h 6858000"/>
              <a:gd name="connsiteX218" fmla="*/ 2330887 w 9595474"/>
              <a:gd name="connsiteY218" fmla="*/ 1157288 h 6858000"/>
              <a:gd name="connsiteX219" fmla="*/ 2335616 w 9595474"/>
              <a:gd name="connsiteY219" fmla="*/ 1153160 h 6858000"/>
              <a:gd name="connsiteX220" fmla="*/ 2340345 w 9595474"/>
              <a:gd name="connsiteY220" fmla="*/ 1148715 h 6858000"/>
              <a:gd name="connsiteX221" fmla="*/ 2344483 w 9595474"/>
              <a:gd name="connsiteY221" fmla="*/ 1144270 h 6858000"/>
              <a:gd name="connsiteX222" fmla="*/ 2348621 w 9595474"/>
              <a:gd name="connsiteY222" fmla="*/ 1139508 h 6858000"/>
              <a:gd name="connsiteX223" fmla="*/ 2352464 w 9595474"/>
              <a:gd name="connsiteY223" fmla="*/ 1134428 h 6858000"/>
              <a:gd name="connsiteX224" fmla="*/ 2356011 w 9595474"/>
              <a:gd name="connsiteY224" fmla="*/ 1129348 h 6858000"/>
              <a:gd name="connsiteX225" fmla="*/ 2359262 w 9595474"/>
              <a:gd name="connsiteY225" fmla="*/ 1124268 h 6858000"/>
              <a:gd name="connsiteX226" fmla="*/ 2362218 w 9595474"/>
              <a:gd name="connsiteY226" fmla="*/ 1118870 h 6858000"/>
              <a:gd name="connsiteX227" fmla="*/ 2364582 w 9595474"/>
              <a:gd name="connsiteY227" fmla="*/ 1113473 h 6858000"/>
              <a:gd name="connsiteX228" fmla="*/ 2367242 w 9595474"/>
              <a:gd name="connsiteY228" fmla="*/ 1108075 h 6858000"/>
              <a:gd name="connsiteX229" fmla="*/ 2369311 w 9595474"/>
              <a:gd name="connsiteY229" fmla="*/ 1102360 h 6858000"/>
              <a:gd name="connsiteX230" fmla="*/ 2371085 w 9595474"/>
              <a:gd name="connsiteY230" fmla="*/ 1096645 h 6858000"/>
              <a:gd name="connsiteX231" fmla="*/ 2372563 w 9595474"/>
              <a:gd name="connsiteY231" fmla="*/ 1090930 h 6858000"/>
              <a:gd name="connsiteX232" fmla="*/ 2374041 w 9595474"/>
              <a:gd name="connsiteY232" fmla="*/ 1085215 h 6858000"/>
              <a:gd name="connsiteX233" fmla="*/ 2375223 w 9595474"/>
              <a:gd name="connsiteY233" fmla="*/ 1079500 h 6858000"/>
              <a:gd name="connsiteX234" fmla="*/ 2375814 w 9595474"/>
              <a:gd name="connsiteY234" fmla="*/ 1073785 h 6858000"/>
              <a:gd name="connsiteX235" fmla="*/ 2376110 w 9595474"/>
              <a:gd name="connsiteY235" fmla="*/ 1067753 h 6858000"/>
              <a:gd name="connsiteX236" fmla="*/ 2376110 w 9595474"/>
              <a:gd name="connsiteY236" fmla="*/ 1061720 h 6858000"/>
              <a:gd name="connsiteX237" fmla="*/ 2376110 w 9595474"/>
              <a:gd name="connsiteY237" fmla="*/ 1055688 h 6858000"/>
              <a:gd name="connsiteX238" fmla="*/ 2375814 w 9595474"/>
              <a:gd name="connsiteY238" fmla="*/ 1049973 h 6858000"/>
              <a:gd name="connsiteX239" fmla="*/ 2375223 w 9595474"/>
              <a:gd name="connsiteY239" fmla="*/ 1043940 h 6858000"/>
              <a:gd name="connsiteX240" fmla="*/ 2374041 w 9595474"/>
              <a:gd name="connsiteY240" fmla="*/ 1038225 h 6858000"/>
              <a:gd name="connsiteX241" fmla="*/ 2372563 w 9595474"/>
              <a:gd name="connsiteY241" fmla="*/ 1032510 h 6858000"/>
              <a:gd name="connsiteX242" fmla="*/ 2371085 w 9595474"/>
              <a:gd name="connsiteY242" fmla="*/ 1026795 h 6858000"/>
              <a:gd name="connsiteX243" fmla="*/ 2369311 w 9595474"/>
              <a:gd name="connsiteY243" fmla="*/ 1021080 h 6858000"/>
              <a:gd name="connsiteX244" fmla="*/ 2367242 w 9595474"/>
              <a:gd name="connsiteY244" fmla="*/ 1015683 h 6858000"/>
              <a:gd name="connsiteX245" fmla="*/ 2364582 w 9595474"/>
              <a:gd name="connsiteY245" fmla="*/ 1009650 h 6858000"/>
              <a:gd name="connsiteX246" fmla="*/ 2362218 w 9595474"/>
              <a:gd name="connsiteY246" fmla="*/ 1004253 h 6858000"/>
              <a:gd name="connsiteX247" fmla="*/ 2359262 w 9595474"/>
              <a:gd name="connsiteY247" fmla="*/ 998855 h 6858000"/>
              <a:gd name="connsiteX248" fmla="*/ 2356011 w 9595474"/>
              <a:gd name="connsiteY248" fmla="*/ 994093 h 6858000"/>
              <a:gd name="connsiteX249" fmla="*/ 2352464 w 9595474"/>
              <a:gd name="connsiteY249" fmla="*/ 989013 h 6858000"/>
              <a:gd name="connsiteX250" fmla="*/ 2348621 w 9595474"/>
              <a:gd name="connsiteY250" fmla="*/ 983933 h 6858000"/>
              <a:gd name="connsiteX251" fmla="*/ 2344483 w 9595474"/>
              <a:gd name="connsiteY251" fmla="*/ 979170 h 6858000"/>
              <a:gd name="connsiteX252" fmla="*/ 2340345 w 9595474"/>
              <a:gd name="connsiteY252" fmla="*/ 974725 h 6858000"/>
              <a:gd name="connsiteX253" fmla="*/ 2240737 w 9595474"/>
              <a:gd name="connsiteY253" fmla="*/ 875030 h 6858000"/>
              <a:gd name="connsiteX254" fmla="*/ 1991865 w 9595474"/>
              <a:gd name="connsiteY254" fmla="*/ 626428 h 6858000"/>
              <a:gd name="connsiteX255" fmla="*/ 1987431 w 9595474"/>
              <a:gd name="connsiteY255" fmla="*/ 621665 h 6858000"/>
              <a:gd name="connsiteX256" fmla="*/ 1983589 w 9595474"/>
              <a:gd name="connsiteY256" fmla="*/ 616903 h 6858000"/>
              <a:gd name="connsiteX257" fmla="*/ 1979451 w 9595474"/>
              <a:gd name="connsiteY257" fmla="*/ 612140 h 6858000"/>
              <a:gd name="connsiteX258" fmla="*/ 1975904 w 9595474"/>
              <a:gd name="connsiteY258" fmla="*/ 607060 h 6858000"/>
              <a:gd name="connsiteX259" fmla="*/ 1972653 w 9595474"/>
              <a:gd name="connsiteY259" fmla="*/ 601663 h 6858000"/>
              <a:gd name="connsiteX260" fmla="*/ 1969993 w 9595474"/>
              <a:gd name="connsiteY260" fmla="*/ 596265 h 6858000"/>
              <a:gd name="connsiteX261" fmla="*/ 1967037 w 9595474"/>
              <a:gd name="connsiteY261" fmla="*/ 590868 h 6858000"/>
              <a:gd name="connsiteX262" fmla="*/ 1964968 w 9595474"/>
              <a:gd name="connsiteY262" fmla="*/ 585470 h 6858000"/>
              <a:gd name="connsiteX263" fmla="*/ 1962603 w 9595474"/>
              <a:gd name="connsiteY263" fmla="*/ 579755 h 6858000"/>
              <a:gd name="connsiteX264" fmla="*/ 1960830 w 9595474"/>
              <a:gd name="connsiteY264" fmla="*/ 574358 h 6858000"/>
              <a:gd name="connsiteX265" fmla="*/ 1959056 w 9595474"/>
              <a:gd name="connsiteY265" fmla="*/ 568643 h 6858000"/>
              <a:gd name="connsiteX266" fmla="*/ 1958170 w 9595474"/>
              <a:gd name="connsiteY266" fmla="*/ 562610 h 6858000"/>
              <a:gd name="connsiteX267" fmla="*/ 1956987 w 9595474"/>
              <a:gd name="connsiteY267" fmla="*/ 556895 h 6858000"/>
              <a:gd name="connsiteX268" fmla="*/ 1956396 w 9595474"/>
              <a:gd name="connsiteY268" fmla="*/ 551180 h 6858000"/>
              <a:gd name="connsiteX269" fmla="*/ 1955805 w 9595474"/>
              <a:gd name="connsiteY269" fmla="*/ 544830 h 6858000"/>
              <a:gd name="connsiteX270" fmla="*/ 1955805 w 9595474"/>
              <a:gd name="connsiteY270" fmla="*/ 539115 h 6858000"/>
              <a:gd name="connsiteX271" fmla="*/ 1955805 w 9595474"/>
              <a:gd name="connsiteY271" fmla="*/ 533083 h 6858000"/>
              <a:gd name="connsiteX272" fmla="*/ 1956396 w 9595474"/>
              <a:gd name="connsiteY272" fmla="*/ 527368 h 6858000"/>
              <a:gd name="connsiteX273" fmla="*/ 1956987 w 9595474"/>
              <a:gd name="connsiteY273" fmla="*/ 521653 h 6858000"/>
              <a:gd name="connsiteX274" fmla="*/ 1958170 w 9595474"/>
              <a:gd name="connsiteY274" fmla="*/ 515620 h 6858000"/>
              <a:gd name="connsiteX275" fmla="*/ 1959056 w 9595474"/>
              <a:gd name="connsiteY275" fmla="*/ 509588 h 6858000"/>
              <a:gd name="connsiteX276" fmla="*/ 1960830 w 9595474"/>
              <a:gd name="connsiteY276" fmla="*/ 503873 h 6858000"/>
              <a:gd name="connsiteX277" fmla="*/ 1962603 w 9595474"/>
              <a:gd name="connsiteY277" fmla="*/ 498158 h 6858000"/>
              <a:gd name="connsiteX278" fmla="*/ 1964968 w 9595474"/>
              <a:gd name="connsiteY278" fmla="*/ 492760 h 6858000"/>
              <a:gd name="connsiteX279" fmla="*/ 1967037 w 9595474"/>
              <a:gd name="connsiteY279" fmla="*/ 487363 h 6858000"/>
              <a:gd name="connsiteX280" fmla="*/ 1969993 w 9595474"/>
              <a:gd name="connsiteY280" fmla="*/ 481648 h 6858000"/>
              <a:gd name="connsiteX281" fmla="*/ 1972653 w 9595474"/>
              <a:gd name="connsiteY281" fmla="*/ 476568 h 6858000"/>
              <a:gd name="connsiteX282" fmla="*/ 1975904 w 9595474"/>
              <a:gd name="connsiteY282" fmla="*/ 471170 h 6858000"/>
              <a:gd name="connsiteX283" fmla="*/ 1979451 w 9595474"/>
              <a:gd name="connsiteY283" fmla="*/ 466408 h 6858000"/>
              <a:gd name="connsiteX284" fmla="*/ 1983589 w 9595474"/>
              <a:gd name="connsiteY284" fmla="*/ 461328 h 6858000"/>
              <a:gd name="connsiteX285" fmla="*/ 1987431 w 9595474"/>
              <a:gd name="connsiteY285" fmla="*/ 456565 h 6858000"/>
              <a:gd name="connsiteX286" fmla="*/ 1991865 w 9595474"/>
              <a:gd name="connsiteY286" fmla="*/ 451803 h 6858000"/>
              <a:gd name="connsiteX287" fmla="*/ 1996594 w 9595474"/>
              <a:gd name="connsiteY287" fmla="*/ 447675 h 6858000"/>
              <a:gd name="connsiteX288" fmla="*/ 2001028 w 9595474"/>
              <a:gd name="connsiteY288" fmla="*/ 443548 h 6858000"/>
              <a:gd name="connsiteX289" fmla="*/ 2006052 w 9595474"/>
              <a:gd name="connsiteY289" fmla="*/ 439738 h 6858000"/>
              <a:gd name="connsiteX290" fmla="*/ 2011077 w 9595474"/>
              <a:gd name="connsiteY290" fmla="*/ 436245 h 6858000"/>
              <a:gd name="connsiteX291" fmla="*/ 2016102 w 9595474"/>
              <a:gd name="connsiteY291" fmla="*/ 432753 h 6858000"/>
              <a:gd name="connsiteX292" fmla="*/ 2021718 w 9595474"/>
              <a:gd name="connsiteY292" fmla="*/ 429895 h 6858000"/>
              <a:gd name="connsiteX293" fmla="*/ 2027038 w 9595474"/>
              <a:gd name="connsiteY293" fmla="*/ 427355 h 6858000"/>
              <a:gd name="connsiteX294" fmla="*/ 2032654 w 9595474"/>
              <a:gd name="connsiteY294" fmla="*/ 424815 h 6858000"/>
              <a:gd name="connsiteX295" fmla="*/ 2038270 w 9595474"/>
              <a:gd name="connsiteY295" fmla="*/ 422910 h 6858000"/>
              <a:gd name="connsiteX296" fmla="*/ 2043886 w 9595474"/>
              <a:gd name="connsiteY296" fmla="*/ 421005 h 6858000"/>
              <a:gd name="connsiteX297" fmla="*/ 2049502 w 9595474"/>
              <a:gd name="connsiteY297" fmla="*/ 419735 h 6858000"/>
              <a:gd name="connsiteX298" fmla="*/ 2055413 w 9595474"/>
              <a:gd name="connsiteY298" fmla="*/ 418148 h 6858000"/>
              <a:gd name="connsiteX299" fmla="*/ 2061029 w 9595474"/>
              <a:gd name="connsiteY299" fmla="*/ 417195 h 6858000"/>
              <a:gd name="connsiteX300" fmla="*/ 2067236 w 9595474"/>
              <a:gd name="connsiteY300" fmla="*/ 416243 h 6858000"/>
              <a:gd name="connsiteX301" fmla="*/ 2072852 w 9595474"/>
              <a:gd name="connsiteY301" fmla="*/ 415925 h 6858000"/>
              <a:gd name="connsiteX302" fmla="*/ 2079059 w 9595474"/>
              <a:gd name="connsiteY302" fmla="*/ 415925 h 6858000"/>
              <a:gd name="connsiteX303" fmla="*/ 2084970 w 9595474"/>
              <a:gd name="connsiteY303" fmla="*/ 415925 h 6858000"/>
              <a:gd name="connsiteX304" fmla="*/ 2090882 w 9595474"/>
              <a:gd name="connsiteY304" fmla="*/ 416243 h 6858000"/>
              <a:gd name="connsiteX305" fmla="*/ 2096793 w 9595474"/>
              <a:gd name="connsiteY305" fmla="*/ 417195 h 6858000"/>
              <a:gd name="connsiteX306" fmla="*/ 2102409 w 9595474"/>
              <a:gd name="connsiteY306" fmla="*/ 418148 h 6858000"/>
              <a:gd name="connsiteX307" fmla="*/ 2108321 w 9595474"/>
              <a:gd name="connsiteY307" fmla="*/ 419735 h 6858000"/>
              <a:gd name="connsiteX308" fmla="*/ 2113936 w 9595474"/>
              <a:gd name="connsiteY308" fmla="*/ 421005 h 6858000"/>
              <a:gd name="connsiteX309" fmla="*/ 2119552 w 9595474"/>
              <a:gd name="connsiteY309" fmla="*/ 422910 h 6858000"/>
              <a:gd name="connsiteX310" fmla="*/ 2125464 w 9595474"/>
              <a:gd name="connsiteY310" fmla="*/ 424815 h 6858000"/>
              <a:gd name="connsiteX311" fmla="*/ 2130784 w 9595474"/>
              <a:gd name="connsiteY311" fmla="*/ 427355 h 6858000"/>
              <a:gd name="connsiteX312" fmla="*/ 2136104 w 9595474"/>
              <a:gd name="connsiteY312" fmla="*/ 429895 h 6858000"/>
              <a:gd name="connsiteX313" fmla="*/ 2141720 w 9595474"/>
              <a:gd name="connsiteY313" fmla="*/ 432753 h 6858000"/>
              <a:gd name="connsiteX314" fmla="*/ 2146745 w 9595474"/>
              <a:gd name="connsiteY314" fmla="*/ 436245 h 6858000"/>
              <a:gd name="connsiteX315" fmla="*/ 2152065 w 9595474"/>
              <a:gd name="connsiteY315" fmla="*/ 439738 h 6858000"/>
              <a:gd name="connsiteX316" fmla="*/ 2156795 w 9595474"/>
              <a:gd name="connsiteY316" fmla="*/ 443548 h 6858000"/>
              <a:gd name="connsiteX317" fmla="*/ 2161819 w 9595474"/>
              <a:gd name="connsiteY317" fmla="*/ 447675 h 6858000"/>
              <a:gd name="connsiteX318" fmla="*/ 2165957 w 9595474"/>
              <a:gd name="connsiteY318" fmla="*/ 451803 h 6858000"/>
              <a:gd name="connsiteX319" fmla="*/ 2966073 w 9595474"/>
              <a:gd name="connsiteY319" fmla="*/ 1251903 h 6858000"/>
              <a:gd name="connsiteX320" fmla="*/ 5612631 w 9595474"/>
              <a:gd name="connsiteY320" fmla="*/ 3898583 h 6858000"/>
              <a:gd name="connsiteX321" fmla="*/ 5617360 w 9595474"/>
              <a:gd name="connsiteY321" fmla="*/ 3903345 h 6858000"/>
              <a:gd name="connsiteX322" fmla="*/ 5621498 w 9595474"/>
              <a:gd name="connsiteY322" fmla="*/ 3908425 h 6858000"/>
              <a:gd name="connsiteX323" fmla="*/ 5625341 w 9595474"/>
              <a:gd name="connsiteY323" fmla="*/ 3913505 h 6858000"/>
              <a:gd name="connsiteX324" fmla="*/ 5628888 w 9595474"/>
              <a:gd name="connsiteY324" fmla="*/ 3918585 h 6858000"/>
              <a:gd name="connsiteX325" fmla="*/ 5632139 w 9595474"/>
              <a:gd name="connsiteY325" fmla="*/ 3923348 h 6858000"/>
              <a:gd name="connsiteX326" fmla="*/ 5635094 w 9595474"/>
              <a:gd name="connsiteY326" fmla="*/ 3928745 h 6858000"/>
              <a:gd name="connsiteX327" fmla="*/ 5638050 w 9595474"/>
              <a:gd name="connsiteY327" fmla="*/ 3934460 h 6858000"/>
              <a:gd name="connsiteX328" fmla="*/ 5640415 w 9595474"/>
              <a:gd name="connsiteY328" fmla="*/ 3939858 h 6858000"/>
              <a:gd name="connsiteX329" fmla="*/ 5642484 w 9595474"/>
              <a:gd name="connsiteY329" fmla="*/ 3945890 h 6858000"/>
              <a:gd name="connsiteX330" fmla="*/ 5644257 w 9595474"/>
              <a:gd name="connsiteY330" fmla="*/ 3951605 h 6858000"/>
              <a:gd name="connsiteX331" fmla="*/ 5645735 w 9595474"/>
              <a:gd name="connsiteY331" fmla="*/ 3957320 h 6858000"/>
              <a:gd name="connsiteX332" fmla="*/ 5647213 w 9595474"/>
              <a:gd name="connsiteY332" fmla="*/ 3963353 h 6858000"/>
              <a:gd name="connsiteX333" fmla="*/ 5648100 w 9595474"/>
              <a:gd name="connsiteY333" fmla="*/ 3969068 h 6858000"/>
              <a:gd name="connsiteX334" fmla="*/ 5648691 w 9595474"/>
              <a:gd name="connsiteY334" fmla="*/ 3975100 h 6858000"/>
              <a:gd name="connsiteX335" fmla="*/ 5649282 w 9595474"/>
              <a:gd name="connsiteY335" fmla="*/ 3980815 h 6858000"/>
              <a:gd name="connsiteX336" fmla="*/ 5649282 w 9595474"/>
              <a:gd name="connsiteY336" fmla="*/ 3987165 h 6858000"/>
              <a:gd name="connsiteX337" fmla="*/ 5649282 w 9595474"/>
              <a:gd name="connsiteY337" fmla="*/ 3992880 h 6858000"/>
              <a:gd name="connsiteX338" fmla="*/ 5648691 w 9595474"/>
              <a:gd name="connsiteY338" fmla="*/ 3998913 h 6858000"/>
              <a:gd name="connsiteX339" fmla="*/ 5648100 w 9595474"/>
              <a:gd name="connsiteY339" fmla="*/ 4004945 h 6858000"/>
              <a:gd name="connsiteX340" fmla="*/ 5647213 w 9595474"/>
              <a:gd name="connsiteY340" fmla="*/ 4010660 h 6858000"/>
              <a:gd name="connsiteX341" fmla="*/ 5645735 w 9595474"/>
              <a:gd name="connsiteY341" fmla="*/ 4016375 h 6858000"/>
              <a:gd name="connsiteX342" fmla="*/ 5644257 w 9595474"/>
              <a:gd name="connsiteY342" fmla="*/ 4022725 h 6858000"/>
              <a:gd name="connsiteX343" fmla="*/ 5642484 w 9595474"/>
              <a:gd name="connsiteY343" fmla="*/ 4028440 h 6858000"/>
              <a:gd name="connsiteX344" fmla="*/ 5640415 w 9595474"/>
              <a:gd name="connsiteY344" fmla="*/ 4033838 h 6858000"/>
              <a:gd name="connsiteX345" fmla="*/ 5638050 w 9595474"/>
              <a:gd name="connsiteY345" fmla="*/ 4039553 h 6858000"/>
              <a:gd name="connsiteX346" fmla="*/ 5635094 w 9595474"/>
              <a:gd name="connsiteY346" fmla="*/ 4044950 h 6858000"/>
              <a:gd name="connsiteX347" fmla="*/ 5632139 w 9595474"/>
              <a:gd name="connsiteY347" fmla="*/ 4050348 h 6858000"/>
              <a:gd name="connsiteX348" fmla="*/ 5628888 w 9595474"/>
              <a:gd name="connsiteY348" fmla="*/ 4055745 h 6858000"/>
              <a:gd name="connsiteX349" fmla="*/ 5625341 w 9595474"/>
              <a:gd name="connsiteY349" fmla="*/ 4060825 h 6858000"/>
              <a:gd name="connsiteX350" fmla="*/ 5621498 w 9595474"/>
              <a:gd name="connsiteY350" fmla="*/ 4065588 h 6858000"/>
              <a:gd name="connsiteX351" fmla="*/ 5617360 w 9595474"/>
              <a:gd name="connsiteY351" fmla="*/ 4070350 h 6858000"/>
              <a:gd name="connsiteX352" fmla="*/ 5612631 w 9595474"/>
              <a:gd name="connsiteY352" fmla="*/ 4075113 h 6858000"/>
              <a:gd name="connsiteX353" fmla="*/ 5608198 w 9595474"/>
              <a:gd name="connsiteY353" fmla="*/ 4079875 h 6858000"/>
              <a:gd name="connsiteX354" fmla="*/ 5603468 w 9595474"/>
              <a:gd name="connsiteY354" fmla="*/ 4083685 h 6858000"/>
              <a:gd name="connsiteX355" fmla="*/ 5598443 w 9595474"/>
              <a:gd name="connsiteY355" fmla="*/ 4087495 h 6858000"/>
              <a:gd name="connsiteX356" fmla="*/ 5593419 w 9595474"/>
              <a:gd name="connsiteY356" fmla="*/ 4091305 h 6858000"/>
              <a:gd name="connsiteX357" fmla="*/ 5588098 w 9595474"/>
              <a:gd name="connsiteY357" fmla="*/ 4094480 h 6858000"/>
              <a:gd name="connsiteX358" fmla="*/ 5582482 w 9595474"/>
              <a:gd name="connsiteY358" fmla="*/ 4097338 h 6858000"/>
              <a:gd name="connsiteX359" fmla="*/ 5577162 w 9595474"/>
              <a:gd name="connsiteY359" fmla="*/ 4100195 h 6858000"/>
              <a:gd name="connsiteX360" fmla="*/ 5571842 w 9595474"/>
              <a:gd name="connsiteY360" fmla="*/ 4102418 h 6858000"/>
              <a:gd name="connsiteX361" fmla="*/ 5565931 w 9595474"/>
              <a:gd name="connsiteY361" fmla="*/ 4104640 h 6858000"/>
              <a:gd name="connsiteX362" fmla="*/ 5560315 w 9595474"/>
              <a:gd name="connsiteY362" fmla="*/ 4106545 h 6858000"/>
              <a:gd name="connsiteX363" fmla="*/ 5554699 w 9595474"/>
              <a:gd name="connsiteY363" fmla="*/ 4108133 h 6858000"/>
              <a:gd name="connsiteX364" fmla="*/ 5548492 w 9595474"/>
              <a:gd name="connsiteY364" fmla="*/ 4109403 h 6858000"/>
              <a:gd name="connsiteX365" fmla="*/ 5542580 w 9595474"/>
              <a:gd name="connsiteY365" fmla="*/ 4110355 h 6858000"/>
              <a:gd name="connsiteX366" fmla="*/ 5536669 w 9595474"/>
              <a:gd name="connsiteY366" fmla="*/ 4110990 h 6858000"/>
              <a:gd name="connsiteX367" fmla="*/ 5530758 w 9595474"/>
              <a:gd name="connsiteY367" fmla="*/ 4111308 h 6858000"/>
              <a:gd name="connsiteX368" fmla="*/ 5524846 w 9595474"/>
              <a:gd name="connsiteY368" fmla="*/ 4111625 h 6858000"/>
              <a:gd name="connsiteX369" fmla="*/ 5518639 w 9595474"/>
              <a:gd name="connsiteY369" fmla="*/ 4111308 h 6858000"/>
              <a:gd name="connsiteX370" fmla="*/ 5513023 w 9595474"/>
              <a:gd name="connsiteY370" fmla="*/ 4110990 h 6858000"/>
              <a:gd name="connsiteX371" fmla="*/ 5506816 w 9595474"/>
              <a:gd name="connsiteY371" fmla="*/ 4110355 h 6858000"/>
              <a:gd name="connsiteX372" fmla="*/ 5501200 w 9595474"/>
              <a:gd name="connsiteY372" fmla="*/ 4109403 h 6858000"/>
              <a:gd name="connsiteX373" fmla="*/ 5494993 w 9595474"/>
              <a:gd name="connsiteY373" fmla="*/ 4108133 h 6858000"/>
              <a:gd name="connsiteX374" fmla="*/ 5489081 w 9595474"/>
              <a:gd name="connsiteY374" fmla="*/ 4106545 h 6858000"/>
              <a:gd name="connsiteX375" fmla="*/ 5483466 w 9595474"/>
              <a:gd name="connsiteY375" fmla="*/ 4104640 h 6858000"/>
              <a:gd name="connsiteX376" fmla="*/ 5477850 w 9595474"/>
              <a:gd name="connsiteY376" fmla="*/ 4102418 h 6858000"/>
              <a:gd name="connsiteX377" fmla="*/ 5472234 w 9595474"/>
              <a:gd name="connsiteY377" fmla="*/ 4100195 h 6858000"/>
              <a:gd name="connsiteX378" fmla="*/ 5466913 w 9595474"/>
              <a:gd name="connsiteY378" fmla="*/ 4097338 h 6858000"/>
              <a:gd name="connsiteX379" fmla="*/ 5461593 w 9595474"/>
              <a:gd name="connsiteY379" fmla="*/ 4094480 h 6858000"/>
              <a:gd name="connsiteX380" fmla="*/ 5456273 w 9595474"/>
              <a:gd name="connsiteY380" fmla="*/ 4091305 h 6858000"/>
              <a:gd name="connsiteX381" fmla="*/ 5451248 w 9595474"/>
              <a:gd name="connsiteY381" fmla="*/ 4087495 h 6858000"/>
              <a:gd name="connsiteX382" fmla="*/ 5446223 w 9595474"/>
              <a:gd name="connsiteY382" fmla="*/ 4083685 h 6858000"/>
              <a:gd name="connsiteX383" fmla="*/ 5441495 w 9595474"/>
              <a:gd name="connsiteY383" fmla="*/ 4079875 h 6858000"/>
              <a:gd name="connsiteX384" fmla="*/ 5436765 w 9595474"/>
              <a:gd name="connsiteY384" fmla="*/ 4075113 h 6858000"/>
              <a:gd name="connsiteX385" fmla="*/ 5322379 w 9595474"/>
              <a:gd name="connsiteY385" fmla="*/ 3960813 h 6858000"/>
              <a:gd name="connsiteX386" fmla="*/ 5317945 w 9595474"/>
              <a:gd name="connsiteY386" fmla="*/ 3956368 h 6858000"/>
              <a:gd name="connsiteX387" fmla="*/ 5312921 w 9595474"/>
              <a:gd name="connsiteY387" fmla="*/ 3952240 h 6858000"/>
              <a:gd name="connsiteX388" fmla="*/ 5307896 w 9595474"/>
              <a:gd name="connsiteY388" fmla="*/ 3948748 h 6858000"/>
              <a:gd name="connsiteX389" fmla="*/ 5302871 w 9595474"/>
              <a:gd name="connsiteY389" fmla="*/ 3944938 h 6858000"/>
              <a:gd name="connsiteX390" fmla="*/ 5297255 w 9595474"/>
              <a:gd name="connsiteY390" fmla="*/ 3941763 h 6858000"/>
              <a:gd name="connsiteX391" fmla="*/ 5292230 w 9595474"/>
              <a:gd name="connsiteY391" fmla="*/ 3938588 h 6858000"/>
              <a:gd name="connsiteX392" fmla="*/ 5286615 w 9595474"/>
              <a:gd name="connsiteY392" fmla="*/ 3936048 h 6858000"/>
              <a:gd name="connsiteX393" fmla="*/ 5281294 w 9595474"/>
              <a:gd name="connsiteY393" fmla="*/ 3933508 h 6858000"/>
              <a:gd name="connsiteX394" fmla="*/ 5275383 w 9595474"/>
              <a:gd name="connsiteY394" fmla="*/ 3931285 h 6858000"/>
              <a:gd name="connsiteX395" fmla="*/ 5269767 w 9595474"/>
              <a:gd name="connsiteY395" fmla="*/ 3929698 h 6858000"/>
              <a:gd name="connsiteX396" fmla="*/ 5263855 w 9595474"/>
              <a:gd name="connsiteY396" fmla="*/ 3927793 h 6858000"/>
              <a:gd name="connsiteX397" fmla="*/ 5257944 w 9595474"/>
              <a:gd name="connsiteY397" fmla="*/ 3926840 h 6858000"/>
              <a:gd name="connsiteX398" fmla="*/ 5252033 w 9595474"/>
              <a:gd name="connsiteY398" fmla="*/ 3925570 h 6858000"/>
              <a:gd name="connsiteX399" fmla="*/ 5246121 w 9595474"/>
              <a:gd name="connsiteY399" fmla="*/ 3924935 h 6858000"/>
              <a:gd name="connsiteX400" fmla="*/ 5240210 w 9595474"/>
              <a:gd name="connsiteY400" fmla="*/ 3924618 h 6858000"/>
              <a:gd name="connsiteX401" fmla="*/ 5234298 w 9595474"/>
              <a:gd name="connsiteY401" fmla="*/ 3924618 h 6858000"/>
              <a:gd name="connsiteX402" fmla="*/ 5228091 w 9595474"/>
              <a:gd name="connsiteY402" fmla="*/ 3924618 h 6858000"/>
              <a:gd name="connsiteX403" fmla="*/ 5222180 w 9595474"/>
              <a:gd name="connsiteY403" fmla="*/ 3924935 h 6858000"/>
              <a:gd name="connsiteX404" fmla="*/ 5216268 w 9595474"/>
              <a:gd name="connsiteY404" fmla="*/ 3925570 h 6858000"/>
              <a:gd name="connsiteX405" fmla="*/ 5210357 w 9595474"/>
              <a:gd name="connsiteY405" fmla="*/ 3926840 h 6858000"/>
              <a:gd name="connsiteX406" fmla="*/ 5204741 w 9595474"/>
              <a:gd name="connsiteY406" fmla="*/ 3927793 h 6858000"/>
              <a:gd name="connsiteX407" fmla="*/ 5198534 w 9595474"/>
              <a:gd name="connsiteY407" fmla="*/ 3929698 h 6858000"/>
              <a:gd name="connsiteX408" fmla="*/ 5192918 w 9595474"/>
              <a:gd name="connsiteY408" fmla="*/ 3931285 h 6858000"/>
              <a:gd name="connsiteX409" fmla="*/ 5187598 w 9595474"/>
              <a:gd name="connsiteY409" fmla="*/ 3933508 h 6858000"/>
              <a:gd name="connsiteX410" fmla="*/ 5181686 w 9595474"/>
              <a:gd name="connsiteY410" fmla="*/ 3936048 h 6858000"/>
              <a:gd name="connsiteX411" fmla="*/ 5176366 w 9595474"/>
              <a:gd name="connsiteY411" fmla="*/ 3938588 h 6858000"/>
              <a:gd name="connsiteX412" fmla="*/ 5171046 w 9595474"/>
              <a:gd name="connsiteY412" fmla="*/ 3941763 h 6858000"/>
              <a:gd name="connsiteX413" fmla="*/ 5165430 w 9595474"/>
              <a:gd name="connsiteY413" fmla="*/ 3944938 h 6858000"/>
              <a:gd name="connsiteX414" fmla="*/ 5160405 w 9595474"/>
              <a:gd name="connsiteY414" fmla="*/ 3948748 h 6858000"/>
              <a:gd name="connsiteX415" fmla="*/ 5155380 w 9595474"/>
              <a:gd name="connsiteY415" fmla="*/ 3952240 h 6858000"/>
              <a:gd name="connsiteX416" fmla="*/ 5150947 w 9595474"/>
              <a:gd name="connsiteY416" fmla="*/ 3956368 h 6858000"/>
              <a:gd name="connsiteX417" fmla="*/ 5146218 w 9595474"/>
              <a:gd name="connsiteY417" fmla="*/ 3960813 h 6858000"/>
              <a:gd name="connsiteX418" fmla="*/ 5141488 w 9595474"/>
              <a:gd name="connsiteY418" fmla="*/ 3965575 h 6858000"/>
              <a:gd name="connsiteX419" fmla="*/ 5137646 w 9595474"/>
              <a:gd name="connsiteY419" fmla="*/ 3970655 h 6858000"/>
              <a:gd name="connsiteX420" fmla="*/ 5133508 w 9595474"/>
              <a:gd name="connsiteY420" fmla="*/ 3975100 h 6858000"/>
              <a:gd name="connsiteX421" fmla="*/ 5129961 w 9595474"/>
              <a:gd name="connsiteY421" fmla="*/ 3980498 h 6858000"/>
              <a:gd name="connsiteX422" fmla="*/ 5126710 w 9595474"/>
              <a:gd name="connsiteY422" fmla="*/ 3985578 h 6858000"/>
              <a:gd name="connsiteX423" fmla="*/ 5123754 w 9595474"/>
              <a:gd name="connsiteY423" fmla="*/ 3990975 h 6858000"/>
              <a:gd name="connsiteX424" fmla="*/ 5121094 w 9595474"/>
              <a:gd name="connsiteY424" fmla="*/ 3996373 h 6858000"/>
              <a:gd name="connsiteX425" fmla="*/ 5118729 w 9595474"/>
              <a:gd name="connsiteY425" fmla="*/ 4002088 h 6858000"/>
              <a:gd name="connsiteX426" fmla="*/ 5116660 w 9595474"/>
              <a:gd name="connsiteY426" fmla="*/ 4007803 h 6858000"/>
              <a:gd name="connsiteX427" fmla="*/ 5114591 w 9595474"/>
              <a:gd name="connsiteY427" fmla="*/ 4013518 h 6858000"/>
              <a:gd name="connsiteX428" fmla="*/ 5113113 w 9595474"/>
              <a:gd name="connsiteY428" fmla="*/ 4019233 h 6858000"/>
              <a:gd name="connsiteX429" fmla="*/ 5111636 w 9595474"/>
              <a:gd name="connsiteY429" fmla="*/ 4025265 h 6858000"/>
              <a:gd name="connsiteX430" fmla="*/ 5111044 w 9595474"/>
              <a:gd name="connsiteY430" fmla="*/ 4031298 h 6858000"/>
              <a:gd name="connsiteX431" fmla="*/ 5110158 w 9595474"/>
              <a:gd name="connsiteY431" fmla="*/ 4037013 h 6858000"/>
              <a:gd name="connsiteX432" fmla="*/ 5109862 w 9595474"/>
              <a:gd name="connsiteY432" fmla="*/ 4043045 h 6858000"/>
              <a:gd name="connsiteX433" fmla="*/ 5109567 w 9595474"/>
              <a:gd name="connsiteY433" fmla="*/ 4049078 h 6858000"/>
              <a:gd name="connsiteX434" fmla="*/ 5109862 w 9595474"/>
              <a:gd name="connsiteY434" fmla="*/ 4055110 h 6858000"/>
              <a:gd name="connsiteX435" fmla="*/ 5110158 w 9595474"/>
              <a:gd name="connsiteY435" fmla="*/ 4061143 h 6858000"/>
              <a:gd name="connsiteX436" fmla="*/ 5111044 w 9595474"/>
              <a:gd name="connsiteY436" fmla="*/ 4066858 h 6858000"/>
              <a:gd name="connsiteX437" fmla="*/ 5111636 w 9595474"/>
              <a:gd name="connsiteY437" fmla="*/ 4072890 h 6858000"/>
              <a:gd name="connsiteX438" fmla="*/ 5113113 w 9595474"/>
              <a:gd name="connsiteY438" fmla="*/ 4078605 h 6858000"/>
              <a:gd name="connsiteX439" fmla="*/ 5114591 w 9595474"/>
              <a:gd name="connsiteY439" fmla="*/ 4084320 h 6858000"/>
              <a:gd name="connsiteX440" fmla="*/ 5116660 w 9595474"/>
              <a:gd name="connsiteY440" fmla="*/ 4090035 h 6858000"/>
              <a:gd name="connsiteX441" fmla="*/ 5118729 w 9595474"/>
              <a:gd name="connsiteY441" fmla="*/ 4095750 h 6858000"/>
              <a:gd name="connsiteX442" fmla="*/ 5121094 w 9595474"/>
              <a:gd name="connsiteY442" fmla="*/ 4101783 h 6858000"/>
              <a:gd name="connsiteX443" fmla="*/ 5123754 w 9595474"/>
              <a:gd name="connsiteY443" fmla="*/ 4107180 h 6858000"/>
              <a:gd name="connsiteX444" fmla="*/ 5126710 w 9595474"/>
              <a:gd name="connsiteY444" fmla="*/ 4112578 h 6858000"/>
              <a:gd name="connsiteX445" fmla="*/ 5129961 w 9595474"/>
              <a:gd name="connsiteY445" fmla="*/ 4117975 h 6858000"/>
              <a:gd name="connsiteX446" fmla="*/ 5133508 w 9595474"/>
              <a:gd name="connsiteY446" fmla="*/ 4122738 h 6858000"/>
              <a:gd name="connsiteX447" fmla="*/ 5137646 w 9595474"/>
              <a:gd name="connsiteY447" fmla="*/ 4127818 h 6858000"/>
              <a:gd name="connsiteX448" fmla="*/ 5141488 w 9595474"/>
              <a:gd name="connsiteY448" fmla="*/ 4132580 h 6858000"/>
              <a:gd name="connsiteX449" fmla="*/ 5146218 w 9595474"/>
              <a:gd name="connsiteY449" fmla="*/ 4137343 h 6858000"/>
              <a:gd name="connsiteX450" fmla="*/ 5870075 w 9595474"/>
              <a:gd name="connsiteY450" fmla="*/ 4860925 h 6858000"/>
              <a:gd name="connsiteX451" fmla="*/ 5874509 w 9595474"/>
              <a:gd name="connsiteY451" fmla="*/ 4865688 h 6858000"/>
              <a:gd name="connsiteX452" fmla="*/ 5878646 w 9595474"/>
              <a:gd name="connsiteY452" fmla="*/ 4870768 h 6858000"/>
              <a:gd name="connsiteX453" fmla="*/ 5882489 w 9595474"/>
              <a:gd name="connsiteY453" fmla="*/ 4875848 h 6858000"/>
              <a:gd name="connsiteX454" fmla="*/ 5886036 w 9595474"/>
              <a:gd name="connsiteY454" fmla="*/ 4880928 h 6858000"/>
              <a:gd name="connsiteX455" fmla="*/ 5889287 w 9595474"/>
              <a:gd name="connsiteY455" fmla="*/ 4885690 h 6858000"/>
              <a:gd name="connsiteX456" fmla="*/ 5892243 w 9595474"/>
              <a:gd name="connsiteY456" fmla="*/ 4891088 h 6858000"/>
              <a:gd name="connsiteX457" fmla="*/ 5895199 w 9595474"/>
              <a:gd name="connsiteY457" fmla="*/ 4897120 h 6858000"/>
              <a:gd name="connsiteX458" fmla="*/ 5897268 w 9595474"/>
              <a:gd name="connsiteY458" fmla="*/ 4902518 h 6858000"/>
              <a:gd name="connsiteX459" fmla="*/ 5899336 w 9595474"/>
              <a:gd name="connsiteY459" fmla="*/ 4908233 h 6858000"/>
              <a:gd name="connsiteX460" fmla="*/ 5901701 w 9595474"/>
              <a:gd name="connsiteY460" fmla="*/ 4913948 h 6858000"/>
              <a:gd name="connsiteX461" fmla="*/ 5902883 w 9595474"/>
              <a:gd name="connsiteY461" fmla="*/ 4919663 h 6858000"/>
              <a:gd name="connsiteX462" fmla="*/ 5904066 w 9595474"/>
              <a:gd name="connsiteY462" fmla="*/ 4925695 h 6858000"/>
              <a:gd name="connsiteX463" fmla="*/ 5905248 w 9595474"/>
              <a:gd name="connsiteY463" fmla="*/ 4931410 h 6858000"/>
              <a:gd name="connsiteX464" fmla="*/ 5905840 w 9595474"/>
              <a:gd name="connsiteY464" fmla="*/ 4937443 h 6858000"/>
              <a:gd name="connsiteX465" fmla="*/ 5906135 w 9595474"/>
              <a:gd name="connsiteY465" fmla="*/ 4943475 h 6858000"/>
              <a:gd name="connsiteX466" fmla="*/ 5906726 w 9595474"/>
              <a:gd name="connsiteY466" fmla="*/ 4949508 h 6858000"/>
              <a:gd name="connsiteX467" fmla="*/ 5906135 w 9595474"/>
              <a:gd name="connsiteY467" fmla="*/ 4955223 h 6858000"/>
              <a:gd name="connsiteX468" fmla="*/ 5905840 w 9595474"/>
              <a:gd name="connsiteY468" fmla="*/ 4961255 h 6858000"/>
              <a:gd name="connsiteX469" fmla="*/ 5905248 w 9595474"/>
              <a:gd name="connsiteY469" fmla="*/ 4967288 h 6858000"/>
              <a:gd name="connsiteX470" fmla="*/ 5904066 w 9595474"/>
              <a:gd name="connsiteY470" fmla="*/ 4973003 h 6858000"/>
              <a:gd name="connsiteX471" fmla="*/ 5902883 w 9595474"/>
              <a:gd name="connsiteY471" fmla="*/ 4979035 h 6858000"/>
              <a:gd name="connsiteX472" fmla="*/ 5901701 w 9595474"/>
              <a:gd name="connsiteY472" fmla="*/ 4985068 h 6858000"/>
              <a:gd name="connsiteX473" fmla="*/ 5899336 w 9595474"/>
              <a:gd name="connsiteY473" fmla="*/ 4990783 h 6858000"/>
              <a:gd name="connsiteX474" fmla="*/ 5897268 w 9595474"/>
              <a:gd name="connsiteY474" fmla="*/ 4996180 h 6858000"/>
              <a:gd name="connsiteX475" fmla="*/ 5895199 w 9595474"/>
              <a:gd name="connsiteY475" fmla="*/ 5001895 h 6858000"/>
              <a:gd name="connsiteX476" fmla="*/ 5892243 w 9595474"/>
              <a:gd name="connsiteY476" fmla="*/ 5007293 h 6858000"/>
              <a:gd name="connsiteX477" fmla="*/ 5889287 w 9595474"/>
              <a:gd name="connsiteY477" fmla="*/ 5012690 h 6858000"/>
              <a:gd name="connsiteX478" fmla="*/ 5886036 w 9595474"/>
              <a:gd name="connsiteY478" fmla="*/ 5018088 h 6858000"/>
              <a:gd name="connsiteX479" fmla="*/ 5882489 w 9595474"/>
              <a:gd name="connsiteY479" fmla="*/ 5023168 h 6858000"/>
              <a:gd name="connsiteX480" fmla="*/ 5878646 w 9595474"/>
              <a:gd name="connsiteY480" fmla="*/ 5028248 h 6858000"/>
              <a:gd name="connsiteX481" fmla="*/ 5874509 w 9595474"/>
              <a:gd name="connsiteY481" fmla="*/ 5032693 h 6858000"/>
              <a:gd name="connsiteX482" fmla="*/ 5870075 w 9595474"/>
              <a:gd name="connsiteY482" fmla="*/ 5037455 h 6858000"/>
              <a:gd name="connsiteX483" fmla="*/ 5865346 w 9595474"/>
              <a:gd name="connsiteY483" fmla="*/ 5041900 h 6858000"/>
              <a:gd name="connsiteX484" fmla="*/ 5860617 w 9595474"/>
              <a:gd name="connsiteY484" fmla="*/ 5046028 h 6858000"/>
              <a:gd name="connsiteX485" fmla="*/ 5855592 w 9595474"/>
              <a:gd name="connsiteY485" fmla="*/ 5050155 h 6858000"/>
              <a:gd name="connsiteX486" fmla="*/ 5850567 w 9595474"/>
              <a:gd name="connsiteY486" fmla="*/ 5053648 h 6858000"/>
              <a:gd name="connsiteX487" fmla="*/ 5845247 w 9595474"/>
              <a:gd name="connsiteY487" fmla="*/ 5056823 h 6858000"/>
              <a:gd name="connsiteX488" fmla="*/ 5839926 w 9595474"/>
              <a:gd name="connsiteY488" fmla="*/ 5059680 h 6858000"/>
              <a:gd name="connsiteX489" fmla="*/ 5834311 w 9595474"/>
              <a:gd name="connsiteY489" fmla="*/ 5062538 h 6858000"/>
              <a:gd name="connsiteX490" fmla="*/ 5828695 w 9595474"/>
              <a:gd name="connsiteY490" fmla="*/ 5064760 h 6858000"/>
              <a:gd name="connsiteX491" fmla="*/ 5823375 w 9595474"/>
              <a:gd name="connsiteY491" fmla="*/ 5066983 h 6858000"/>
              <a:gd name="connsiteX492" fmla="*/ 5817463 w 9595474"/>
              <a:gd name="connsiteY492" fmla="*/ 5069205 h 6858000"/>
              <a:gd name="connsiteX493" fmla="*/ 5811552 w 9595474"/>
              <a:gd name="connsiteY493" fmla="*/ 5070475 h 6858000"/>
              <a:gd name="connsiteX494" fmla="*/ 5805640 w 9595474"/>
              <a:gd name="connsiteY494" fmla="*/ 5071428 h 6858000"/>
              <a:gd name="connsiteX495" fmla="*/ 5800024 w 9595474"/>
              <a:gd name="connsiteY495" fmla="*/ 5072698 h 6858000"/>
              <a:gd name="connsiteX496" fmla="*/ 5793817 w 9595474"/>
              <a:gd name="connsiteY496" fmla="*/ 5073333 h 6858000"/>
              <a:gd name="connsiteX497" fmla="*/ 5787610 w 9595474"/>
              <a:gd name="connsiteY497" fmla="*/ 5073650 h 6858000"/>
              <a:gd name="connsiteX498" fmla="*/ 5781994 w 9595474"/>
              <a:gd name="connsiteY498" fmla="*/ 5073968 h 6858000"/>
              <a:gd name="connsiteX499" fmla="*/ 5775787 w 9595474"/>
              <a:gd name="connsiteY499" fmla="*/ 5073650 h 6858000"/>
              <a:gd name="connsiteX500" fmla="*/ 5770171 w 9595474"/>
              <a:gd name="connsiteY500" fmla="*/ 5073333 h 6858000"/>
              <a:gd name="connsiteX501" fmla="*/ 5763965 w 9595474"/>
              <a:gd name="connsiteY501" fmla="*/ 5072698 h 6858000"/>
              <a:gd name="connsiteX502" fmla="*/ 5758349 w 9595474"/>
              <a:gd name="connsiteY502" fmla="*/ 5071428 h 6858000"/>
              <a:gd name="connsiteX503" fmla="*/ 5752141 w 9595474"/>
              <a:gd name="connsiteY503" fmla="*/ 5070475 h 6858000"/>
              <a:gd name="connsiteX504" fmla="*/ 5746526 w 9595474"/>
              <a:gd name="connsiteY504" fmla="*/ 5069205 h 6858000"/>
              <a:gd name="connsiteX505" fmla="*/ 5740614 w 9595474"/>
              <a:gd name="connsiteY505" fmla="*/ 5066983 h 6858000"/>
              <a:gd name="connsiteX506" fmla="*/ 5734998 w 9595474"/>
              <a:gd name="connsiteY506" fmla="*/ 5064760 h 6858000"/>
              <a:gd name="connsiteX507" fmla="*/ 5729382 w 9595474"/>
              <a:gd name="connsiteY507" fmla="*/ 5062538 h 6858000"/>
              <a:gd name="connsiteX508" fmla="*/ 5723767 w 9595474"/>
              <a:gd name="connsiteY508" fmla="*/ 5059680 h 6858000"/>
              <a:gd name="connsiteX509" fmla="*/ 5718446 w 9595474"/>
              <a:gd name="connsiteY509" fmla="*/ 5056823 h 6858000"/>
              <a:gd name="connsiteX510" fmla="*/ 5713421 w 9595474"/>
              <a:gd name="connsiteY510" fmla="*/ 5053648 h 6858000"/>
              <a:gd name="connsiteX511" fmla="*/ 5708396 w 9595474"/>
              <a:gd name="connsiteY511" fmla="*/ 5050155 h 6858000"/>
              <a:gd name="connsiteX512" fmla="*/ 5703372 w 9595474"/>
              <a:gd name="connsiteY512" fmla="*/ 5046028 h 6858000"/>
              <a:gd name="connsiteX513" fmla="*/ 5698347 w 9595474"/>
              <a:gd name="connsiteY513" fmla="*/ 5041900 h 6858000"/>
              <a:gd name="connsiteX514" fmla="*/ 5693618 w 9595474"/>
              <a:gd name="connsiteY514" fmla="*/ 5037455 h 6858000"/>
              <a:gd name="connsiteX515" fmla="*/ 5598148 w 9595474"/>
              <a:gd name="connsiteY515" fmla="*/ 4941888 h 6858000"/>
              <a:gd name="connsiteX516" fmla="*/ 5490560 w 9595474"/>
              <a:gd name="connsiteY516" fmla="*/ 4834573 h 6858000"/>
              <a:gd name="connsiteX517" fmla="*/ 5485830 w 9595474"/>
              <a:gd name="connsiteY517" fmla="*/ 4830128 h 6858000"/>
              <a:gd name="connsiteX518" fmla="*/ 5481397 w 9595474"/>
              <a:gd name="connsiteY518" fmla="*/ 4826000 h 6858000"/>
              <a:gd name="connsiteX519" fmla="*/ 5476372 w 9595474"/>
              <a:gd name="connsiteY519" fmla="*/ 4821873 h 6858000"/>
              <a:gd name="connsiteX520" fmla="*/ 5471348 w 9595474"/>
              <a:gd name="connsiteY520" fmla="*/ 4818380 h 6858000"/>
              <a:gd name="connsiteX521" fmla="*/ 5465732 w 9595474"/>
              <a:gd name="connsiteY521" fmla="*/ 4815205 h 6858000"/>
              <a:gd name="connsiteX522" fmla="*/ 5460411 w 9595474"/>
              <a:gd name="connsiteY522" fmla="*/ 4812348 h 6858000"/>
              <a:gd name="connsiteX523" fmla="*/ 5455091 w 9595474"/>
              <a:gd name="connsiteY523" fmla="*/ 4809173 h 6858000"/>
              <a:gd name="connsiteX524" fmla="*/ 5449475 w 9595474"/>
              <a:gd name="connsiteY524" fmla="*/ 4807268 h 6858000"/>
              <a:gd name="connsiteX525" fmla="*/ 5443563 w 9595474"/>
              <a:gd name="connsiteY525" fmla="*/ 4805045 h 6858000"/>
              <a:gd name="connsiteX526" fmla="*/ 5437948 w 9595474"/>
              <a:gd name="connsiteY526" fmla="*/ 4802823 h 6858000"/>
              <a:gd name="connsiteX527" fmla="*/ 5432036 w 9595474"/>
              <a:gd name="connsiteY527" fmla="*/ 4801553 h 6858000"/>
              <a:gd name="connsiteX528" fmla="*/ 5426420 w 9595474"/>
              <a:gd name="connsiteY528" fmla="*/ 4800283 h 6858000"/>
              <a:gd name="connsiteX529" fmla="*/ 5420509 w 9595474"/>
              <a:gd name="connsiteY529" fmla="*/ 4799330 h 6858000"/>
              <a:gd name="connsiteX530" fmla="*/ 5414597 w 9595474"/>
              <a:gd name="connsiteY530" fmla="*/ 4798695 h 6858000"/>
              <a:gd name="connsiteX531" fmla="*/ 5408391 w 9595474"/>
              <a:gd name="connsiteY531" fmla="*/ 4798060 h 6858000"/>
              <a:gd name="connsiteX532" fmla="*/ 5402775 w 9595474"/>
              <a:gd name="connsiteY532" fmla="*/ 4797743 h 6858000"/>
              <a:gd name="connsiteX533" fmla="*/ 5396568 w 9595474"/>
              <a:gd name="connsiteY533" fmla="*/ 4798060 h 6858000"/>
              <a:gd name="connsiteX534" fmla="*/ 5390361 w 9595474"/>
              <a:gd name="connsiteY534" fmla="*/ 4798695 h 6858000"/>
              <a:gd name="connsiteX535" fmla="*/ 5384745 w 9595474"/>
              <a:gd name="connsiteY535" fmla="*/ 4799330 h 6858000"/>
              <a:gd name="connsiteX536" fmla="*/ 5378538 w 9595474"/>
              <a:gd name="connsiteY536" fmla="*/ 4800283 h 6858000"/>
              <a:gd name="connsiteX537" fmla="*/ 5372922 w 9595474"/>
              <a:gd name="connsiteY537" fmla="*/ 4801553 h 6858000"/>
              <a:gd name="connsiteX538" fmla="*/ 5367010 w 9595474"/>
              <a:gd name="connsiteY538" fmla="*/ 4802823 h 6858000"/>
              <a:gd name="connsiteX539" fmla="*/ 5361394 w 9595474"/>
              <a:gd name="connsiteY539" fmla="*/ 4805045 h 6858000"/>
              <a:gd name="connsiteX540" fmla="*/ 5355483 w 9595474"/>
              <a:gd name="connsiteY540" fmla="*/ 4807268 h 6858000"/>
              <a:gd name="connsiteX541" fmla="*/ 5350163 w 9595474"/>
              <a:gd name="connsiteY541" fmla="*/ 4809173 h 6858000"/>
              <a:gd name="connsiteX542" fmla="*/ 5344547 w 9595474"/>
              <a:gd name="connsiteY542" fmla="*/ 4812348 h 6858000"/>
              <a:gd name="connsiteX543" fmla="*/ 5338931 w 9595474"/>
              <a:gd name="connsiteY543" fmla="*/ 4815205 h 6858000"/>
              <a:gd name="connsiteX544" fmla="*/ 5333906 w 9595474"/>
              <a:gd name="connsiteY544" fmla="*/ 4818380 h 6858000"/>
              <a:gd name="connsiteX545" fmla="*/ 5328881 w 9595474"/>
              <a:gd name="connsiteY545" fmla="*/ 4821873 h 6858000"/>
              <a:gd name="connsiteX546" fmla="*/ 5323857 w 9595474"/>
              <a:gd name="connsiteY546" fmla="*/ 4826000 h 6858000"/>
              <a:gd name="connsiteX547" fmla="*/ 5318832 w 9595474"/>
              <a:gd name="connsiteY547" fmla="*/ 4830128 h 6858000"/>
              <a:gd name="connsiteX548" fmla="*/ 5314398 w 9595474"/>
              <a:gd name="connsiteY548" fmla="*/ 4834573 h 6858000"/>
              <a:gd name="connsiteX549" fmla="*/ 5307305 w 9595474"/>
              <a:gd name="connsiteY549" fmla="*/ 4841875 h 6858000"/>
              <a:gd name="connsiteX550" fmla="*/ 5301393 w 9595474"/>
              <a:gd name="connsiteY550" fmla="*/ 4849813 h 6858000"/>
              <a:gd name="connsiteX551" fmla="*/ 5295482 w 9595474"/>
              <a:gd name="connsiteY551" fmla="*/ 4858068 h 6858000"/>
              <a:gd name="connsiteX552" fmla="*/ 5291048 w 9595474"/>
              <a:gd name="connsiteY552" fmla="*/ 4867275 h 6858000"/>
              <a:gd name="connsiteX553" fmla="*/ 5286910 w 9595474"/>
              <a:gd name="connsiteY553" fmla="*/ 4875848 h 6858000"/>
              <a:gd name="connsiteX554" fmla="*/ 5283659 w 9595474"/>
              <a:gd name="connsiteY554" fmla="*/ 4885055 h 6858000"/>
              <a:gd name="connsiteX555" fmla="*/ 5281294 w 9595474"/>
              <a:gd name="connsiteY555" fmla="*/ 4894580 h 6858000"/>
              <a:gd name="connsiteX556" fmla="*/ 5279521 w 9595474"/>
              <a:gd name="connsiteY556" fmla="*/ 4903788 h 6858000"/>
              <a:gd name="connsiteX557" fmla="*/ 5278339 w 9595474"/>
              <a:gd name="connsiteY557" fmla="*/ 4913630 h 6858000"/>
              <a:gd name="connsiteX558" fmla="*/ 5278339 w 9595474"/>
              <a:gd name="connsiteY558" fmla="*/ 4923155 h 6858000"/>
              <a:gd name="connsiteX559" fmla="*/ 5278634 w 9595474"/>
              <a:gd name="connsiteY559" fmla="*/ 4932998 h 6858000"/>
              <a:gd name="connsiteX560" fmla="*/ 5279816 w 9595474"/>
              <a:gd name="connsiteY560" fmla="*/ 4942205 h 6858000"/>
              <a:gd name="connsiteX561" fmla="*/ 5281885 w 9595474"/>
              <a:gd name="connsiteY561" fmla="*/ 4952048 h 6858000"/>
              <a:gd name="connsiteX562" fmla="*/ 5284546 w 9595474"/>
              <a:gd name="connsiteY562" fmla="*/ 4960938 h 6858000"/>
              <a:gd name="connsiteX563" fmla="*/ 5288092 w 9595474"/>
              <a:gd name="connsiteY563" fmla="*/ 4970145 h 6858000"/>
              <a:gd name="connsiteX564" fmla="*/ 5291935 w 9595474"/>
              <a:gd name="connsiteY564" fmla="*/ 4979353 h 6858000"/>
              <a:gd name="connsiteX565" fmla="*/ 5583665 w 9595474"/>
              <a:gd name="connsiteY565" fmla="*/ 5270500 h 6858000"/>
              <a:gd name="connsiteX566" fmla="*/ 5588098 w 9595474"/>
              <a:gd name="connsiteY566" fmla="*/ 5275263 h 6858000"/>
              <a:gd name="connsiteX567" fmla="*/ 5592237 w 9595474"/>
              <a:gd name="connsiteY567" fmla="*/ 5280343 h 6858000"/>
              <a:gd name="connsiteX568" fmla="*/ 5595784 w 9595474"/>
              <a:gd name="connsiteY568" fmla="*/ 5284788 h 6858000"/>
              <a:gd name="connsiteX569" fmla="*/ 5599626 w 9595474"/>
              <a:gd name="connsiteY569" fmla="*/ 5290185 h 6858000"/>
              <a:gd name="connsiteX570" fmla="*/ 5602582 w 9595474"/>
              <a:gd name="connsiteY570" fmla="*/ 5295265 h 6858000"/>
              <a:gd name="connsiteX571" fmla="*/ 5605833 w 9595474"/>
              <a:gd name="connsiteY571" fmla="*/ 5300663 h 6858000"/>
              <a:gd name="connsiteX572" fmla="*/ 5608493 w 9595474"/>
              <a:gd name="connsiteY572" fmla="*/ 5306060 h 6858000"/>
              <a:gd name="connsiteX573" fmla="*/ 5610857 w 9595474"/>
              <a:gd name="connsiteY573" fmla="*/ 5311775 h 6858000"/>
              <a:gd name="connsiteX574" fmla="*/ 5613222 w 9595474"/>
              <a:gd name="connsiteY574" fmla="*/ 5317490 h 6858000"/>
              <a:gd name="connsiteX575" fmla="*/ 5614996 w 9595474"/>
              <a:gd name="connsiteY575" fmla="*/ 5323523 h 6858000"/>
              <a:gd name="connsiteX576" fmla="*/ 5616474 w 9595474"/>
              <a:gd name="connsiteY576" fmla="*/ 5329238 h 6858000"/>
              <a:gd name="connsiteX577" fmla="*/ 5617656 w 9595474"/>
              <a:gd name="connsiteY577" fmla="*/ 5334953 h 6858000"/>
              <a:gd name="connsiteX578" fmla="*/ 5618838 w 9595474"/>
              <a:gd name="connsiteY578" fmla="*/ 5340985 h 6858000"/>
              <a:gd name="connsiteX579" fmla="*/ 5619725 w 9595474"/>
              <a:gd name="connsiteY579" fmla="*/ 5346700 h 6858000"/>
              <a:gd name="connsiteX580" fmla="*/ 5620021 w 9595474"/>
              <a:gd name="connsiteY580" fmla="*/ 5352733 h 6858000"/>
              <a:gd name="connsiteX581" fmla="*/ 5620021 w 9595474"/>
              <a:gd name="connsiteY581" fmla="*/ 5359083 h 6858000"/>
              <a:gd name="connsiteX582" fmla="*/ 5620021 w 9595474"/>
              <a:gd name="connsiteY582" fmla="*/ 5364798 h 6858000"/>
              <a:gd name="connsiteX583" fmla="*/ 5619725 w 9595474"/>
              <a:gd name="connsiteY583" fmla="*/ 5370830 h 6858000"/>
              <a:gd name="connsiteX584" fmla="*/ 5618838 w 9595474"/>
              <a:gd name="connsiteY584" fmla="*/ 5376545 h 6858000"/>
              <a:gd name="connsiteX585" fmla="*/ 5617656 w 9595474"/>
              <a:gd name="connsiteY585" fmla="*/ 5382578 h 6858000"/>
              <a:gd name="connsiteX586" fmla="*/ 5616474 w 9595474"/>
              <a:gd name="connsiteY586" fmla="*/ 5388293 h 6858000"/>
              <a:gd name="connsiteX587" fmla="*/ 5614996 w 9595474"/>
              <a:gd name="connsiteY587" fmla="*/ 5394008 h 6858000"/>
              <a:gd name="connsiteX588" fmla="*/ 5613222 w 9595474"/>
              <a:gd name="connsiteY588" fmla="*/ 5400040 h 6858000"/>
              <a:gd name="connsiteX589" fmla="*/ 5610857 w 9595474"/>
              <a:gd name="connsiteY589" fmla="*/ 5405755 h 6858000"/>
              <a:gd name="connsiteX590" fmla="*/ 5608493 w 9595474"/>
              <a:gd name="connsiteY590" fmla="*/ 5411470 h 6858000"/>
              <a:gd name="connsiteX591" fmla="*/ 5605833 w 9595474"/>
              <a:gd name="connsiteY591" fmla="*/ 5416868 h 6858000"/>
              <a:gd name="connsiteX592" fmla="*/ 5602582 w 9595474"/>
              <a:gd name="connsiteY592" fmla="*/ 5422265 h 6858000"/>
              <a:gd name="connsiteX593" fmla="*/ 5599626 w 9595474"/>
              <a:gd name="connsiteY593" fmla="*/ 5427663 h 6858000"/>
              <a:gd name="connsiteX594" fmla="*/ 5595784 w 9595474"/>
              <a:gd name="connsiteY594" fmla="*/ 5432743 h 6858000"/>
              <a:gd name="connsiteX595" fmla="*/ 5592237 w 9595474"/>
              <a:gd name="connsiteY595" fmla="*/ 5437505 h 6858000"/>
              <a:gd name="connsiteX596" fmla="*/ 5588098 w 9595474"/>
              <a:gd name="connsiteY596" fmla="*/ 5442268 h 6858000"/>
              <a:gd name="connsiteX597" fmla="*/ 5583665 w 9595474"/>
              <a:gd name="connsiteY597" fmla="*/ 5447030 h 6858000"/>
              <a:gd name="connsiteX598" fmla="*/ 5578936 w 9595474"/>
              <a:gd name="connsiteY598" fmla="*/ 5451158 h 6858000"/>
              <a:gd name="connsiteX599" fmla="*/ 5573911 w 9595474"/>
              <a:gd name="connsiteY599" fmla="*/ 5455603 h 6858000"/>
              <a:gd name="connsiteX600" fmla="*/ 5569182 w 9595474"/>
              <a:gd name="connsiteY600" fmla="*/ 5459095 h 6858000"/>
              <a:gd name="connsiteX601" fmla="*/ 5563862 w 9595474"/>
              <a:gd name="connsiteY601" fmla="*/ 5462905 h 6858000"/>
              <a:gd name="connsiteX602" fmla="*/ 5558837 w 9595474"/>
              <a:gd name="connsiteY602" fmla="*/ 5466080 h 6858000"/>
              <a:gd name="connsiteX603" fmla="*/ 5553517 w 9595474"/>
              <a:gd name="connsiteY603" fmla="*/ 5469255 h 6858000"/>
              <a:gd name="connsiteX604" fmla="*/ 5548196 w 9595474"/>
              <a:gd name="connsiteY604" fmla="*/ 5471795 h 6858000"/>
              <a:gd name="connsiteX605" fmla="*/ 5542285 w 9595474"/>
              <a:gd name="connsiteY605" fmla="*/ 5474335 h 6858000"/>
              <a:gd name="connsiteX606" fmla="*/ 5536964 w 9595474"/>
              <a:gd name="connsiteY606" fmla="*/ 5476558 h 6858000"/>
              <a:gd name="connsiteX607" fmla="*/ 5531348 w 9595474"/>
              <a:gd name="connsiteY607" fmla="*/ 5478145 h 6858000"/>
              <a:gd name="connsiteX608" fmla="*/ 5525437 w 9595474"/>
              <a:gd name="connsiteY608" fmla="*/ 5479733 h 6858000"/>
              <a:gd name="connsiteX609" fmla="*/ 5519230 w 9595474"/>
              <a:gd name="connsiteY609" fmla="*/ 5481003 h 6858000"/>
              <a:gd name="connsiteX610" fmla="*/ 5513614 w 9595474"/>
              <a:gd name="connsiteY610" fmla="*/ 5482273 h 6858000"/>
              <a:gd name="connsiteX611" fmla="*/ 5507999 w 9595474"/>
              <a:gd name="connsiteY611" fmla="*/ 5482908 h 6858000"/>
              <a:gd name="connsiteX612" fmla="*/ 5501791 w 9595474"/>
              <a:gd name="connsiteY612" fmla="*/ 5483225 h 6858000"/>
              <a:gd name="connsiteX613" fmla="*/ 5495585 w 9595474"/>
              <a:gd name="connsiteY613" fmla="*/ 5483543 h 6858000"/>
              <a:gd name="connsiteX614" fmla="*/ 6873545 w 9595474"/>
              <a:gd name="connsiteY614" fmla="*/ 6858000 h 6858000"/>
              <a:gd name="connsiteX615" fmla="*/ 9595474 w 9595474"/>
              <a:gd name="connsiteY615" fmla="*/ 6858000 h 6858000"/>
              <a:gd name="connsiteX0" fmla="*/ 9595474 w 9595474"/>
              <a:gd name="connsiteY0" fmla="*/ 0 h 6858000"/>
              <a:gd name="connsiteX1" fmla="*/ 3372834 w 9595474"/>
              <a:gd name="connsiteY1" fmla="*/ 0 h 6858000"/>
              <a:gd name="connsiteX2" fmla="*/ 2914643 w 9595474"/>
              <a:gd name="connsiteY2" fmla="*/ 0 h 6858000"/>
              <a:gd name="connsiteX3" fmla="*/ 2857270 w 9595474"/>
              <a:gd name="connsiteY3" fmla="*/ 0 h 6858000"/>
              <a:gd name="connsiteX4" fmla="*/ 0 w 9595474"/>
              <a:gd name="connsiteY4" fmla="*/ 0 h 6858000"/>
              <a:gd name="connsiteX5" fmla="*/ 692823 w 9595474"/>
              <a:gd name="connsiteY5" fmla="*/ 691198 h 6858000"/>
              <a:gd name="connsiteX6" fmla="*/ 691345 w 9595474"/>
              <a:gd name="connsiteY6" fmla="*/ 683895 h 6858000"/>
              <a:gd name="connsiteX7" fmla="*/ 690754 w 9595474"/>
              <a:gd name="connsiteY7" fmla="*/ 676275 h 6858000"/>
              <a:gd name="connsiteX8" fmla="*/ 690754 w 9595474"/>
              <a:gd name="connsiteY8" fmla="*/ 669290 h 6858000"/>
              <a:gd name="connsiteX9" fmla="*/ 690754 w 9595474"/>
              <a:gd name="connsiteY9" fmla="*/ 661988 h 6858000"/>
              <a:gd name="connsiteX10" fmla="*/ 691345 w 9595474"/>
              <a:gd name="connsiteY10" fmla="*/ 654368 h 6858000"/>
              <a:gd name="connsiteX11" fmla="*/ 692527 w 9595474"/>
              <a:gd name="connsiteY11" fmla="*/ 647383 h 6858000"/>
              <a:gd name="connsiteX12" fmla="*/ 694005 w 9595474"/>
              <a:gd name="connsiteY12" fmla="*/ 640080 h 6858000"/>
              <a:gd name="connsiteX13" fmla="*/ 695778 w 9595474"/>
              <a:gd name="connsiteY13" fmla="*/ 633095 h 6858000"/>
              <a:gd name="connsiteX14" fmla="*/ 698143 w 9595474"/>
              <a:gd name="connsiteY14" fmla="*/ 625793 h 6858000"/>
              <a:gd name="connsiteX15" fmla="*/ 700803 w 9595474"/>
              <a:gd name="connsiteY15" fmla="*/ 618808 h 6858000"/>
              <a:gd name="connsiteX16" fmla="*/ 704054 w 9595474"/>
              <a:gd name="connsiteY16" fmla="*/ 612140 h 6858000"/>
              <a:gd name="connsiteX17" fmla="*/ 707601 w 9595474"/>
              <a:gd name="connsiteY17" fmla="*/ 605790 h 6858000"/>
              <a:gd name="connsiteX18" fmla="*/ 712035 w 9595474"/>
              <a:gd name="connsiteY18" fmla="*/ 599123 h 6858000"/>
              <a:gd name="connsiteX19" fmla="*/ 716173 w 9595474"/>
              <a:gd name="connsiteY19" fmla="*/ 592773 h 6858000"/>
              <a:gd name="connsiteX20" fmla="*/ 721198 w 9595474"/>
              <a:gd name="connsiteY20" fmla="*/ 587058 h 6858000"/>
              <a:gd name="connsiteX21" fmla="*/ 726518 w 9595474"/>
              <a:gd name="connsiteY21" fmla="*/ 581343 h 6858000"/>
              <a:gd name="connsiteX22" fmla="*/ 731247 w 9595474"/>
              <a:gd name="connsiteY22" fmla="*/ 576898 h 6858000"/>
              <a:gd name="connsiteX23" fmla="*/ 735976 w 9595474"/>
              <a:gd name="connsiteY23" fmla="*/ 572453 h 6858000"/>
              <a:gd name="connsiteX24" fmla="*/ 741001 w 9595474"/>
              <a:gd name="connsiteY24" fmla="*/ 568960 h 6858000"/>
              <a:gd name="connsiteX25" fmla="*/ 746026 w 9595474"/>
              <a:gd name="connsiteY25" fmla="*/ 565468 h 6858000"/>
              <a:gd name="connsiteX26" fmla="*/ 751050 w 9595474"/>
              <a:gd name="connsiteY26" fmla="*/ 562293 h 6858000"/>
              <a:gd name="connsiteX27" fmla="*/ 756371 w 9595474"/>
              <a:gd name="connsiteY27" fmla="*/ 558800 h 6858000"/>
              <a:gd name="connsiteX28" fmla="*/ 761691 w 9595474"/>
              <a:gd name="connsiteY28" fmla="*/ 556578 h 6858000"/>
              <a:gd name="connsiteX29" fmla="*/ 767602 w 9595474"/>
              <a:gd name="connsiteY29" fmla="*/ 554038 h 6858000"/>
              <a:gd name="connsiteX30" fmla="*/ 772923 w 9595474"/>
              <a:gd name="connsiteY30" fmla="*/ 551815 h 6858000"/>
              <a:gd name="connsiteX31" fmla="*/ 778834 w 9595474"/>
              <a:gd name="connsiteY31" fmla="*/ 549910 h 6858000"/>
              <a:gd name="connsiteX32" fmla="*/ 784450 w 9595474"/>
              <a:gd name="connsiteY32" fmla="*/ 548640 h 6858000"/>
              <a:gd name="connsiteX33" fmla="*/ 790066 w 9595474"/>
              <a:gd name="connsiteY33" fmla="*/ 547370 h 6858000"/>
              <a:gd name="connsiteX34" fmla="*/ 795977 w 9595474"/>
              <a:gd name="connsiteY34" fmla="*/ 546418 h 6858000"/>
              <a:gd name="connsiteX35" fmla="*/ 802184 w 9595474"/>
              <a:gd name="connsiteY35" fmla="*/ 545783 h 6858000"/>
              <a:gd name="connsiteX36" fmla="*/ 807800 w 9595474"/>
              <a:gd name="connsiteY36" fmla="*/ 545465 h 6858000"/>
              <a:gd name="connsiteX37" fmla="*/ 814007 w 9595474"/>
              <a:gd name="connsiteY37" fmla="*/ 544830 h 6858000"/>
              <a:gd name="connsiteX38" fmla="*/ 819623 w 9595474"/>
              <a:gd name="connsiteY38" fmla="*/ 545465 h 6858000"/>
              <a:gd name="connsiteX39" fmla="*/ 825830 w 9595474"/>
              <a:gd name="connsiteY39" fmla="*/ 545783 h 6858000"/>
              <a:gd name="connsiteX40" fmla="*/ 831446 w 9595474"/>
              <a:gd name="connsiteY40" fmla="*/ 546418 h 6858000"/>
              <a:gd name="connsiteX41" fmla="*/ 837358 w 9595474"/>
              <a:gd name="connsiteY41" fmla="*/ 547370 h 6858000"/>
              <a:gd name="connsiteX42" fmla="*/ 842974 w 9595474"/>
              <a:gd name="connsiteY42" fmla="*/ 548640 h 6858000"/>
              <a:gd name="connsiteX43" fmla="*/ 848885 w 9595474"/>
              <a:gd name="connsiteY43" fmla="*/ 549910 h 6858000"/>
              <a:gd name="connsiteX44" fmla="*/ 854501 w 9595474"/>
              <a:gd name="connsiteY44" fmla="*/ 551815 h 6858000"/>
              <a:gd name="connsiteX45" fmla="*/ 860117 w 9595474"/>
              <a:gd name="connsiteY45" fmla="*/ 554038 h 6858000"/>
              <a:gd name="connsiteX46" fmla="*/ 865733 w 9595474"/>
              <a:gd name="connsiteY46" fmla="*/ 556578 h 6858000"/>
              <a:gd name="connsiteX47" fmla="*/ 871053 w 9595474"/>
              <a:gd name="connsiteY47" fmla="*/ 558800 h 6858000"/>
              <a:gd name="connsiteX48" fmla="*/ 876373 w 9595474"/>
              <a:gd name="connsiteY48" fmla="*/ 562293 h 6858000"/>
              <a:gd name="connsiteX49" fmla="*/ 881398 w 9595474"/>
              <a:gd name="connsiteY49" fmla="*/ 565468 h 6858000"/>
              <a:gd name="connsiteX50" fmla="*/ 886718 w 9595474"/>
              <a:gd name="connsiteY50" fmla="*/ 568960 h 6858000"/>
              <a:gd name="connsiteX51" fmla="*/ 891447 w 9595474"/>
              <a:gd name="connsiteY51" fmla="*/ 572453 h 6858000"/>
              <a:gd name="connsiteX52" fmla="*/ 896177 w 9595474"/>
              <a:gd name="connsiteY52" fmla="*/ 576898 h 6858000"/>
              <a:gd name="connsiteX53" fmla="*/ 900906 w 9595474"/>
              <a:gd name="connsiteY53" fmla="*/ 581343 h 6858000"/>
              <a:gd name="connsiteX54" fmla="*/ 1431459 w 9595474"/>
              <a:gd name="connsiteY54" fmla="*/ 1111568 h 6858000"/>
              <a:gd name="connsiteX55" fmla="*/ 2394731 w 9595474"/>
              <a:gd name="connsiteY55" fmla="*/ 2074863 h 6858000"/>
              <a:gd name="connsiteX56" fmla="*/ 2399164 w 9595474"/>
              <a:gd name="connsiteY56" fmla="*/ 2079308 h 6858000"/>
              <a:gd name="connsiteX57" fmla="*/ 2404189 w 9595474"/>
              <a:gd name="connsiteY57" fmla="*/ 2083435 h 6858000"/>
              <a:gd name="connsiteX58" fmla="*/ 2408918 w 9595474"/>
              <a:gd name="connsiteY58" fmla="*/ 2087245 h 6858000"/>
              <a:gd name="connsiteX59" fmla="*/ 2413943 w 9595474"/>
              <a:gd name="connsiteY59" fmla="*/ 2090738 h 6858000"/>
              <a:gd name="connsiteX60" fmla="*/ 2419263 w 9595474"/>
              <a:gd name="connsiteY60" fmla="*/ 2093913 h 6858000"/>
              <a:gd name="connsiteX61" fmla="*/ 2424583 w 9595474"/>
              <a:gd name="connsiteY61" fmla="*/ 2096770 h 6858000"/>
              <a:gd name="connsiteX62" fmla="*/ 2430199 w 9595474"/>
              <a:gd name="connsiteY62" fmla="*/ 2099628 h 6858000"/>
              <a:gd name="connsiteX63" fmla="*/ 2435520 w 9595474"/>
              <a:gd name="connsiteY63" fmla="*/ 2101850 h 6858000"/>
              <a:gd name="connsiteX64" fmla="*/ 2441136 w 9595474"/>
              <a:gd name="connsiteY64" fmla="*/ 2104073 h 6858000"/>
              <a:gd name="connsiteX65" fmla="*/ 2447047 w 9595474"/>
              <a:gd name="connsiteY65" fmla="*/ 2105660 h 6858000"/>
              <a:gd name="connsiteX66" fmla="*/ 2452663 w 9595474"/>
              <a:gd name="connsiteY66" fmla="*/ 2107565 h 6858000"/>
              <a:gd name="connsiteX67" fmla="*/ 2458574 w 9595474"/>
              <a:gd name="connsiteY67" fmla="*/ 2108518 h 6858000"/>
              <a:gd name="connsiteX68" fmla="*/ 2464190 w 9595474"/>
              <a:gd name="connsiteY68" fmla="*/ 2109788 h 6858000"/>
              <a:gd name="connsiteX69" fmla="*/ 2469806 w 9595474"/>
              <a:gd name="connsiteY69" fmla="*/ 2110423 h 6858000"/>
              <a:gd name="connsiteX70" fmla="*/ 2476013 w 9595474"/>
              <a:gd name="connsiteY70" fmla="*/ 2110740 h 6858000"/>
              <a:gd name="connsiteX71" fmla="*/ 2481925 w 9595474"/>
              <a:gd name="connsiteY71" fmla="*/ 2111058 h 6858000"/>
              <a:gd name="connsiteX72" fmla="*/ 2487836 w 9595474"/>
              <a:gd name="connsiteY72" fmla="*/ 2110740 h 6858000"/>
              <a:gd name="connsiteX73" fmla="*/ 2493747 w 9595474"/>
              <a:gd name="connsiteY73" fmla="*/ 2110423 h 6858000"/>
              <a:gd name="connsiteX74" fmla="*/ 2499363 w 9595474"/>
              <a:gd name="connsiteY74" fmla="*/ 2109788 h 6858000"/>
              <a:gd name="connsiteX75" fmla="*/ 2505570 w 9595474"/>
              <a:gd name="connsiteY75" fmla="*/ 2108518 h 6858000"/>
              <a:gd name="connsiteX76" fmla="*/ 2511186 w 9595474"/>
              <a:gd name="connsiteY76" fmla="*/ 2107565 h 6858000"/>
              <a:gd name="connsiteX77" fmla="*/ 2517098 w 9595474"/>
              <a:gd name="connsiteY77" fmla="*/ 2105660 h 6858000"/>
              <a:gd name="connsiteX78" fmla="*/ 2522714 w 9595474"/>
              <a:gd name="connsiteY78" fmla="*/ 2104073 h 6858000"/>
              <a:gd name="connsiteX79" fmla="*/ 2528034 w 9595474"/>
              <a:gd name="connsiteY79" fmla="*/ 2101850 h 6858000"/>
              <a:gd name="connsiteX80" fmla="*/ 2533945 w 9595474"/>
              <a:gd name="connsiteY80" fmla="*/ 2099628 h 6858000"/>
              <a:gd name="connsiteX81" fmla="*/ 2539266 w 9595474"/>
              <a:gd name="connsiteY81" fmla="*/ 2096770 h 6858000"/>
              <a:gd name="connsiteX82" fmla="*/ 2544290 w 9595474"/>
              <a:gd name="connsiteY82" fmla="*/ 2093913 h 6858000"/>
              <a:gd name="connsiteX83" fmla="*/ 2549611 w 9595474"/>
              <a:gd name="connsiteY83" fmla="*/ 2090738 h 6858000"/>
              <a:gd name="connsiteX84" fmla="*/ 2554635 w 9595474"/>
              <a:gd name="connsiteY84" fmla="*/ 2087245 h 6858000"/>
              <a:gd name="connsiteX85" fmla="*/ 2559660 w 9595474"/>
              <a:gd name="connsiteY85" fmla="*/ 2083435 h 6858000"/>
              <a:gd name="connsiteX86" fmla="*/ 2564389 w 9595474"/>
              <a:gd name="connsiteY86" fmla="*/ 2079308 h 6858000"/>
              <a:gd name="connsiteX87" fmla="*/ 2569119 w 9595474"/>
              <a:gd name="connsiteY87" fmla="*/ 2074863 h 6858000"/>
              <a:gd name="connsiteX88" fmla="*/ 2573257 w 9595474"/>
              <a:gd name="connsiteY88" fmla="*/ 2070100 h 6858000"/>
              <a:gd name="connsiteX89" fmla="*/ 2577395 w 9595474"/>
              <a:gd name="connsiteY89" fmla="*/ 2065655 h 6858000"/>
              <a:gd name="connsiteX90" fmla="*/ 2581237 w 9595474"/>
              <a:gd name="connsiteY90" fmla="*/ 2060575 h 6858000"/>
              <a:gd name="connsiteX91" fmla="*/ 2584784 w 9595474"/>
              <a:gd name="connsiteY91" fmla="*/ 2055495 h 6858000"/>
              <a:gd name="connsiteX92" fmla="*/ 2588035 w 9595474"/>
              <a:gd name="connsiteY92" fmla="*/ 2050415 h 6858000"/>
              <a:gd name="connsiteX93" fmla="*/ 2590991 w 9595474"/>
              <a:gd name="connsiteY93" fmla="*/ 2045018 h 6858000"/>
              <a:gd name="connsiteX94" fmla="*/ 2593651 w 9595474"/>
              <a:gd name="connsiteY94" fmla="*/ 2039620 h 6858000"/>
              <a:gd name="connsiteX95" fmla="*/ 2596016 w 9595474"/>
              <a:gd name="connsiteY95" fmla="*/ 2034223 h 6858000"/>
              <a:gd name="connsiteX96" fmla="*/ 2598085 w 9595474"/>
              <a:gd name="connsiteY96" fmla="*/ 2028508 h 6858000"/>
              <a:gd name="connsiteX97" fmla="*/ 2599858 w 9595474"/>
              <a:gd name="connsiteY97" fmla="*/ 2022793 h 6858000"/>
              <a:gd name="connsiteX98" fmla="*/ 2601336 w 9595474"/>
              <a:gd name="connsiteY98" fmla="*/ 2017078 h 6858000"/>
              <a:gd name="connsiteX99" fmla="*/ 2602814 w 9595474"/>
              <a:gd name="connsiteY99" fmla="*/ 2011363 h 6858000"/>
              <a:gd name="connsiteX100" fmla="*/ 2603996 w 9595474"/>
              <a:gd name="connsiteY100" fmla="*/ 2005648 h 6858000"/>
              <a:gd name="connsiteX101" fmla="*/ 2604587 w 9595474"/>
              <a:gd name="connsiteY101" fmla="*/ 1999615 h 6858000"/>
              <a:gd name="connsiteX102" fmla="*/ 2604883 w 9595474"/>
              <a:gd name="connsiteY102" fmla="*/ 1993583 h 6858000"/>
              <a:gd name="connsiteX103" fmla="*/ 2604883 w 9595474"/>
              <a:gd name="connsiteY103" fmla="*/ 1987550 h 6858000"/>
              <a:gd name="connsiteX104" fmla="*/ 2604883 w 9595474"/>
              <a:gd name="connsiteY104" fmla="*/ 1981835 h 6858000"/>
              <a:gd name="connsiteX105" fmla="*/ 2604587 w 9595474"/>
              <a:gd name="connsiteY105" fmla="*/ 1976120 h 6858000"/>
              <a:gd name="connsiteX106" fmla="*/ 2603996 w 9595474"/>
              <a:gd name="connsiteY106" fmla="*/ 1970088 h 6858000"/>
              <a:gd name="connsiteX107" fmla="*/ 2602814 w 9595474"/>
              <a:gd name="connsiteY107" fmla="*/ 1964373 h 6858000"/>
              <a:gd name="connsiteX108" fmla="*/ 2601336 w 9595474"/>
              <a:gd name="connsiteY108" fmla="*/ 1958658 h 6858000"/>
              <a:gd name="connsiteX109" fmla="*/ 2599858 w 9595474"/>
              <a:gd name="connsiteY109" fmla="*/ 1952625 h 6858000"/>
              <a:gd name="connsiteX110" fmla="*/ 2598085 w 9595474"/>
              <a:gd name="connsiteY110" fmla="*/ 1946910 h 6858000"/>
              <a:gd name="connsiteX111" fmla="*/ 2596016 w 9595474"/>
              <a:gd name="connsiteY111" fmla="*/ 1941195 h 6858000"/>
              <a:gd name="connsiteX112" fmla="*/ 2593651 w 9595474"/>
              <a:gd name="connsiteY112" fmla="*/ 1935798 h 6858000"/>
              <a:gd name="connsiteX113" fmla="*/ 2590991 w 9595474"/>
              <a:gd name="connsiteY113" fmla="*/ 1930400 h 6858000"/>
              <a:gd name="connsiteX114" fmla="*/ 2588035 w 9595474"/>
              <a:gd name="connsiteY114" fmla="*/ 1925003 h 6858000"/>
              <a:gd name="connsiteX115" fmla="*/ 2584784 w 9595474"/>
              <a:gd name="connsiteY115" fmla="*/ 1919923 h 6858000"/>
              <a:gd name="connsiteX116" fmla="*/ 2581237 w 9595474"/>
              <a:gd name="connsiteY116" fmla="*/ 1915160 h 6858000"/>
              <a:gd name="connsiteX117" fmla="*/ 2577395 w 9595474"/>
              <a:gd name="connsiteY117" fmla="*/ 1910080 h 6858000"/>
              <a:gd name="connsiteX118" fmla="*/ 2573257 w 9595474"/>
              <a:gd name="connsiteY118" fmla="*/ 1905318 h 6858000"/>
              <a:gd name="connsiteX119" fmla="*/ 2569119 w 9595474"/>
              <a:gd name="connsiteY119" fmla="*/ 1900555 h 6858000"/>
              <a:gd name="connsiteX120" fmla="*/ 1590477 w 9595474"/>
              <a:gd name="connsiteY120" fmla="*/ 922020 h 6858000"/>
              <a:gd name="connsiteX121" fmla="*/ 1272736 w 9595474"/>
              <a:gd name="connsiteY121" fmla="*/ 604203 h 6858000"/>
              <a:gd name="connsiteX122" fmla="*/ 1268303 w 9595474"/>
              <a:gd name="connsiteY122" fmla="*/ 599440 h 6858000"/>
              <a:gd name="connsiteX123" fmla="*/ 1264165 w 9595474"/>
              <a:gd name="connsiteY123" fmla="*/ 594995 h 6858000"/>
              <a:gd name="connsiteX124" fmla="*/ 1260322 w 9595474"/>
              <a:gd name="connsiteY124" fmla="*/ 589915 h 6858000"/>
              <a:gd name="connsiteX125" fmla="*/ 1256776 w 9595474"/>
              <a:gd name="connsiteY125" fmla="*/ 584835 h 6858000"/>
              <a:gd name="connsiteX126" fmla="*/ 1253524 w 9595474"/>
              <a:gd name="connsiteY126" fmla="*/ 579755 h 6858000"/>
              <a:gd name="connsiteX127" fmla="*/ 1250864 w 9595474"/>
              <a:gd name="connsiteY127" fmla="*/ 574358 h 6858000"/>
              <a:gd name="connsiteX128" fmla="*/ 1247908 w 9595474"/>
              <a:gd name="connsiteY128" fmla="*/ 568960 h 6858000"/>
              <a:gd name="connsiteX129" fmla="*/ 1245839 w 9595474"/>
              <a:gd name="connsiteY129" fmla="*/ 563563 h 6858000"/>
              <a:gd name="connsiteX130" fmla="*/ 1243475 w 9595474"/>
              <a:gd name="connsiteY130" fmla="*/ 557848 h 6858000"/>
              <a:gd name="connsiteX131" fmla="*/ 1241701 w 9595474"/>
              <a:gd name="connsiteY131" fmla="*/ 552133 h 6858000"/>
              <a:gd name="connsiteX132" fmla="*/ 1239928 w 9595474"/>
              <a:gd name="connsiteY132" fmla="*/ 546418 h 6858000"/>
              <a:gd name="connsiteX133" fmla="*/ 1238746 w 9595474"/>
              <a:gd name="connsiteY133" fmla="*/ 540703 h 6858000"/>
              <a:gd name="connsiteX134" fmla="*/ 1237859 w 9595474"/>
              <a:gd name="connsiteY134" fmla="*/ 534988 h 6858000"/>
              <a:gd name="connsiteX135" fmla="*/ 1236972 w 9595474"/>
              <a:gd name="connsiteY135" fmla="*/ 528638 h 6858000"/>
              <a:gd name="connsiteX136" fmla="*/ 1236677 w 9595474"/>
              <a:gd name="connsiteY136" fmla="*/ 522923 h 6858000"/>
              <a:gd name="connsiteX137" fmla="*/ 1236381 w 9595474"/>
              <a:gd name="connsiteY137" fmla="*/ 516890 h 6858000"/>
              <a:gd name="connsiteX138" fmla="*/ 1236677 w 9595474"/>
              <a:gd name="connsiteY138" fmla="*/ 511175 h 6858000"/>
              <a:gd name="connsiteX139" fmla="*/ 1236972 w 9595474"/>
              <a:gd name="connsiteY139" fmla="*/ 505460 h 6858000"/>
              <a:gd name="connsiteX140" fmla="*/ 1237859 w 9595474"/>
              <a:gd name="connsiteY140" fmla="*/ 499428 h 6858000"/>
              <a:gd name="connsiteX141" fmla="*/ 1238746 w 9595474"/>
              <a:gd name="connsiteY141" fmla="*/ 493713 h 6858000"/>
              <a:gd name="connsiteX142" fmla="*/ 1239928 w 9595474"/>
              <a:gd name="connsiteY142" fmla="*/ 487680 h 6858000"/>
              <a:gd name="connsiteX143" fmla="*/ 1241701 w 9595474"/>
              <a:gd name="connsiteY143" fmla="*/ 481965 h 6858000"/>
              <a:gd name="connsiteX144" fmla="*/ 1243475 w 9595474"/>
              <a:gd name="connsiteY144" fmla="*/ 476250 h 6858000"/>
              <a:gd name="connsiteX145" fmla="*/ 1245839 w 9595474"/>
              <a:gd name="connsiteY145" fmla="*/ 470535 h 6858000"/>
              <a:gd name="connsiteX146" fmla="*/ 1247908 w 9595474"/>
              <a:gd name="connsiteY146" fmla="*/ 465138 h 6858000"/>
              <a:gd name="connsiteX147" fmla="*/ 1250864 w 9595474"/>
              <a:gd name="connsiteY147" fmla="*/ 459740 h 6858000"/>
              <a:gd name="connsiteX148" fmla="*/ 1253524 w 9595474"/>
              <a:gd name="connsiteY148" fmla="*/ 454343 h 6858000"/>
              <a:gd name="connsiteX149" fmla="*/ 1256776 w 9595474"/>
              <a:gd name="connsiteY149" fmla="*/ 449263 h 6858000"/>
              <a:gd name="connsiteX150" fmla="*/ 1260322 w 9595474"/>
              <a:gd name="connsiteY150" fmla="*/ 444500 h 6858000"/>
              <a:gd name="connsiteX151" fmla="*/ 1264165 w 9595474"/>
              <a:gd name="connsiteY151" fmla="*/ 439420 h 6858000"/>
              <a:gd name="connsiteX152" fmla="*/ 1268303 w 9595474"/>
              <a:gd name="connsiteY152" fmla="*/ 434658 h 6858000"/>
              <a:gd name="connsiteX153" fmla="*/ 1272736 w 9595474"/>
              <a:gd name="connsiteY153" fmla="*/ 429895 h 6858000"/>
              <a:gd name="connsiteX154" fmla="*/ 1277466 w 9595474"/>
              <a:gd name="connsiteY154" fmla="*/ 425768 h 6858000"/>
              <a:gd name="connsiteX155" fmla="*/ 1281899 w 9595474"/>
              <a:gd name="connsiteY155" fmla="*/ 421323 h 6858000"/>
              <a:gd name="connsiteX156" fmla="*/ 1286924 w 9595474"/>
              <a:gd name="connsiteY156" fmla="*/ 417830 h 6858000"/>
              <a:gd name="connsiteX157" fmla="*/ 1291949 w 9595474"/>
              <a:gd name="connsiteY157" fmla="*/ 414338 h 6858000"/>
              <a:gd name="connsiteX158" fmla="*/ 1296973 w 9595474"/>
              <a:gd name="connsiteY158" fmla="*/ 410845 h 6858000"/>
              <a:gd name="connsiteX159" fmla="*/ 1302589 w 9595474"/>
              <a:gd name="connsiteY159" fmla="*/ 407988 h 6858000"/>
              <a:gd name="connsiteX160" fmla="*/ 1307910 w 9595474"/>
              <a:gd name="connsiteY160" fmla="*/ 405130 h 6858000"/>
              <a:gd name="connsiteX161" fmla="*/ 1313230 w 9595474"/>
              <a:gd name="connsiteY161" fmla="*/ 402908 h 6858000"/>
              <a:gd name="connsiteX162" fmla="*/ 1318846 w 9595474"/>
              <a:gd name="connsiteY162" fmla="*/ 401003 h 6858000"/>
              <a:gd name="connsiteX163" fmla="*/ 1324757 w 9595474"/>
              <a:gd name="connsiteY163" fmla="*/ 399098 h 6858000"/>
              <a:gd name="connsiteX164" fmla="*/ 1330373 w 9595474"/>
              <a:gd name="connsiteY164" fmla="*/ 397193 h 6858000"/>
              <a:gd name="connsiteX165" fmla="*/ 1336285 w 9595474"/>
              <a:gd name="connsiteY165" fmla="*/ 396240 h 6858000"/>
              <a:gd name="connsiteX166" fmla="*/ 1341901 w 9595474"/>
              <a:gd name="connsiteY166" fmla="*/ 395288 h 6858000"/>
              <a:gd name="connsiteX167" fmla="*/ 1348108 w 9595474"/>
              <a:gd name="connsiteY167" fmla="*/ 394335 h 6858000"/>
              <a:gd name="connsiteX168" fmla="*/ 1353723 w 9595474"/>
              <a:gd name="connsiteY168" fmla="*/ 394018 h 6858000"/>
              <a:gd name="connsiteX169" fmla="*/ 1359930 w 9595474"/>
              <a:gd name="connsiteY169" fmla="*/ 393700 h 6858000"/>
              <a:gd name="connsiteX170" fmla="*/ 1365546 w 9595474"/>
              <a:gd name="connsiteY170" fmla="*/ 394018 h 6858000"/>
              <a:gd name="connsiteX171" fmla="*/ 1371458 w 9595474"/>
              <a:gd name="connsiteY171" fmla="*/ 394335 h 6858000"/>
              <a:gd name="connsiteX172" fmla="*/ 1377665 w 9595474"/>
              <a:gd name="connsiteY172" fmla="*/ 395288 h 6858000"/>
              <a:gd name="connsiteX173" fmla="*/ 1383281 w 9595474"/>
              <a:gd name="connsiteY173" fmla="*/ 396240 h 6858000"/>
              <a:gd name="connsiteX174" fmla="*/ 1388897 w 9595474"/>
              <a:gd name="connsiteY174" fmla="*/ 397193 h 6858000"/>
              <a:gd name="connsiteX175" fmla="*/ 1394808 w 9595474"/>
              <a:gd name="connsiteY175" fmla="*/ 399098 h 6858000"/>
              <a:gd name="connsiteX176" fmla="*/ 1400424 w 9595474"/>
              <a:gd name="connsiteY176" fmla="*/ 401003 h 6858000"/>
              <a:gd name="connsiteX177" fmla="*/ 1406335 w 9595474"/>
              <a:gd name="connsiteY177" fmla="*/ 402908 h 6858000"/>
              <a:gd name="connsiteX178" fmla="*/ 1411656 w 9595474"/>
              <a:gd name="connsiteY178" fmla="*/ 405130 h 6858000"/>
              <a:gd name="connsiteX179" fmla="*/ 1416976 w 9595474"/>
              <a:gd name="connsiteY179" fmla="*/ 407988 h 6858000"/>
              <a:gd name="connsiteX180" fmla="*/ 1422296 w 9595474"/>
              <a:gd name="connsiteY180" fmla="*/ 410845 h 6858000"/>
              <a:gd name="connsiteX181" fmla="*/ 1427617 w 9595474"/>
              <a:gd name="connsiteY181" fmla="*/ 414338 h 6858000"/>
              <a:gd name="connsiteX182" fmla="*/ 1432641 w 9595474"/>
              <a:gd name="connsiteY182" fmla="*/ 417830 h 6858000"/>
              <a:gd name="connsiteX183" fmla="*/ 1437666 w 9595474"/>
              <a:gd name="connsiteY183" fmla="*/ 421323 h 6858000"/>
              <a:gd name="connsiteX184" fmla="*/ 1442100 w 9595474"/>
              <a:gd name="connsiteY184" fmla="*/ 425768 h 6858000"/>
              <a:gd name="connsiteX185" fmla="*/ 1446829 w 9595474"/>
              <a:gd name="connsiteY185" fmla="*/ 429895 h 6858000"/>
              <a:gd name="connsiteX186" fmla="*/ 1907036 w 9595474"/>
              <a:gd name="connsiteY186" fmla="*/ 890270 h 6858000"/>
              <a:gd name="connsiteX187" fmla="*/ 2165662 w 9595474"/>
              <a:gd name="connsiteY187" fmla="*/ 1148715 h 6858000"/>
              <a:gd name="connsiteX188" fmla="*/ 2170391 w 9595474"/>
              <a:gd name="connsiteY188" fmla="*/ 1153160 h 6858000"/>
              <a:gd name="connsiteX189" fmla="*/ 2175416 w 9595474"/>
              <a:gd name="connsiteY189" fmla="*/ 1157288 h 6858000"/>
              <a:gd name="connsiteX190" fmla="*/ 2180145 w 9595474"/>
              <a:gd name="connsiteY190" fmla="*/ 1161098 h 6858000"/>
              <a:gd name="connsiteX191" fmla="*/ 2185170 w 9595474"/>
              <a:gd name="connsiteY191" fmla="*/ 1164590 h 6858000"/>
              <a:gd name="connsiteX192" fmla="*/ 2190490 w 9595474"/>
              <a:gd name="connsiteY192" fmla="*/ 1167765 h 6858000"/>
              <a:gd name="connsiteX193" fmla="*/ 2195810 w 9595474"/>
              <a:gd name="connsiteY193" fmla="*/ 1170623 h 6858000"/>
              <a:gd name="connsiteX194" fmla="*/ 2201130 w 9595474"/>
              <a:gd name="connsiteY194" fmla="*/ 1173480 h 6858000"/>
              <a:gd name="connsiteX195" fmla="*/ 2206746 w 9595474"/>
              <a:gd name="connsiteY195" fmla="*/ 1176020 h 6858000"/>
              <a:gd name="connsiteX196" fmla="*/ 2212362 w 9595474"/>
              <a:gd name="connsiteY196" fmla="*/ 1177925 h 6858000"/>
              <a:gd name="connsiteX197" fmla="*/ 2217683 w 9595474"/>
              <a:gd name="connsiteY197" fmla="*/ 1180148 h 6858000"/>
              <a:gd name="connsiteX198" fmla="*/ 2223594 w 9595474"/>
              <a:gd name="connsiteY198" fmla="*/ 1181418 h 6858000"/>
              <a:gd name="connsiteX199" fmla="*/ 2229505 w 9595474"/>
              <a:gd name="connsiteY199" fmla="*/ 1182688 h 6858000"/>
              <a:gd name="connsiteX200" fmla="*/ 2235417 w 9595474"/>
              <a:gd name="connsiteY200" fmla="*/ 1183640 h 6858000"/>
              <a:gd name="connsiteX201" fmla="*/ 2241033 w 9595474"/>
              <a:gd name="connsiteY201" fmla="*/ 1184275 h 6858000"/>
              <a:gd name="connsiteX202" fmla="*/ 2247240 w 9595474"/>
              <a:gd name="connsiteY202" fmla="*/ 1184593 h 6858000"/>
              <a:gd name="connsiteX203" fmla="*/ 2252856 w 9595474"/>
              <a:gd name="connsiteY203" fmla="*/ 1185228 h 6858000"/>
              <a:gd name="connsiteX204" fmla="*/ 2259063 w 9595474"/>
              <a:gd name="connsiteY204" fmla="*/ 1184593 h 6858000"/>
              <a:gd name="connsiteX205" fmla="*/ 2264679 w 9595474"/>
              <a:gd name="connsiteY205" fmla="*/ 1184275 h 6858000"/>
              <a:gd name="connsiteX206" fmla="*/ 2270590 w 9595474"/>
              <a:gd name="connsiteY206" fmla="*/ 1183640 h 6858000"/>
              <a:gd name="connsiteX207" fmla="*/ 2276797 w 9595474"/>
              <a:gd name="connsiteY207" fmla="*/ 1182688 h 6858000"/>
              <a:gd name="connsiteX208" fmla="*/ 2282413 w 9595474"/>
              <a:gd name="connsiteY208" fmla="*/ 1181418 h 6858000"/>
              <a:gd name="connsiteX209" fmla="*/ 2288029 w 9595474"/>
              <a:gd name="connsiteY209" fmla="*/ 1180148 h 6858000"/>
              <a:gd name="connsiteX210" fmla="*/ 2293940 w 9595474"/>
              <a:gd name="connsiteY210" fmla="*/ 1177925 h 6858000"/>
              <a:gd name="connsiteX211" fmla="*/ 2299261 w 9595474"/>
              <a:gd name="connsiteY211" fmla="*/ 1176020 h 6858000"/>
              <a:gd name="connsiteX212" fmla="*/ 2304581 w 9595474"/>
              <a:gd name="connsiteY212" fmla="*/ 1173480 h 6858000"/>
              <a:gd name="connsiteX213" fmla="*/ 2310492 w 9595474"/>
              <a:gd name="connsiteY213" fmla="*/ 1170623 h 6858000"/>
              <a:gd name="connsiteX214" fmla="*/ 2315517 w 9595474"/>
              <a:gd name="connsiteY214" fmla="*/ 1167765 h 6858000"/>
              <a:gd name="connsiteX215" fmla="*/ 2320837 w 9595474"/>
              <a:gd name="connsiteY215" fmla="*/ 1164590 h 6858000"/>
              <a:gd name="connsiteX216" fmla="*/ 2325862 w 9595474"/>
              <a:gd name="connsiteY216" fmla="*/ 1161098 h 6858000"/>
              <a:gd name="connsiteX217" fmla="*/ 2330887 w 9595474"/>
              <a:gd name="connsiteY217" fmla="*/ 1157288 h 6858000"/>
              <a:gd name="connsiteX218" fmla="*/ 2335616 w 9595474"/>
              <a:gd name="connsiteY218" fmla="*/ 1153160 h 6858000"/>
              <a:gd name="connsiteX219" fmla="*/ 2340345 w 9595474"/>
              <a:gd name="connsiteY219" fmla="*/ 1148715 h 6858000"/>
              <a:gd name="connsiteX220" fmla="*/ 2344483 w 9595474"/>
              <a:gd name="connsiteY220" fmla="*/ 1144270 h 6858000"/>
              <a:gd name="connsiteX221" fmla="*/ 2348621 w 9595474"/>
              <a:gd name="connsiteY221" fmla="*/ 1139508 h 6858000"/>
              <a:gd name="connsiteX222" fmla="*/ 2352464 w 9595474"/>
              <a:gd name="connsiteY222" fmla="*/ 1134428 h 6858000"/>
              <a:gd name="connsiteX223" fmla="*/ 2356011 w 9595474"/>
              <a:gd name="connsiteY223" fmla="*/ 1129348 h 6858000"/>
              <a:gd name="connsiteX224" fmla="*/ 2359262 w 9595474"/>
              <a:gd name="connsiteY224" fmla="*/ 1124268 h 6858000"/>
              <a:gd name="connsiteX225" fmla="*/ 2362218 w 9595474"/>
              <a:gd name="connsiteY225" fmla="*/ 1118870 h 6858000"/>
              <a:gd name="connsiteX226" fmla="*/ 2364582 w 9595474"/>
              <a:gd name="connsiteY226" fmla="*/ 1113473 h 6858000"/>
              <a:gd name="connsiteX227" fmla="*/ 2367242 w 9595474"/>
              <a:gd name="connsiteY227" fmla="*/ 1108075 h 6858000"/>
              <a:gd name="connsiteX228" fmla="*/ 2369311 w 9595474"/>
              <a:gd name="connsiteY228" fmla="*/ 1102360 h 6858000"/>
              <a:gd name="connsiteX229" fmla="*/ 2371085 w 9595474"/>
              <a:gd name="connsiteY229" fmla="*/ 1096645 h 6858000"/>
              <a:gd name="connsiteX230" fmla="*/ 2372563 w 9595474"/>
              <a:gd name="connsiteY230" fmla="*/ 1090930 h 6858000"/>
              <a:gd name="connsiteX231" fmla="*/ 2374041 w 9595474"/>
              <a:gd name="connsiteY231" fmla="*/ 1085215 h 6858000"/>
              <a:gd name="connsiteX232" fmla="*/ 2375223 w 9595474"/>
              <a:gd name="connsiteY232" fmla="*/ 1079500 h 6858000"/>
              <a:gd name="connsiteX233" fmla="*/ 2375814 w 9595474"/>
              <a:gd name="connsiteY233" fmla="*/ 1073785 h 6858000"/>
              <a:gd name="connsiteX234" fmla="*/ 2376110 w 9595474"/>
              <a:gd name="connsiteY234" fmla="*/ 1067753 h 6858000"/>
              <a:gd name="connsiteX235" fmla="*/ 2376110 w 9595474"/>
              <a:gd name="connsiteY235" fmla="*/ 1061720 h 6858000"/>
              <a:gd name="connsiteX236" fmla="*/ 2376110 w 9595474"/>
              <a:gd name="connsiteY236" fmla="*/ 1055688 h 6858000"/>
              <a:gd name="connsiteX237" fmla="*/ 2375814 w 9595474"/>
              <a:gd name="connsiteY237" fmla="*/ 1049973 h 6858000"/>
              <a:gd name="connsiteX238" fmla="*/ 2375223 w 9595474"/>
              <a:gd name="connsiteY238" fmla="*/ 1043940 h 6858000"/>
              <a:gd name="connsiteX239" fmla="*/ 2374041 w 9595474"/>
              <a:gd name="connsiteY239" fmla="*/ 1038225 h 6858000"/>
              <a:gd name="connsiteX240" fmla="*/ 2372563 w 9595474"/>
              <a:gd name="connsiteY240" fmla="*/ 1032510 h 6858000"/>
              <a:gd name="connsiteX241" fmla="*/ 2371085 w 9595474"/>
              <a:gd name="connsiteY241" fmla="*/ 1026795 h 6858000"/>
              <a:gd name="connsiteX242" fmla="*/ 2369311 w 9595474"/>
              <a:gd name="connsiteY242" fmla="*/ 1021080 h 6858000"/>
              <a:gd name="connsiteX243" fmla="*/ 2367242 w 9595474"/>
              <a:gd name="connsiteY243" fmla="*/ 1015683 h 6858000"/>
              <a:gd name="connsiteX244" fmla="*/ 2364582 w 9595474"/>
              <a:gd name="connsiteY244" fmla="*/ 1009650 h 6858000"/>
              <a:gd name="connsiteX245" fmla="*/ 2362218 w 9595474"/>
              <a:gd name="connsiteY245" fmla="*/ 1004253 h 6858000"/>
              <a:gd name="connsiteX246" fmla="*/ 2359262 w 9595474"/>
              <a:gd name="connsiteY246" fmla="*/ 998855 h 6858000"/>
              <a:gd name="connsiteX247" fmla="*/ 2356011 w 9595474"/>
              <a:gd name="connsiteY247" fmla="*/ 994093 h 6858000"/>
              <a:gd name="connsiteX248" fmla="*/ 2352464 w 9595474"/>
              <a:gd name="connsiteY248" fmla="*/ 989013 h 6858000"/>
              <a:gd name="connsiteX249" fmla="*/ 2348621 w 9595474"/>
              <a:gd name="connsiteY249" fmla="*/ 983933 h 6858000"/>
              <a:gd name="connsiteX250" fmla="*/ 2344483 w 9595474"/>
              <a:gd name="connsiteY250" fmla="*/ 979170 h 6858000"/>
              <a:gd name="connsiteX251" fmla="*/ 2340345 w 9595474"/>
              <a:gd name="connsiteY251" fmla="*/ 974725 h 6858000"/>
              <a:gd name="connsiteX252" fmla="*/ 2240737 w 9595474"/>
              <a:gd name="connsiteY252" fmla="*/ 875030 h 6858000"/>
              <a:gd name="connsiteX253" fmla="*/ 1991865 w 9595474"/>
              <a:gd name="connsiteY253" fmla="*/ 626428 h 6858000"/>
              <a:gd name="connsiteX254" fmla="*/ 1987431 w 9595474"/>
              <a:gd name="connsiteY254" fmla="*/ 621665 h 6858000"/>
              <a:gd name="connsiteX255" fmla="*/ 1983589 w 9595474"/>
              <a:gd name="connsiteY255" fmla="*/ 616903 h 6858000"/>
              <a:gd name="connsiteX256" fmla="*/ 1979451 w 9595474"/>
              <a:gd name="connsiteY256" fmla="*/ 612140 h 6858000"/>
              <a:gd name="connsiteX257" fmla="*/ 1975904 w 9595474"/>
              <a:gd name="connsiteY257" fmla="*/ 607060 h 6858000"/>
              <a:gd name="connsiteX258" fmla="*/ 1972653 w 9595474"/>
              <a:gd name="connsiteY258" fmla="*/ 601663 h 6858000"/>
              <a:gd name="connsiteX259" fmla="*/ 1969993 w 9595474"/>
              <a:gd name="connsiteY259" fmla="*/ 596265 h 6858000"/>
              <a:gd name="connsiteX260" fmla="*/ 1967037 w 9595474"/>
              <a:gd name="connsiteY260" fmla="*/ 590868 h 6858000"/>
              <a:gd name="connsiteX261" fmla="*/ 1964968 w 9595474"/>
              <a:gd name="connsiteY261" fmla="*/ 585470 h 6858000"/>
              <a:gd name="connsiteX262" fmla="*/ 1962603 w 9595474"/>
              <a:gd name="connsiteY262" fmla="*/ 579755 h 6858000"/>
              <a:gd name="connsiteX263" fmla="*/ 1960830 w 9595474"/>
              <a:gd name="connsiteY263" fmla="*/ 574358 h 6858000"/>
              <a:gd name="connsiteX264" fmla="*/ 1959056 w 9595474"/>
              <a:gd name="connsiteY264" fmla="*/ 568643 h 6858000"/>
              <a:gd name="connsiteX265" fmla="*/ 1958170 w 9595474"/>
              <a:gd name="connsiteY265" fmla="*/ 562610 h 6858000"/>
              <a:gd name="connsiteX266" fmla="*/ 1956987 w 9595474"/>
              <a:gd name="connsiteY266" fmla="*/ 556895 h 6858000"/>
              <a:gd name="connsiteX267" fmla="*/ 1956396 w 9595474"/>
              <a:gd name="connsiteY267" fmla="*/ 551180 h 6858000"/>
              <a:gd name="connsiteX268" fmla="*/ 1955805 w 9595474"/>
              <a:gd name="connsiteY268" fmla="*/ 544830 h 6858000"/>
              <a:gd name="connsiteX269" fmla="*/ 1955805 w 9595474"/>
              <a:gd name="connsiteY269" fmla="*/ 539115 h 6858000"/>
              <a:gd name="connsiteX270" fmla="*/ 1955805 w 9595474"/>
              <a:gd name="connsiteY270" fmla="*/ 533083 h 6858000"/>
              <a:gd name="connsiteX271" fmla="*/ 1956396 w 9595474"/>
              <a:gd name="connsiteY271" fmla="*/ 527368 h 6858000"/>
              <a:gd name="connsiteX272" fmla="*/ 1956987 w 9595474"/>
              <a:gd name="connsiteY272" fmla="*/ 521653 h 6858000"/>
              <a:gd name="connsiteX273" fmla="*/ 1958170 w 9595474"/>
              <a:gd name="connsiteY273" fmla="*/ 515620 h 6858000"/>
              <a:gd name="connsiteX274" fmla="*/ 1959056 w 9595474"/>
              <a:gd name="connsiteY274" fmla="*/ 509588 h 6858000"/>
              <a:gd name="connsiteX275" fmla="*/ 1960830 w 9595474"/>
              <a:gd name="connsiteY275" fmla="*/ 503873 h 6858000"/>
              <a:gd name="connsiteX276" fmla="*/ 1962603 w 9595474"/>
              <a:gd name="connsiteY276" fmla="*/ 498158 h 6858000"/>
              <a:gd name="connsiteX277" fmla="*/ 1964968 w 9595474"/>
              <a:gd name="connsiteY277" fmla="*/ 492760 h 6858000"/>
              <a:gd name="connsiteX278" fmla="*/ 1967037 w 9595474"/>
              <a:gd name="connsiteY278" fmla="*/ 487363 h 6858000"/>
              <a:gd name="connsiteX279" fmla="*/ 1969993 w 9595474"/>
              <a:gd name="connsiteY279" fmla="*/ 481648 h 6858000"/>
              <a:gd name="connsiteX280" fmla="*/ 1972653 w 9595474"/>
              <a:gd name="connsiteY280" fmla="*/ 476568 h 6858000"/>
              <a:gd name="connsiteX281" fmla="*/ 1975904 w 9595474"/>
              <a:gd name="connsiteY281" fmla="*/ 471170 h 6858000"/>
              <a:gd name="connsiteX282" fmla="*/ 1979451 w 9595474"/>
              <a:gd name="connsiteY282" fmla="*/ 466408 h 6858000"/>
              <a:gd name="connsiteX283" fmla="*/ 1983589 w 9595474"/>
              <a:gd name="connsiteY283" fmla="*/ 461328 h 6858000"/>
              <a:gd name="connsiteX284" fmla="*/ 1987431 w 9595474"/>
              <a:gd name="connsiteY284" fmla="*/ 456565 h 6858000"/>
              <a:gd name="connsiteX285" fmla="*/ 1991865 w 9595474"/>
              <a:gd name="connsiteY285" fmla="*/ 451803 h 6858000"/>
              <a:gd name="connsiteX286" fmla="*/ 1996594 w 9595474"/>
              <a:gd name="connsiteY286" fmla="*/ 447675 h 6858000"/>
              <a:gd name="connsiteX287" fmla="*/ 2001028 w 9595474"/>
              <a:gd name="connsiteY287" fmla="*/ 443548 h 6858000"/>
              <a:gd name="connsiteX288" fmla="*/ 2006052 w 9595474"/>
              <a:gd name="connsiteY288" fmla="*/ 439738 h 6858000"/>
              <a:gd name="connsiteX289" fmla="*/ 2011077 w 9595474"/>
              <a:gd name="connsiteY289" fmla="*/ 436245 h 6858000"/>
              <a:gd name="connsiteX290" fmla="*/ 2016102 w 9595474"/>
              <a:gd name="connsiteY290" fmla="*/ 432753 h 6858000"/>
              <a:gd name="connsiteX291" fmla="*/ 2021718 w 9595474"/>
              <a:gd name="connsiteY291" fmla="*/ 429895 h 6858000"/>
              <a:gd name="connsiteX292" fmla="*/ 2027038 w 9595474"/>
              <a:gd name="connsiteY292" fmla="*/ 427355 h 6858000"/>
              <a:gd name="connsiteX293" fmla="*/ 2032654 w 9595474"/>
              <a:gd name="connsiteY293" fmla="*/ 424815 h 6858000"/>
              <a:gd name="connsiteX294" fmla="*/ 2038270 w 9595474"/>
              <a:gd name="connsiteY294" fmla="*/ 422910 h 6858000"/>
              <a:gd name="connsiteX295" fmla="*/ 2043886 w 9595474"/>
              <a:gd name="connsiteY295" fmla="*/ 421005 h 6858000"/>
              <a:gd name="connsiteX296" fmla="*/ 2049502 w 9595474"/>
              <a:gd name="connsiteY296" fmla="*/ 419735 h 6858000"/>
              <a:gd name="connsiteX297" fmla="*/ 2055413 w 9595474"/>
              <a:gd name="connsiteY297" fmla="*/ 418148 h 6858000"/>
              <a:gd name="connsiteX298" fmla="*/ 2061029 w 9595474"/>
              <a:gd name="connsiteY298" fmla="*/ 417195 h 6858000"/>
              <a:gd name="connsiteX299" fmla="*/ 2067236 w 9595474"/>
              <a:gd name="connsiteY299" fmla="*/ 416243 h 6858000"/>
              <a:gd name="connsiteX300" fmla="*/ 2072852 w 9595474"/>
              <a:gd name="connsiteY300" fmla="*/ 415925 h 6858000"/>
              <a:gd name="connsiteX301" fmla="*/ 2079059 w 9595474"/>
              <a:gd name="connsiteY301" fmla="*/ 415925 h 6858000"/>
              <a:gd name="connsiteX302" fmla="*/ 2084970 w 9595474"/>
              <a:gd name="connsiteY302" fmla="*/ 415925 h 6858000"/>
              <a:gd name="connsiteX303" fmla="*/ 2090882 w 9595474"/>
              <a:gd name="connsiteY303" fmla="*/ 416243 h 6858000"/>
              <a:gd name="connsiteX304" fmla="*/ 2096793 w 9595474"/>
              <a:gd name="connsiteY304" fmla="*/ 417195 h 6858000"/>
              <a:gd name="connsiteX305" fmla="*/ 2102409 w 9595474"/>
              <a:gd name="connsiteY305" fmla="*/ 418148 h 6858000"/>
              <a:gd name="connsiteX306" fmla="*/ 2108321 w 9595474"/>
              <a:gd name="connsiteY306" fmla="*/ 419735 h 6858000"/>
              <a:gd name="connsiteX307" fmla="*/ 2113936 w 9595474"/>
              <a:gd name="connsiteY307" fmla="*/ 421005 h 6858000"/>
              <a:gd name="connsiteX308" fmla="*/ 2119552 w 9595474"/>
              <a:gd name="connsiteY308" fmla="*/ 422910 h 6858000"/>
              <a:gd name="connsiteX309" fmla="*/ 2125464 w 9595474"/>
              <a:gd name="connsiteY309" fmla="*/ 424815 h 6858000"/>
              <a:gd name="connsiteX310" fmla="*/ 2130784 w 9595474"/>
              <a:gd name="connsiteY310" fmla="*/ 427355 h 6858000"/>
              <a:gd name="connsiteX311" fmla="*/ 2136104 w 9595474"/>
              <a:gd name="connsiteY311" fmla="*/ 429895 h 6858000"/>
              <a:gd name="connsiteX312" fmla="*/ 2141720 w 9595474"/>
              <a:gd name="connsiteY312" fmla="*/ 432753 h 6858000"/>
              <a:gd name="connsiteX313" fmla="*/ 2146745 w 9595474"/>
              <a:gd name="connsiteY313" fmla="*/ 436245 h 6858000"/>
              <a:gd name="connsiteX314" fmla="*/ 2152065 w 9595474"/>
              <a:gd name="connsiteY314" fmla="*/ 439738 h 6858000"/>
              <a:gd name="connsiteX315" fmla="*/ 2156795 w 9595474"/>
              <a:gd name="connsiteY315" fmla="*/ 443548 h 6858000"/>
              <a:gd name="connsiteX316" fmla="*/ 2161819 w 9595474"/>
              <a:gd name="connsiteY316" fmla="*/ 447675 h 6858000"/>
              <a:gd name="connsiteX317" fmla="*/ 2165957 w 9595474"/>
              <a:gd name="connsiteY317" fmla="*/ 451803 h 6858000"/>
              <a:gd name="connsiteX318" fmla="*/ 2966073 w 9595474"/>
              <a:gd name="connsiteY318" fmla="*/ 1251903 h 6858000"/>
              <a:gd name="connsiteX319" fmla="*/ 5612631 w 9595474"/>
              <a:gd name="connsiteY319" fmla="*/ 3898583 h 6858000"/>
              <a:gd name="connsiteX320" fmla="*/ 5617360 w 9595474"/>
              <a:gd name="connsiteY320" fmla="*/ 3903345 h 6858000"/>
              <a:gd name="connsiteX321" fmla="*/ 5621498 w 9595474"/>
              <a:gd name="connsiteY321" fmla="*/ 3908425 h 6858000"/>
              <a:gd name="connsiteX322" fmla="*/ 5625341 w 9595474"/>
              <a:gd name="connsiteY322" fmla="*/ 3913505 h 6858000"/>
              <a:gd name="connsiteX323" fmla="*/ 5628888 w 9595474"/>
              <a:gd name="connsiteY323" fmla="*/ 3918585 h 6858000"/>
              <a:gd name="connsiteX324" fmla="*/ 5632139 w 9595474"/>
              <a:gd name="connsiteY324" fmla="*/ 3923348 h 6858000"/>
              <a:gd name="connsiteX325" fmla="*/ 5635094 w 9595474"/>
              <a:gd name="connsiteY325" fmla="*/ 3928745 h 6858000"/>
              <a:gd name="connsiteX326" fmla="*/ 5638050 w 9595474"/>
              <a:gd name="connsiteY326" fmla="*/ 3934460 h 6858000"/>
              <a:gd name="connsiteX327" fmla="*/ 5640415 w 9595474"/>
              <a:gd name="connsiteY327" fmla="*/ 3939858 h 6858000"/>
              <a:gd name="connsiteX328" fmla="*/ 5642484 w 9595474"/>
              <a:gd name="connsiteY328" fmla="*/ 3945890 h 6858000"/>
              <a:gd name="connsiteX329" fmla="*/ 5644257 w 9595474"/>
              <a:gd name="connsiteY329" fmla="*/ 3951605 h 6858000"/>
              <a:gd name="connsiteX330" fmla="*/ 5645735 w 9595474"/>
              <a:gd name="connsiteY330" fmla="*/ 3957320 h 6858000"/>
              <a:gd name="connsiteX331" fmla="*/ 5647213 w 9595474"/>
              <a:gd name="connsiteY331" fmla="*/ 3963353 h 6858000"/>
              <a:gd name="connsiteX332" fmla="*/ 5648100 w 9595474"/>
              <a:gd name="connsiteY332" fmla="*/ 3969068 h 6858000"/>
              <a:gd name="connsiteX333" fmla="*/ 5648691 w 9595474"/>
              <a:gd name="connsiteY333" fmla="*/ 3975100 h 6858000"/>
              <a:gd name="connsiteX334" fmla="*/ 5649282 w 9595474"/>
              <a:gd name="connsiteY334" fmla="*/ 3980815 h 6858000"/>
              <a:gd name="connsiteX335" fmla="*/ 5649282 w 9595474"/>
              <a:gd name="connsiteY335" fmla="*/ 3987165 h 6858000"/>
              <a:gd name="connsiteX336" fmla="*/ 5649282 w 9595474"/>
              <a:gd name="connsiteY336" fmla="*/ 3992880 h 6858000"/>
              <a:gd name="connsiteX337" fmla="*/ 5648691 w 9595474"/>
              <a:gd name="connsiteY337" fmla="*/ 3998913 h 6858000"/>
              <a:gd name="connsiteX338" fmla="*/ 5648100 w 9595474"/>
              <a:gd name="connsiteY338" fmla="*/ 4004945 h 6858000"/>
              <a:gd name="connsiteX339" fmla="*/ 5647213 w 9595474"/>
              <a:gd name="connsiteY339" fmla="*/ 4010660 h 6858000"/>
              <a:gd name="connsiteX340" fmla="*/ 5645735 w 9595474"/>
              <a:gd name="connsiteY340" fmla="*/ 4016375 h 6858000"/>
              <a:gd name="connsiteX341" fmla="*/ 5644257 w 9595474"/>
              <a:gd name="connsiteY341" fmla="*/ 4022725 h 6858000"/>
              <a:gd name="connsiteX342" fmla="*/ 5642484 w 9595474"/>
              <a:gd name="connsiteY342" fmla="*/ 4028440 h 6858000"/>
              <a:gd name="connsiteX343" fmla="*/ 5640415 w 9595474"/>
              <a:gd name="connsiteY343" fmla="*/ 4033838 h 6858000"/>
              <a:gd name="connsiteX344" fmla="*/ 5638050 w 9595474"/>
              <a:gd name="connsiteY344" fmla="*/ 4039553 h 6858000"/>
              <a:gd name="connsiteX345" fmla="*/ 5635094 w 9595474"/>
              <a:gd name="connsiteY345" fmla="*/ 4044950 h 6858000"/>
              <a:gd name="connsiteX346" fmla="*/ 5632139 w 9595474"/>
              <a:gd name="connsiteY346" fmla="*/ 4050348 h 6858000"/>
              <a:gd name="connsiteX347" fmla="*/ 5628888 w 9595474"/>
              <a:gd name="connsiteY347" fmla="*/ 4055745 h 6858000"/>
              <a:gd name="connsiteX348" fmla="*/ 5625341 w 9595474"/>
              <a:gd name="connsiteY348" fmla="*/ 4060825 h 6858000"/>
              <a:gd name="connsiteX349" fmla="*/ 5621498 w 9595474"/>
              <a:gd name="connsiteY349" fmla="*/ 4065588 h 6858000"/>
              <a:gd name="connsiteX350" fmla="*/ 5617360 w 9595474"/>
              <a:gd name="connsiteY350" fmla="*/ 4070350 h 6858000"/>
              <a:gd name="connsiteX351" fmla="*/ 5612631 w 9595474"/>
              <a:gd name="connsiteY351" fmla="*/ 4075113 h 6858000"/>
              <a:gd name="connsiteX352" fmla="*/ 5608198 w 9595474"/>
              <a:gd name="connsiteY352" fmla="*/ 4079875 h 6858000"/>
              <a:gd name="connsiteX353" fmla="*/ 5603468 w 9595474"/>
              <a:gd name="connsiteY353" fmla="*/ 4083685 h 6858000"/>
              <a:gd name="connsiteX354" fmla="*/ 5598443 w 9595474"/>
              <a:gd name="connsiteY354" fmla="*/ 4087495 h 6858000"/>
              <a:gd name="connsiteX355" fmla="*/ 5593419 w 9595474"/>
              <a:gd name="connsiteY355" fmla="*/ 4091305 h 6858000"/>
              <a:gd name="connsiteX356" fmla="*/ 5588098 w 9595474"/>
              <a:gd name="connsiteY356" fmla="*/ 4094480 h 6858000"/>
              <a:gd name="connsiteX357" fmla="*/ 5582482 w 9595474"/>
              <a:gd name="connsiteY357" fmla="*/ 4097338 h 6858000"/>
              <a:gd name="connsiteX358" fmla="*/ 5577162 w 9595474"/>
              <a:gd name="connsiteY358" fmla="*/ 4100195 h 6858000"/>
              <a:gd name="connsiteX359" fmla="*/ 5571842 w 9595474"/>
              <a:gd name="connsiteY359" fmla="*/ 4102418 h 6858000"/>
              <a:gd name="connsiteX360" fmla="*/ 5565931 w 9595474"/>
              <a:gd name="connsiteY360" fmla="*/ 4104640 h 6858000"/>
              <a:gd name="connsiteX361" fmla="*/ 5560315 w 9595474"/>
              <a:gd name="connsiteY361" fmla="*/ 4106545 h 6858000"/>
              <a:gd name="connsiteX362" fmla="*/ 5554699 w 9595474"/>
              <a:gd name="connsiteY362" fmla="*/ 4108133 h 6858000"/>
              <a:gd name="connsiteX363" fmla="*/ 5548492 w 9595474"/>
              <a:gd name="connsiteY363" fmla="*/ 4109403 h 6858000"/>
              <a:gd name="connsiteX364" fmla="*/ 5542580 w 9595474"/>
              <a:gd name="connsiteY364" fmla="*/ 4110355 h 6858000"/>
              <a:gd name="connsiteX365" fmla="*/ 5536669 w 9595474"/>
              <a:gd name="connsiteY365" fmla="*/ 4110990 h 6858000"/>
              <a:gd name="connsiteX366" fmla="*/ 5530758 w 9595474"/>
              <a:gd name="connsiteY366" fmla="*/ 4111308 h 6858000"/>
              <a:gd name="connsiteX367" fmla="*/ 5524846 w 9595474"/>
              <a:gd name="connsiteY367" fmla="*/ 4111625 h 6858000"/>
              <a:gd name="connsiteX368" fmla="*/ 5518639 w 9595474"/>
              <a:gd name="connsiteY368" fmla="*/ 4111308 h 6858000"/>
              <a:gd name="connsiteX369" fmla="*/ 5513023 w 9595474"/>
              <a:gd name="connsiteY369" fmla="*/ 4110990 h 6858000"/>
              <a:gd name="connsiteX370" fmla="*/ 5506816 w 9595474"/>
              <a:gd name="connsiteY370" fmla="*/ 4110355 h 6858000"/>
              <a:gd name="connsiteX371" fmla="*/ 5501200 w 9595474"/>
              <a:gd name="connsiteY371" fmla="*/ 4109403 h 6858000"/>
              <a:gd name="connsiteX372" fmla="*/ 5494993 w 9595474"/>
              <a:gd name="connsiteY372" fmla="*/ 4108133 h 6858000"/>
              <a:gd name="connsiteX373" fmla="*/ 5489081 w 9595474"/>
              <a:gd name="connsiteY373" fmla="*/ 4106545 h 6858000"/>
              <a:gd name="connsiteX374" fmla="*/ 5483466 w 9595474"/>
              <a:gd name="connsiteY374" fmla="*/ 4104640 h 6858000"/>
              <a:gd name="connsiteX375" fmla="*/ 5477850 w 9595474"/>
              <a:gd name="connsiteY375" fmla="*/ 4102418 h 6858000"/>
              <a:gd name="connsiteX376" fmla="*/ 5472234 w 9595474"/>
              <a:gd name="connsiteY376" fmla="*/ 4100195 h 6858000"/>
              <a:gd name="connsiteX377" fmla="*/ 5466913 w 9595474"/>
              <a:gd name="connsiteY377" fmla="*/ 4097338 h 6858000"/>
              <a:gd name="connsiteX378" fmla="*/ 5461593 w 9595474"/>
              <a:gd name="connsiteY378" fmla="*/ 4094480 h 6858000"/>
              <a:gd name="connsiteX379" fmla="*/ 5456273 w 9595474"/>
              <a:gd name="connsiteY379" fmla="*/ 4091305 h 6858000"/>
              <a:gd name="connsiteX380" fmla="*/ 5451248 w 9595474"/>
              <a:gd name="connsiteY380" fmla="*/ 4087495 h 6858000"/>
              <a:gd name="connsiteX381" fmla="*/ 5446223 w 9595474"/>
              <a:gd name="connsiteY381" fmla="*/ 4083685 h 6858000"/>
              <a:gd name="connsiteX382" fmla="*/ 5441495 w 9595474"/>
              <a:gd name="connsiteY382" fmla="*/ 4079875 h 6858000"/>
              <a:gd name="connsiteX383" fmla="*/ 5436765 w 9595474"/>
              <a:gd name="connsiteY383" fmla="*/ 4075113 h 6858000"/>
              <a:gd name="connsiteX384" fmla="*/ 5322379 w 9595474"/>
              <a:gd name="connsiteY384" fmla="*/ 3960813 h 6858000"/>
              <a:gd name="connsiteX385" fmla="*/ 5317945 w 9595474"/>
              <a:gd name="connsiteY385" fmla="*/ 3956368 h 6858000"/>
              <a:gd name="connsiteX386" fmla="*/ 5312921 w 9595474"/>
              <a:gd name="connsiteY386" fmla="*/ 3952240 h 6858000"/>
              <a:gd name="connsiteX387" fmla="*/ 5307896 w 9595474"/>
              <a:gd name="connsiteY387" fmla="*/ 3948748 h 6858000"/>
              <a:gd name="connsiteX388" fmla="*/ 5302871 w 9595474"/>
              <a:gd name="connsiteY388" fmla="*/ 3944938 h 6858000"/>
              <a:gd name="connsiteX389" fmla="*/ 5297255 w 9595474"/>
              <a:gd name="connsiteY389" fmla="*/ 3941763 h 6858000"/>
              <a:gd name="connsiteX390" fmla="*/ 5292230 w 9595474"/>
              <a:gd name="connsiteY390" fmla="*/ 3938588 h 6858000"/>
              <a:gd name="connsiteX391" fmla="*/ 5286615 w 9595474"/>
              <a:gd name="connsiteY391" fmla="*/ 3936048 h 6858000"/>
              <a:gd name="connsiteX392" fmla="*/ 5281294 w 9595474"/>
              <a:gd name="connsiteY392" fmla="*/ 3933508 h 6858000"/>
              <a:gd name="connsiteX393" fmla="*/ 5275383 w 9595474"/>
              <a:gd name="connsiteY393" fmla="*/ 3931285 h 6858000"/>
              <a:gd name="connsiteX394" fmla="*/ 5269767 w 9595474"/>
              <a:gd name="connsiteY394" fmla="*/ 3929698 h 6858000"/>
              <a:gd name="connsiteX395" fmla="*/ 5263855 w 9595474"/>
              <a:gd name="connsiteY395" fmla="*/ 3927793 h 6858000"/>
              <a:gd name="connsiteX396" fmla="*/ 5257944 w 9595474"/>
              <a:gd name="connsiteY396" fmla="*/ 3926840 h 6858000"/>
              <a:gd name="connsiteX397" fmla="*/ 5252033 w 9595474"/>
              <a:gd name="connsiteY397" fmla="*/ 3925570 h 6858000"/>
              <a:gd name="connsiteX398" fmla="*/ 5246121 w 9595474"/>
              <a:gd name="connsiteY398" fmla="*/ 3924935 h 6858000"/>
              <a:gd name="connsiteX399" fmla="*/ 5240210 w 9595474"/>
              <a:gd name="connsiteY399" fmla="*/ 3924618 h 6858000"/>
              <a:gd name="connsiteX400" fmla="*/ 5234298 w 9595474"/>
              <a:gd name="connsiteY400" fmla="*/ 3924618 h 6858000"/>
              <a:gd name="connsiteX401" fmla="*/ 5228091 w 9595474"/>
              <a:gd name="connsiteY401" fmla="*/ 3924618 h 6858000"/>
              <a:gd name="connsiteX402" fmla="*/ 5222180 w 9595474"/>
              <a:gd name="connsiteY402" fmla="*/ 3924935 h 6858000"/>
              <a:gd name="connsiteX403" fmla="*/ 5216268 w 9595474"/>
              <a:gd name="connsiteY403" fmla="*/ 3925570 h 6858000"/>
              <a:gd name="connsiteX404" fmla="*/ 5210357 w 9595474"/>
              <a:gd name="connsiteY404" fmla="*/ 3926840 h 6858000"/>
              <a:gd name="connsiteX405" fmla="*/ 5204741 w 9595474"/>
              <a:gd name="connsiteY405" fmla="*/ 3927793 h 6858000"/>
              <a:gd name="connsiteX406" fmla="*/ 5198534 w 9595474"/>
              <a:gd name="connsiteY406" fmla="*/ 3929698 h 6858000"/>
              <a:gd name="connsiteX407" fmla="*/ 5192918 w 9595474"/>
              <a:gd name="connsiteY407" fmla="*/ 3931285 h 6858000"/>
              <a:gd name="connsiteX408" fmla="*/ 5187598 w 9595474"/>
              <a:gd name="connsiteY408" fmla="*/ 3933508 h 6858000"/>
              <a:gd name="connsiteX409" fmla="*/ 5181686 w 9595474"/>
              <a:gd name="connsiteY409" fmla="*/ 3936048 h 6858000"/>
              <a:gd name="connsiteX410" fmla="*/ 5176366 w 9595474"/>
              <a:gd name="connsiteY410" fmla="*/ 3938588 h 6858000"/>
              <a:gd name="connsiteX411" fmla="*/ 5171046 w 9595474"/>
              <a:gd name="connsiteY411" fmla="*/ 3941763 h 6858000"/>
              <a:gd name="connsiteX412" fmla="*/ 5165430 w 9595474"/>
              <a:gd name="connsiteY412" fmla="*/ 3944938 h 6858000"/>
              <a:gd name="connsiteX413" fmla="*/ 5160405 w 9595474"/>
              <a:gd name="connsiteY413" fmla="*/ 3948748 h 6858000"/>
              <a:gd name="connsiteX414" fmla="*/ 5155380 w 9595474"/>
              <a:gd name="connsiteY414" fmla="*/ 3952240 h 6858000"/>
              <a:gd name="connsiteX415" fmla="*/ 5150947 w 9595474"/>
              <a:gd name="connsiteY415" fmla="*/ 3956368 h 6858000"/>
              <a:gd name="connsiteX416" fmla="*/ 5146218 w 9595474"/>
              <a:gd name="connsiteY416" fmla="*/ 3960813 h 6858000"/>
              <a:gd name="connsiteX417" fmla="*/ 5141488 w 9595474"/>
              <a:gd name="connsiteY417" fmla="*/ 3965575 h 6858000"/>
              <a:gd name="connsiteX418" fmla="*/ 5137646 w 9595474"/>
              <a:gd name="connsiteY418" fmla="*/ 3970655 h 6858000"/>
              <a:gd name="connsiteX419" fmla="*/ 5133508 w 9595474"/>
              <a:gd name="connsiteY419" fmla="*/ 3975100 h 6858000"/>
              <a:gd name="connsiteX420" fmla="*/ 5129961 w 9595474"/>
              <a:gd name="connsiteY420" fmla="*/ 3980498 h 6858000"/>
              <a:gd name="connsiteX421" fmla="*/ 5126710 w 9595474"/>
              <a:gd name="connsiteY421" fmla="*/ 3985578 h 6858000"/>
              <a:gd name="connsiteX422" fmla="*/ 5123754 w 9595474"/>
              <a:gd name="connsiteY422" fmla="*/ 3990975 h 6858000"/>
              <a:gd name="connsiteX423" fmla="*/ 5121094 w 9595474"/>
              <a:gd name="connsiteY423" fmla="*/ 3996373 h 6858000"/>
              <a:gd name="connsiteX424" fmla="*/ 5118729 w 9595474"/>
              <a:gd name="connsiteY424" fmla="*/ 4002088 h 6858000"/>
              <a:gd name="connsiteX425" fmla="*/ 5116660 w 9595474"/>
              <a:gd name="connsiteY425" fmla="*/ 4007803 h 6858000"/>
              <a:gd name="connsiteX426" fmla="*/ 5114591 w 9595474"/>
              <a:gd name="connsiteY426" fmla="*/ 4013518 h 6858000"/>
              <a:gd name="connsiteX427" fmla="*/ 5113113 w 9595474"/>
              <a:gd name="connsiteY427" fmla="*/ 4019233 h 6858000"/>
              <a:gd name="connsiteX428" fmla="*/ 5111636 w 9595474"/>
              <a:gd name="connsiteY428" fmla="*/ 4025265 h 6858000"/>
              <a:gd name="connsiteX429" fmla="*/ 5111044 w 9595474"/>
              <a:gd name="connsiteY429" fmla="*/ 4031298 h 6858000"/>
              <a:gd name="connsiteX430" fmla="*/ 5110158 w 9595474"/>
              <a:gd name="connsiteY430" fmla="*/ 4037013 h 6858000"/>
              <a:gd name="connsiteX431" fmla="*/ 5109862 w 9595474"/>
              <a:gd name="connsiteY431" fmla="*/ 4043045 h 6858000"/>
              <a:gd name="connsiteX432" fmla="*/ 5109567 w 9595474"/>
              <a:gd name="connsiteY432" fmla="*/ 4049078 h 6858000"/>
              <a:gd name="connsiteX433" fmla="*/ 5109862 w 9595474"/>
              <a:gd name="connsiteY433" fmla="*/ 4055110 h 6858000"/>
              <a:gd name="connsiteX434" fmla="*/ 5110158 w 9595474"/>
              <a:gd name="connsiteY434" fmla="*/ 4061143 h 6858000"/>
              <a:gd name="connsiteX435" fmla="*/ 5111044 w 9595474"/>
              <a:gd name="connsiteY435" fmla="*/ 4066858 h 6858000"/>
              <a:gd name="connsiteX436" fmla="*/ 5111636 w 9595474"/>
              <a:gd name="connsiteY436" fmla="*/ 4072890 h 6858000"/>
              <a:gd name="connsiteX437" fmla="*/ 5113113 w 9595474"/>
              <a:gd name="connsiteY437" fmla="*/ 4078605 h 6858000"/>
              <a:gd name="connsiteX438" fmla="*/ 5114591 w 9595474"/>
              <a:gd name="connsiteY438" fmla="*/ 4084320 h 6858000"/>
              <a:gd name="connsiteX439" fmla="*/ 5116660 w 9595474"/>
              <a:gd name="connsiteY439" fmla="*/ 4090035 h 6858000"/>
              <a:gd name="connsiteX440" fmla="*/ 5118729 w 9595474"/>
              <a:gd name="connsiteY440" fmla="*/ 4095750 h 6858000"/>
              <a:gd name="connsiteX441" fmla="*/ 5121094 w 9595474"/>
              <a:gd name="connsiteY441" fmla="*/ 4101783 h 6858000"/>
              <a:gd name="connsiteX442" fmla="*/ 5123754 w 9595474"/>
              <a:gd name="connsiteY442" fmla="*/ 4107180 h 6858000"/>
              <a:gd name="connsiteX443" fmla="*/ 5126710 w 9595474"/>
              <a:gd name="connsiteY443" fmla="*/ 4112578 h 6858000"/>
              <a:gd name="connsiteX444" fmla="*/ 5129961 w 9595474"/>
              <a:gd name="connsiteY444" fmla="*/ 4117975 h 6858000"/>
              <a:gd name="connsiteX445" fmla="*/ 5133508 w 9595474"/>
              <a:gd name="connsiteY445" fmla="*/ 4122738 h 6858000"/>
              <a:gd name="connsiteX446" fmla="*/ 5137646 w 9595474"/>
              <a:gd name="connsiteY446" fmla="*/ 4127818 h 6858000"/>
              <a:gd name="connsiteX447" fmla="*/ 5141488 w 9595474"/>
              <a:gd name="connsiteY447" fmla="*/ 4132580 h 6858000"/>
              <a:gd name="connsiteX448" fmla="*/ 5146218 w 9595474"/>
              <a:gd name="connsiteY448" fmla="*/ 4137343 h 6858000"/>
              <a:gd name="connsiteX449" fmla="*/ 5870075 w 9595474"/>
              <a:gd name="connsiteY449" fmla="*/ 4860925 h 6858000"/>
              <a:gd name="connsiteX450" fmla="*/ 5874509 w 9595474"/>
              <a:gd name="connsiteY450" fmla="*/ 4865688 h 6858000"/>
              <a:gd name="connsiteX451" fmla="*/ 5878646 w 9595474"/>
              <a:gd name="connsiteY451" fmla="*/ 4870768 h 6858000"/>
              <a:gd name="connsiteX452" fmla="*/ 5882489 w 9595474"/>
              <a:gd name="connsiteY452" fmla="*/ 4875848 h 6858000"/>
              <a:gd name="connsiteX453" fmla="*/ 5886036 w 9595474"/>
              <a:gd name="connsiteY453" fmla="*/ 4880928 h 6858000"/>
              <a:gd name="connsiteX454" fmla="*/ 5889287 w 9595474"/>
              <a:gd name="connsiteY454" fmla="*/ 4885690 h 6858000"/>
              <a:gd name="connsiteX455" fmla="*/ 5892243 w 9595474"/>
              <a:gd name="connsiteY455" fmla="*/ 4891088 h 6858000"/>
              <a:gd name="connsiteX456" fmla="*/ 5895199 w 9595474"/>
              <a:gd name="connsiteY456" fmla="*/ 4897120 h 6858000"/>
              <a:gd name="connsiteX457" fmla="*/ 5897268 w 9595474"/>
              <a:gd name="connsiteY457" fmla="*/ 4902518 h 6858000"/>
              <a:gd name="connsiteX458" fmla="*/ 5899336 w 9595474"/>
              <a:gd name="connsiteY458" fmla="*/ 4908233 h 6858000"/>
              <a:gd name="connsiteX459" fmla="*/ 5901701 w 9595474"/>
              <a:gd name="connsiteY459" fmla="*/ 4913948 h 6858000"/>
              <a:gd name="connsiteX460" fmla="*/ 5902883 w 9595474"/>
              <a:gd name="connsiteY460" fmla="*/ 4919663 h 6858000"/>
              <a:gd name="connsiteX461" fmla="*/ 5904066 w 9595474"/>
              <a:gd name="connsiteY461" fmla="*/ 4925695 h 6858000"/>
              <a:gd name="connsiteX462" fmla="*/ 5905248 w 9595474"/>
              <a:gd name="connsiteY462" fmla="*/ 4931410 h 6858000"/>
              <a:gd name="connsiteX463" fmla="*/ 5905840 w 9595474"/>
              <a:gd name="connsiteY463" fmla="*/ 4937443 h 6858000"/>
              <a:gd name="connsiteX464" fmla="*/ 5906135 w 9595474"/>
              <a:gd name="connsiteY464" fmla="*/ 4943475 h 6858000"/>
              <a:gd name="connsiteX465" fmla="*/ 5906726 w 9595474"/>
              <a:gd name="connsiteY465" fmla="*/ 4949508 h 6858000"/>
              <a:gd name="connsiteX466" fmla="*/ 5906135 w 9595474"/>
              <a:gd name="connsiteY466" fmla="*/ 4955223 h 6858000"/>
              <a:gd name="connsiteX467" fmla="*/ 5905840 w 9595474"/>
              <a:gd name="connsiteY467" fmla="*/ 4961255 h 6858000"/>
              <a:gd name="connsiteX468" fmla="*/ 5905248 w 9595474"/>
              <a:gd name="connsiteY468" fmla="*/ 4967288 h 6858000"/>
              <a:gd name="connsiteX469" fmla="*/ 5904066 w 9595474"/>
              <a:gd name="connsiteY469" fmla="*/ 4973003 h 6858000"/>
              <a:gd name="connsiteX470" fmla="*/ 5902883 w 9595474"/>
              <a:gd name="connsiteY470" fmla="*/ 4979035 h 6858000"/>
              <a:gd name="connsiteX471" fmla="*/ 5901701 w 9595474"/>
              <a:gd name="connsiteY471" fmla="*/ 4985068 h 6858000"/>
              <a:gd name="connsiteX472" fmla="*/ 5899336 w 9595474"/>
              <a:gd name="connsiteY472" fmla="*/ 4990783 h 6858000"/>
              <a:gd name="connsiteX473" fmla="*/ 5897268 w 9595474"/>
              <a:gd name="connsiteY473" fmla="*/ 4996180 h 6858000"/>
              <a:gd name="connsiteX474" fmla="*/ 5895199 w 9595474"/>
              <a:gd name="connsiteY474" fmla="*/ 5001895 h 6858000"/>
              <a:gd name="connsiteX475" fmla="*/ 5892243 w 9595474"/>
              <a:gd name="connsiteY475" fmla="*/ 5007293 h 6858000"/>
              <a:gd name="connsiteX476" fmla="*/ 5889287 w 9595474"/>
              <a:gd name="connsiteY476" fmla="*/ 5012690 h 6858000"/>
              <a:gd name="connsiteX477" fmla="*/ 5886036 w 9595474"/>
              <a:gd name="connsiteY477" fmla="*/ 5018088 h 6858000"/>
              <a:gd name="connsiteX478" fmla="*/ 5882489 w 9595474"/>
              <a:gd name="connsiteY478" fmla="*/ 5023168 h 6858000"/>
              <a:gd name="connsiteX479" fmla="*/ 5878646 w 9595474"/>
              <a:gd name="connsiteY479" fmla="*/ 5028248 h 6858000"/>
              <a:gd name="connsiteX480" fmla="*/ 5874509 w 9595474"/>
              <a:gd name="connsiteY480" fmla="*/ 5032693 h 6858000"/>
              <a:gd name="connsiteX481" fmla="*/ 5870075 w 9595474"/>
              <a:gd name="connsiteY481" fmla="*/ 5037455 h 6858000"/>
              <a:gd name="connsiteX482" fmla="*/ 5865346 w 9595474"/>
              <a:gd name="connsiteY482" fmla="*/ 5041900 h 6858000"/>
              <a:gd name="connsiteX483" fmla="*/ 5860617 w 9595474"/>
              <a:gd name="connsiteY483" fmla="*/ 5046028 h 6858000"/>
              <a:gd name="connsiteX484" fmla="*/ 5855592 w 9595474"/>
              <a:gd name="connsiteY484" fmla="*/ 5050155 h 6858000"/>
              <a:gd name="connsiteX485" fmla="*/ 5850567 w 9595474"/>
              <a:gd name="connsiteY485" fmla="*/ 5053648 h 6858000"/>
              <a:gd name="connsiteX486" fmla="*/ 5845247 w 9595474"/>
              <a:gd name="connsiteY486" fmla="*/ 5056823 h 6858000"/>
              <a:gd name="connsiteX487" fmla="*/ 5839926 w 9595474"/>
              <a:gd name="connsiteY487" fmla="*/ 5059680 h 6858000"/>
              <a:gd name="connsiteX488" fmla="*/ 5834311 w 9595474"/>
              <a:gd name="connsiteY488" fmla="*/ 5062538 h 6858000"/>
              <a:gd name="connsiteX489" fmla="*/ 5828695 w 9595474"/>
              <a:gd name="connsiteY489" fmla="*/ 5064760 h 6858000"/>
              <a:gd name="connsiteX490" fmla="*/ 5823375 w 9595474"/>
              <a:gd name="connsiteY490" fmla="*/ 5066983 h 6858000"/>
              <a:gd name="connsiteX491" fmla="*/ 5817463 w 9595474"/>
              <a:gd name="connsiteY491" fmla="*/ 5069205 h 6858000"/>
              <a:gd name="connsiteX492" fmla="*/ 5811552 w 9595474"/>
              <a:gd name="connsiteY492" fmla="*/ 5070475 h 6858000"/>
              <a:gd name="connsiteX493" fmla="*/ 5805640 w 9595474"/>
              <a:gd name="connsiteY493" fmla="*/ 5071428 h 6858000"/>
              <a:gd name="connsiteX494" fmla="*/ 5800024 w 9595474"/>
              <a:gd name="connsiteY494" fmla="*/ 5072698 h 6858000"/>
              <a:gd name="connsiteX495" fmla="*/ 5793817 w 9595474"/>
              <a:gd name="connsiteY495" fmla="*/ 5073333 h 6858000"/>
              <a:gd name="connsiteX496" fmla="*/ 5787610 w 9595474"/>
              <a:gd name="connsiteY496" fmla="*/ 5073650 h 6858000"/>
              <a:gd name="connsiteX497" fmla="*/ 5781994 w 9595474"/>
              <a:gd name="connsiteY497" fmla="*/ 5073968 h 6858000"/>
              <a:gd name="connsiteX498" fmla="*/ 5775787 w 9595474"/>
              <a:gd name="connsiteY498" fmla="*/ 5073650 h 6858000"/>
              <a:gd name="connsiteX499" fmla="*/ 5770171 w 9595474"/>
              <a:gd name="connsiteY499" fmla="*/ 5073333 h 6858000"/>
              <a:gd name="connsiteX500" fmla="*/ 5763965 w 9595474"/>
              <a:gd name="connsiteY500" fmla="*/ 5072698 h 6858000"/>
              <a:gd name="connsiteX501" fmla="*/ 5758349 w 9595474"/>
              <a:gd name="connsiteY501" fmla="*/ 5071428 h 6858000"/>
              <a:gd name="connsiteX502" fmla="*/ 5752141 w 9595474"/>
              <a:gd name="connsiteY502" fmla="*/ 5070475 h 6858000"/>
              <a:gd name="connsiteX503" fmla="*/ 5746526 w 9595474"/>
              <a:gd name="connsiteY503" fmla="*/ 5069205 h 6858000"/>
              <a:gd name="connsiteX504" fmla="*/ 5740614 w 9595474"/>
              <a:gd name="connsiteY504" fmla="*/ 5066983 h 6858000"/>
              <a:gd name="connsiteX505" fmla="*/ 5734998 w 9595474"/>
              <a:gd name="connsiteY505" fmla="*/ 5064760 h 6858000"/>
              <a:gd name="connsiteX506" fmla="*/ 5729382 w 9595474"/>
              <a:gd name="connsiteY506" fmla="*/ 5062538 h 6858000"/>
              <a:gd name="connsiteX507" fmla="*/ 5723767 w 9595474"/>
              <a:gd name="connsiteY507" fmla="*/ 5059680 h 6858000"/>
              <a:gd name="connsiteX508" fmla="*/ 5718446 w 9595474"/>
              <a:gd name="connsiteY508" fmla="*/ 5056823 h 6858000"/>
              <a:gd name="connsiteX509" fmla="*/ 5713421 w 9595474"/>
              <a:gd name="connsiteY509" fmla="*/ 5053648 h 6858000"/>
              <a:gd name="connsiteX510" fmla="*/ 5708396 w 9595474"/>
              <a:gd name="connsiteY510" fmla="*/ 5050155 h 6858000"/>
              <a:gd name="connsiteX511" fmla="*/ 5703372 w 9595474"/>
              <a:gd name="connsiteY511" fmla="*/ 5046028 h 6858000"/>
              <a:gd name="connsiteX512" fmla="*/ 5698347 w 9595474"/>
              <a:gd name="connsiteY512" fmla="*/ 5041900 h 6858000"/>
              <a:gd name="connsiteX513" fmla="*/ 5693618 w 9595474"/>
              <a:gd name="connsiteY513" fmla="*/ 5037455 h 6858000"/>
              <a:gd name="connsiteX514" fmla="*/ 5598148 w 9595474"/>
              <a:gd name="connsiteY514" fmla="*/ 4941888 h 6858000"/>
              <a:gd name="connsiteX515" fmla="*/ 5490560 w 9595474"/>
              <a:gd name="connsiteY515" fmla="*/ 4834573 h 6858000"/>
              <a:gd name="connsiteX516" fmla="*/ 5485830 w 9595474"/>
              <a:gd name="connsiteY516" fmla="*/ 4830128 h 6858000"/>
              <a:gd name="connsiteX517" fmla="*/ 5481397 w 9595474"/>
              <a:gd name="connsiteY517" fmla="*/ 4826000 h 6858000"/>
              <a:gd name="connsiteX518" fmla="*/ 5476372 w 9595474"/>
              <a:gd name="connsiteY518" fmla="*/ 4821873 h 6858000"/>
              <a:gd name="connsiteX519" fmla="*/ 5471348 w 9595474"/>
              <a:gd name="connsiteY519" fmla="*/ 4818380 h 6858000"/>
              <a:gd name="connsiteX520" fmla="*/ 5465732 w 9595474"/>
              <a:gd name="connsiteY520" fmla="*/ 4815205 h 6858000"/>
              <a:gd name="connsiteX521" fmla="*/ 5460411 w 9595474"/>
              <a:gd name="connsiteY521" fmla="*/ 4812348 h 6858000"/>
              <a:gd name="connsiteX522" fmla="*/ 5455091 w 9595474"/>
              <a:gd name="connsiteY522" fmla="*/ 4809173 h 6858000"/>
              <a:gd name="connsiteX523" fmla="*/ 5449475 w 9595474"/>
              <a:gd name="connsiteY523" fmla="*/ 4807268 h 6858000"/>
              <a:gd name="connsiteX524" fmla="*/ 5443563 w 9595474"/>
              <a:gd name="connsiteY524" fmla="*/ 4805045 h 6858000"/>
              <a:gd name="connsiteX525" fmla="*/ 5437948 w 9595474"/>
              <a:gd name="connsiteY525" fmla="*/ 4802823 h 6858000"/>
              <a:gd name="connsiteX526" fmla="*/ 5432036 w 9595474"/>
              <a:gd name="connsiteY526" fmla="*/ 4801553 h 6858000"/>
              <a:gd name="connsiteX527" fmla="*/ 5426420 w 9595474"/>
              <a:gd name="connsiteY527" fmla="*/ 4800283 h 6858000"/>
              <a:gd name="connsiteX528" fmla="*/ 5420509 w 9595474"/>
              <a:gd name="connsiteY528" fmla="*/ 4799330 h 6858000"/>
              <a:gd name="connsiteX529" fmla="*/ 5414597 w 9595474"/>
              <a:gd name="connsiteY529" fmla="*/ 4798695 h 6858000"/>
              <a:gd name="connsiteX530" fmla="*/ 5408391 w 9595474"/>
              <a:gd name="connsiteY530" fmla="*/ 4798060 h 6858000"/>
              <a:gd name="connsiteX531" fmla="*/ 5402775 w 9595474"/>
              <a:gd name="connsiteY531" fmla="*/ 4797743 h 6858000"/>
              <a:gd name="connsiteX532" fmla="*/ 5396568 w 9595474"/>
              <a:gd name="connsiteY532" fmla="*/ 4798060 h 6858000"/>
              <a:gd name="connsiteX533" fmla="*/ 5390361 w 9595474"/>
              <a:gd name="connsiteY533" fmla="*/ 4798695 h 6858000"/>
              <a:gd name="connsiteX534" fmla="*/ 5384745 w 9595474"/>
              <a:gd name="connsiteY534" fmla="*/ 4799330 h 6858000"/>
              <a:gd name="connsiteX535" fmla="*/ 5378538 w 9595474"/>
              <a:gd name="connsiteY535" fmla="*/ 4800283 h 6858000"/>
              <a:gd name="connsiteX536" fmla="*/ 5372922 w 9595474"/>
              <a:gd name="connsiteY536" fmla="*/ 4801553 h 6858000"/>
              <a:gd name="connsiteX537" fmla="*/ 5367010 w 9595474"/>
              <a:gd name="connsiteY537" fmla="*/ 4802823 h 6858000"/>
              <a:gd name="connsiteX538" fmla="*/ 5361394 w 9595474"/>
              <a:gd name="connsiteY538" fmla="*/ 4805045 h 6858000"/>
              <a:gd name="connsiteX539" fmla="*/ 5355483 w 9595474"/>
              <a:gd name="connsiteY539" fmla="*/ 4807268 h 6858000"/>
              <a:gd name="connsiteX540" fmla="*/ 5350163 w 9595474"/>
              <a:gd name="connsiteY540" fmla="*/ 4809173 h 6858000"/>
              <a:gd name="connsiteX541" fmla="*/ 5344547 w 9595474"/>
              <a:gd name="connsiteY541" fmla="*/ 4812348 h 6858000"/>
              <a:gd name="connsiteX542" fmla="*/ 5338931 w 9595474"/>
              <a:gd name="connsiteY542" fmla="*/ 4815205 h 6858000"/>
              <a:gd name="connsiteX543" fmla="*/ 5333906 w 9595474"/>
              <a:gd name="connsiteY543" fmla="*/ 4818380 h 6858000"/>
              <a:gd name="connsiteX544" fmla="*/ 5328881 w 9595474"/>
              <a:gd name="connsiteY544" fmla="*/ 4821873 h 6858000"/>
              <a:gd name="connsiteX545" fmla="*/ 5323857 w 9595474"/>
              <a:gd name="connsiteY545" fmla="*/ 4826000 h 6858000"/>
              <a:gd name="connsiteX546" fmla="*/ 5318832 w 9595474"/>
              <a:gd name="connsiteY546" fmla="*/ 4830128 h 6858000"/>
              <a:gd name="connsiteX547" fmla="*/ 5314398 w 9595474"/>
              <a:gd name="connsiteY547" fmla="*/ 4834573 h 6858000"/>
              <a:gd name="connsiteX548" fmla="*/ 5307305 w 9595474"/>
              <a:gd name="connsiteY548" fmla="*/ 4841875 h 6858000"/>
              <a:gd name="connsiteX549" fmla="*/ 5301393 w 9595474"/>
              <a:gd name="connsiteY549" fmla="*/ 4849813 h 6858000"/>
              <a:gd name="connsiteX550" fmla="*/ 5295482 w 9595474"/>
              <a:gd name="connsiteY550" fmla="*/ 4858068 h 6858000"/>
              <a:gd name="connsiteX551" fmla="*/ 5291048 w 9595474"/>
              <a:gd name="connsiteY551" fmla="*/ 4867275 h 6858000"/>
              <a:gd name="connsiteX552" fmla="*/ 5286910 w 9595474"/>
              <a:gd name="connsiteY552" fmla="*/ 4875848 h 6858000"/>
              <a:gd name="connsiteX553" fmla="*/ 5283659 w 9595474"/>
              <a:gd name="connsiteY553" fmla="*/ 4885055 h 6858000"/>
              <a:gd name="connsiteX554" fmla="*/ 5281294 w 9595474"/>
              <a:gd name="connsiteY554" fmla="*/ 4894580 h 6858000"/>
              <a:gd name="connsiteX555" fmla="*/ 5279521 w 9595474"/>
              <a:gd name="connsiteY555" fmla="*/ 4903788 h 6858000"/>
              <a:gd name="connsiteX556" fmla="*/ 5278339 w 9595474"/>
              <a:gd name="connsiteY556" fmla="*/ 4913630 h 6858000"/>
              <a:gd name="connsiteX557" fmla="*/ 5278339 w 9595474"/>
              <a:gd name="connsiteY557" fmla="*/ 4923155 h 6858000"/>
              <a:gd name="connsiteX558" fmla="*/ 5278634 w 9595474"/>
              <a:gd name="connsiteY558" fmla="*/ 4932998 h 6858000"/>
              <a:gd name="connsiteX559" fmla="*/ 5279816 w 9595474"/>
              <a:gd name="connsiteY559" fmla="*/ 4942205 h 6858000"/>
              <a:gd name="connsiteX560" fmla="*/ 5281885 w 9595474"/>
              <a:gd name="connsiteY560" fmla="*/ 4952048 h 6858000"/>
              <a:gd name="connsiteX561" fmla="*/ 5284546 w 9595474"/>
              <a:gd name="connsiteY561" fmla="*/ 4960938 h 6858000"/>
              <a:gd name="connsiteX562" fmla="*/ 5288092 w 9595474"/>
              <a:gd name="connsiteY562" fmla="*/ 4970145 h 6858000"/>
              <a:gd name="connsiteX563" fmla="*/ 5291935 w 9595474"/>
              <a:gd name="connsiteY563" fmla="*/ 4979353 h 6858000"/>
              <a:gd name="connsiteX564" fmla="*/ 5583665 w 9595474"/>
              <a:gd name="connsiteY564" fmla="*/ 5270500 h 6858000"/>
              <a:gd name="connsiteX565" fmla="*/ 5588098 w 9595474"/>
              <a:gd name="connsiteY565" fmla="*/ 5275263 h 6858000"/>
              <a:gd name="connsiteX566" fmla="*/ 5592237 w 9595474"/>
              <a:gd name="connsiteY566" fmla="*/ 5280343 h 6858000"/>
              <a:gd name="connsiteX567" fmla="*/ 5595784 w 9595474"/>
              <a:gd name="connsiteY567" fmla="*/ 5284788 h 6858000"/>
              <a:gd name="connsiteX568" fmla="*/ 5599626 w 9595474"/>
              <a:gd name="connsiteY568" fmla="*/ 5290185 h 6858000"/>
              <a:gd name="connsiteX569" fmla="*/ 5602582 w 9595474"/>
              <a:gd name="connsiteY569" fmla="*/ 5295265 h 6858000"/>
              <a:gd name="connsiteX570" fmla="*/ 5605833 w 9595474"/>
              <a:gd name="connsiteY570" fmla="*/ 5300663 h 6858000"/>
              <a:gd name="connsiteX571" fmla="*/ 5608493 w 9595474"/>
              <a:gd name="connsiteY571" fmla="*/ 5306060 h 6858000"/>
              <a:gd name="connsiteX572" fmla="*/ 5610857 w 9595474"/>
              <a:gd name="connsiteY572" fmla="*/ 5311775 h 6858000"/>
              <a:gd name="connsiteX573" fmla="*/ 5613222 w 9595474"/>
              <a:gd name="connsiteY573" fmla="*/ 5317490 h 6858000"/>
              <a:gd name="connsiteX574" fmla="*/ 5614996 w 9595474"/>
              <a:gd name="connsiteY574" fmla="*/ 5323523 h 6858000"/>
              <a:gd name="connsiteX575" fmla="*/ 5616474 w 9595474"/>
              <a:gd name="connsiteY575" fmla="*/ 5329238 h 6858000"/>
              <a:gd name="connsiteX576" fmla="*/ 5617656 w 9595474"/>
              <a:gd name="connsiteY576" fmla="*/ 5334953 h 6858000"/>
              <a:gd name="connsiteX577" fmla="*/ 5618838 w 9595474"/>
              <a:gd name="connsiteY577" fmla="*/ 5340985 h 6858000"/>
              <a:gd name="connsiteX578" fmla="*/ 5619725 w 9595474"/>
              <a:gd name="connsiteY578" fmla="*/ 5346700 h 6858000"/>
              <a:gd name="connsiteX579" fmla="*/ 5620021 w 9595474"/>
              <a:gd name="connsiteY579" fmla="*/ 5352733 h 6858000"/>
              <a:gd name="connsiteX580" fmla="*/ 5620021 w 9595474"/>
              <a:gd name="connsiteY580" fmla="*/ 5359083 h 6858000"/>
              <a:gd name="connsiteX581" fmla="*/ 5620021 w 9595474"/>
              <a:gd name="connsiteY581" fmla="*/ 5364798 h 6858000"/>
              <a:gd name="connsiteX582" fmla="*/ 5619725 w 9595474"/>
              <a:gd name="connsiteY582" fmla="*/ 5370830 h 6858000"/>
              <a:gd name="connsiteX583" fmla="*/ 5618838 w 9595474"/>
              <a:gd name="connsiteY583" fmla="*/ 5376545 h 6858000"/>
              <a:gd name="connsiteX584" fmla="*/ 5617656 w 9595474"/>
              <a:gd name="connsiteY584" fmla="*/ 5382578 h 6858000"/>
              <a:gd name="connsiteX585" fmla="*/ 5616474 w 9595474"/>
              <a:gd name="connsiteY585" fmla="*/ 5388293 h 6858000"/>
              <a:gd name="connsiteX586" fmla="*/ 5614996 w 9595474"/>
              <a:gd name="connsiteY586" fmla="*/ 5394008 h 6858000"/>
              <a:gd name="connsiteX587" fmla="*/ 5613222 w 9595474"/>
              <a:gd name="connsiteY587" fmla="*/ 5400040 h 6858000"/>
              <a:gd name="connsiteX588" fmla="*/ 5610857 w 9595474"/>
              <a:gd name="connsiteY588" fmla="*/ 5405755 h 6858000"/>
              <a:gd name="connsiteX589" fmla="*/ 5608493 w 9595474"/>
              <a:gd name="connsiteY589" fmla="*/ 5411470 h 6858000"/>
              <a:gd name="connsiteX590" fmla="*/ 5605833 w 9595474"/>
              <a:gd name="connsiteY590" fmla="*/ 5416868 h 6858000"/>
              <a:gd name="connsiteX591" fmla="*/ 5602582 w 9595474"/>
              <a:gd name="connsiteY591" fmla="*/ 5422265 h 6858000"/>
              <a:gd name="connsiteX592" fmla="*/ 5599626 w 9595474"/>
              <a:gd name="connsiteY592" fmla="*/ 5427663 h 6858000"/>
              <a:gd name="connsiteX593" fmla="*/ 5595784 w 9595474"/>
              <a:gd name="connsiteY593" fmla="*/ 5432743 h 6858000"/>
              <a:gd name="connsiteX594" fmla="*/ 5592237 w 9595474"/>
              <a:gd name="connsiteY594" fmla="*/ 5437505 h 6858000"/>
              <a:gd name="connsiteX595" fmla="*/ 5588098 w 9595474"/>
              <a:gd name="connsiteY595" fmla="*/ 5442268 h 6858000"/>
              <a:gd name="connsiteX596" fmla="*/ 5583665 w 9595474"/>
              <a:gd name="connsiteY596" fmla="*/ 5447030 h 6858000"/>
              <a:gd name="connsiteX597" fmla="*/ 5578936 w 9595474"/>
              <a:gd name="connsiteY597" fmla="*/ 5451158 h 6858000"/>
              <a:gd name="connsiteX598" fmla="*/ 5573911 w 9595474"/>
              <a:gd name="connsiteY598" fmla="*/ 5455603 h 6858000"/>
              <a:gd name="connsiteX599" fmla="*/ 5569182 w 9595474"/>
              <a:gd name="connsiteY599" fmla="*/ 5459095 h 6858000"/>
              <a:gd name="connsiteX600" fmla="*/ 5563862 w 9595474"/>
              <a:gd name="connsiteY600" fmla="*/ 5462905 h 6858000"/>
              <a:gd name="connsiteX601" fmla="*/ 5558837 w 9595474"/>
              <a:gd name="connsiteY601" fmla="*/ 5466080 h 6858000"/>
              <a:gd name="connsiteX602" fmla="*/ 5553517 w 9595474"/>
              <a:gd name="connsiteY602" fmla="*/ 5469255 h 6858000"/>
              <a:gd name="connsiteX603" fmla="*/ 5548196 w 9595474"/>
              <a:gd name="connsiteY603" fmla="*/ 5471795 h 6858000"/>
              <a:gd name="connsiteX604" fmla="*/ 5542285 w 9595474"/>
              <a:gd name="connsiteY604" fmla="*/ 5474335 h 6858000"/>
              <a:gd name="connsiteX605" fmla="*/ 5536964 w 9595474"/>
              <a:gd name="connsiteY605" fmla="*/ 5476558 h 6858000"/>
              <a:gd name="connsiteX606" fmla="*/ 5531348 w 9595474"/>
              <a:gd name="connsiteY606" fmla="*/ 5478145 h 6858000"/>
              <a:gd name="connsiteX607" fmla="*/ 5525437 w 9595474"/>
              <a:gd name="connsiteY607" fmla="*/ 5479733 h 6858000"/>
              <a:gd name="connsiteX608" fmla="*/ 5519230 w 9595474"/>
              <a:gd name="connsiteY608" fmla="*/ 5481003 h 6858000"/>
              <a:gd name="connsiteX609" fmla="*/ 5513614 w 9595474"/>
              <a:gd name="connsiteY609" fmla="*/ 5482273 h 6858000"/>
              <a:gd name="connsiteX610" fmla="*/ 5507999 w 9595474"/>
              <a:gd name="connsiteY610" fmla="*/ 5482908 h 6858000"/>
              <a:gd name="connsiteX611" fmla="*/ 5501791 w 9595474"/>
              <a:gd name="connsiteY611" fmla="*/ 5483225 h 6858000"/>
              <a:gd name="connsiteX612" fmla="*/ 5495585 w 9595474"/>
              <a:gd name="connsiteY612" fmla="*/ 5483543 h 6858000"/>
              <a:gd name="connsiteX613" fmla="*/ 6873545 w 9595474"/>
              <a:gd name="connsiteY613" fmla="*/ 6858000 h 6858000"/>
              <a:gd name="connsiteX614" fmla="*/ 9595474 w 9595474"/>
              <a:gd name="connsiteY614" fmla="*/ 6858000 h 6858000"/>
              <a:gd name="connsiteX615" fmla="*/ 9595474 w 9595474"/>
              <a:gd name="connsiteY615" fmla="*/ 0 h 6858000"/>
              <a:gd name="connsiteX0" fmla="*/ 9595474 w 9595474"/>
              <a:gd name="connsiteY0" fmla="*/ 0 h 6858000"/>
              <a:gd name="connsiteX1" fmla="*/ 2914643 w 9595474"/>
              <a:gd name="connsiteY1" fmla="*/ 0 h 6858000"/>
              <a:gd name="connsiteX2" fmla="*/ 2857270 w 9595474"/>
              <a:gd name="connsiteY2" fmla="*/ 0 h 6858000"/>
              <a:gd name="connsiteX3" fmla="*/ 0 w 9595474"/>
              <a:gd name="connsiteY3" fmla="*/ 0 h 6858000"/>
              <a:gd name="connsiteX4" fmla="*/ 692823 w 9595474"/>
              <a:gd name="connsiteY4" fmla="*/ 691198 h 6858000"/>
              <a:gd name="connsiteX5" fmla="*/ 691345 w 9595474"/>
              <a:gd name="connsiteY5" fmla="*/ 683895 h 6858000"/>
              <a:gd name="connsiteX6" fmla="*/ 690754 w 9595474"/>
              <a:gd name="connsiteY6" fmla="*/ 676275 h 6858000"/>
              <a:gd name="connsiteX7" fmla="*/ 690754 w 9595474"/>
              <a:gd name="connsiteY7" fmla="*/ 669290 h 6858000"/>
              <a:gd name="connsiteX8" fmla="*/ 690754 w 9595474"/>
              <a:gd name="connsiteY8" fmla="*/ 661988 h 6858000"/>
              <a:gd name="connsiteX9" fmla="*/ 691345 w 9595474"/>
              <a:gd name="connsiteY9" fmla="*/ 654368 h 6858000"/>
              <a:gd name="connsiteX10" fmla="*/ 692527 w 9595474"/>
              <a:gd name="connsiteY10" fmla="*/ 647383 h 6858000"/>
              <a:gd name="connsiteX11" fmla="*/ 694005 w 9595474"/>
              <a:gd name="connsiteY11" fmla="*/ 640080 h 6858000"/>
              <a:gd name="connsiteX12" fmla="*/ 695778 w 9595474"/>
              <a:gd name="connsiteY12" fmla="*/ 633095 h 6858000"/>
              <a:gd name="connsiteX13" fmla="*/ 698143 w 9595474"/>
              <a:gd name="connsiteY13" fmla="*/ 625793 h 6858000"/>
              <a:gd name="connsiteX14" fmla="*/ 700803 w 9595474"/>
              <a:gd name="connsiteY14" fmla="*/ 618808 h 6858000"/>
              <a:gd name="connsiteX15" fmla="*/ 704054 w 9595474"/>
              <a:gd name="connsiteY15" fmla="*/ 612140 h 6858000"/>
              <a:gd name="connsiteX16" fmla="*/ 707601 w 9595474"/>
              <a:gd name="connsiteY16" fmla="*/ 605790 h 6858000"/>
              <a:gd name="connsiteX17" fmla="*/ 712035 w 9595474"/>
              <a:gd name="connsiteY17" fmla="*/ 599123 h 6858000"/>
              <a:gd name="connsiteX18" fmla="*/ 716173 w 9595474"/>
              <a:gd name="connsiteY18" fmla="*/ 592773 h 6858000"/>
              <a:gd name="connsiteX19" fmla="*/ 721198 w 9595474"/>
              <a:gd name="connsiteY19" fmla="*/ 587058 h 6858000"/>
              <a:gd name="connsiteX20" fmla="*/ 726518 w 9595474"/>
              <a:gd name="connsiteY20" fmla="*/ 581343 h 6858000"/>
              <a:gd name="connsiteX21" fmla="*/ 731247 w 9595474"/>
              <a:gd name="connsiteY21" fmla="*/ 576898 h 6858000"/>
              <a:gd name="connsiteX22" fmla="*/ 735976 w 9595474"/>
              <a:gd name="connsiteY22" fmla="*/ 572453 h 6858000"/>
              <a:gd name="connsiteX23" fmla="*/ 741001 w 9595474"/>
              <a:gd name="connsiteY23" fmla="*/ 568960 h 6858000"/>
              <a:gd name="connsiteX24" fmla="*/ 746026 w 9595474"/>
              <a:gd name="connsiteY24" fmla="*/ 565468 h 6858000"/>
              <a:gd name="connsiteX25" fmla="*/ 751050 w 9595474"/>
              <a:gd name="connsiteY25" fmla="*/ 562293 h 6858000"/>
              <a:gd name="connsiteX26" fmla="*/ 756371 w 9595474"/>
              <a:gd name="connsiteY26" fmla="*/ 558800 h 6858000"/>
              <a:gd name="connsiteX27" fmla="*/ 761691 w 9595474"/>
              <a:gd name="connsiteY27" fmla="*/ 556578 h 6858000"/>
              <a:gd name="connsiteX28" fmla="*/ 767602 w 9595474"/>
              <a:gd name="connsiteY28" fmla="*/ 554038 h 6858000"/>
              <a:gd name="connsiteX29" fmla="*/ 772923 w 9595474"/>
              <a:gd name="connsiteY29" fmla="*/ 551815 h 6858000"/>
              <a:gd name="connsiteX30" fmla="*/ 778834 w 9595474"/>
              <a:gd name="connsiteY30" fmla="*/ 549910 h 6858000"/>
              <a:gd name="connsiteX31" fmla="*/ 784450 w 9595474"/>
              <a:gd name="connsiteY31" fmla="*/ 548640 h 6858000"/>
              <a:gd name="connsiteX32" fmla="*/ 790066 w 9595474"/>
              <a:gd name="connsiteY32" fmla="*/ 547370 h 6858000"/>
              <a:gd name="connsiteX33" fmla="*/ 795977 w 9595474"/>
              <a:gd name="connsiteY33" fmla="*/ 546418 h 6858000"/>
              <a:gd name="connsiteX34" fmla="*/ 802184 w 9595474"/>
              <a:gd name="connsiteY34" fmla="*/ 545783 h 6858000"/>
              <a:gd name="connsiteX35" fmla="*/ 807800 w 9595474"/>
              <a:gd name="connsiteY35" fmla="*/ 545465 h 6858000"/>
              <a:gd name="connsiteX36" fmla="*/ 814007 w 9595474"/>
              <a:gd name="connsiteY36" fmla="*/ 544830 h 6858000"/>
              <a:gd name="connsiteX37" fmla="*/ 819623 w 9595474"/>
              <a:gd name="connsiteY37" fmla="*/ 545465 h 6858000"/>
              <a:gd name="connsiteX38" fmla="*/ 825830 w 9595474"/>
              <a:gd name="connsiteY38" fmla="*/ 545783 h 6858000"/>
              <a:gd name="connsiteX39" fmla="*/ 831446 w 9595474"/>
              <a:gd name="connsiteY39" fmla="*/ 546418 h 6858000"/>
              <a:gd name="connsiteX40" fmla="*/ 837358 w 9595474"/>
              <a:gd name="connsiteY40" fmla="*/ 547370 h 6858000"/>
              <a:gd name="connsiteX41" fmla="*/ 842974 w 9595474"/>
              <a:gd name="connsiteY41" fmla="*/ 548640 h 6858000"/>
              <a:gd name="connsiteX42" fmla="*/ 848885 w 9595474"/>
              <a:gd name="connsiteY42" fmla="*/ 549910 h 6858000"/>
              <a:gd name="connsiteX43" fmla="*/ 854501 w 9595474"/>
              <a:gd name="connsiteY43" fmla="*/ 551815 h 6858000"/>
              <a:gd name="connsiteX44" fmla="*/ 860117 w 9595474"/>
              <a:gd name="connsiteY44" fmla="*/ 554038 h 6858000"/>
              <a:gd name="connsiteX45" fmla="*/ 865733 w 9595474"/>
              <a:gd name="connsiteY45" fmla="*/ 556578 h 6858000"/>
              <a:gd name="connsiteX46" fmla="*/ 871053 w 9595474"/>
              <a:gd name="connsiteY46" fmla="*/ 558800 h 6858000"/>
              <a:gd name="connsiteX47" fmla="*/ 876373 w 9595474"/>
              <a:gd name="connsiteY47" fmla="*/ 562293 h 6858000"/>
              <a:gd name="connsiteX48" fmla="*/ 881398 w 9595474"/>
              <a:gd name="connsiteY48" fmla="*/ 565468 h 6858000"/>
              <a:gd name="connsiteX49" fmla="*/ 886718 w 9595474"/>
              <a:gd name="connsiteY49" fmla="*/ 568960 h 6858000"/>
              <a:gd name="connsiteX50" fmla="*/ 891447 w 9595474"/>
              <a:gd name="connsiteY50" fmla="*/ 572453 h 6858000"/>
              <a:gd name="connsiteX51" fmla="*/ 896177 w 9595474"/>
              <a:gd name="connsiteY51" fmla="*/ 576898 h 6858000"/>
              <a:gd name="connsiteX52" fmla="*/ 900906 w 9595474"/>
              <a:gd name="connsiteY52" fmla="*/ 581343 h 6858000"/>
              <a:gd name="connsiteX53" fmla="*/ 1431459 w 9595474"/>
              <a:gd name="connsiteY53" fmla="*/ 1111568 h 6858000"/>
              <a:gd name="connsiteX54" fmla="*/ 2394731 w 9595474"/>
              <a:gd name="connsiteY54" fmla="*/ 2074863 h 6858000"/>
              <a:gd name="connsiteX55" fmla="*/ 2399164 w 9595474"/>
              <a:gd name="connsiteY55" fmla="*/ 2079308 h 6858000"/>
              <a:gd name="connsiteX56" fmla="*/ 2404189 w 9595474"/>
              <a:gd name="connsiteY56" fmla="*/ 2083435 h 6858000"/>
              <a:gd name="connsiteX57" fmla="*/ 2408918 w 9595474"/>
              <a:gd name="connsiteY57" fmla="*/ 2087245 h 6858000"/>
              <a:gd name="connsiteX58" fmla="*/ 2413943 w 9595474"/>
              <a:gd name="connsiteY58" fmla="*/ 2090738 h 6858000"/>
              <a:gd name="connsiteX59" fmla="*/ 2419263 w 9595474"/>
              <a:gd name="connsiteY59" fmla="*/ 2093913 h 6858000"/>
              <a:gd name="connsiteX60" fmla="*/ 2424583 w 9595474"/>
              <a:gd name="connsiteY60" fmla="*/ 2096770 h 6858000"/>
              <a:gd name="connsiteX61" fmla="*/ 2430199 w 9595474"/>
              <a:gd name="connsiteY61" fmla="*/ 2099628 h 6858000"/>
              <a:gd name="connsiteX62" fmla="*/ 2435520 w 9595474"/>
              <a:gd name="connsiteY62" fmla="*/ 2101850 h 6858000"/>
              <a:gd name="connsiteX63" fmla="*/ 2441136 w 9595474"/>
              <a:gd name="connsiteY63" fmla="*/ 2104073 h 6858000"/>
              <a:gd name="connsiteX64" fmla="*/ 2447047 w 9595474"/>
              <a:gd name="connsiteY64" fmla="*/ 2105660 h 6858000"/>
              <a:gd name="connsiteX65" fmla="*/ 2452663 w 9595474"/>
              <a:gd name="connsiteY65" fmla="*/ 2107565 h 6858000"/>
              <a:gd name="connsiteX66" fmla="*/ 2458574 w 9595474"/>
              <a:gd name="connsiteY66" fmla="*/ 2108518 h 6858000"/>
              <a:gd name="connsiteX67" fmla="*/ 2464190 w 9595474"/>
              <a:gd name="connsiteY67" fmla="*/ 2109788 h 6858000"/>
              <a:gd name="connsiteX68" fmla="*/ 2469806 w 9595474"/>
              <a:gd name="connsiteY68" fmla="*/ 2110423 h 6858000"/>
              <a:gd name="connsiteX69" fmla="*/ 2476013 w 9595474"/>
              <a:gd name="connsiteY69" fmla="*/ 2110740 h 6858000"/>
              <a:gd name="connsiteX70" fmla="*/ 2481925 w 9595474"/>
              <a:gd name="connsiteY70" fmla="*/ 2111058 h 6858000"/>
              <a:gd name="connsiteX71" fmla="*/ 2487836 w 9595474"/>
              <a:gd name="connsiteY71" fmla="*/ 2110740 h 6858000"/>
              <a:gd name="connsiteX72" fmla="*/ 2493747 w 9595474"/>
              <a:gd name="connsiteY72" fmla="*/ 2110423 h 6858000"/>
              <a:gd name="connsiteX73" fmla="*/ 2499363 w 9595474"/>
              <a:gd name="connsiteY73" fmla="*/ 2109788 h 6858000"/>
              <a:gd name="connsiteX74" fmla="*/ 2505570 w 9595474"/>
              <a:gd name="connsiteY74" fmla="*/ 2108518 h 6858000"/>
              <a:gd name="connsiteX75" fmla="*/ 2511186 w 9595474"/>
              <a:gd name="connsiteY75" fmla="*/ 2107565 h 6858000"/>
              <a:gd name="connsiteX76" fmla="*/ 2517098 w 9595474"/>
              <a:gd name="connsiteY76" fmla="*/ 2105660 h 6858000"/>
              <a:gd name="connsiteX77" fmla="*/ 2522714 w 9595474"/>
              <a:gd name="connsiteY77" fmla="*/ 2104073 h 6858000"/>
              <a:gd name="connsiteX78" fmla="*/ 2528034 w 9595474"/>
              <a:gd name="connsiteY78" fmla="*/ 2101850 h 6858000"/>
              <a:gd name="connsiteX79" fmla="*/ 2533945 w 9595474"/>
              <a:gd name="connsiteY79" fmla="*/ 2099628 h 6858000"/>
              <a:gd name="connsiteX80" fmla="*/ 2539266 w 9595474"/>
              <a:gd name="connsiteY80" fmla="*/ 2096770 h 6858000"/>
              <a:gd name="connsiteX81" fmla="*/ 2544290 w 9595474"/>
              <a:gd name="connsiteY81" fmla="*/ 2093913 h 6858000"/>
              <a:gd name="connsiteX82" fmla="*/ 2549611 w 9595474"/>
              <a:gd name="connsiteY82" fmla="*/ 2090738 h 6858000"/>
              <a:gd name="connsiteX83" fmla="*/ 2554635 w 9595474"/>
              <a:gd name="connsiteY83" fmla="*/ 2087245 h 6858000"/>
              <a:gd name="connsiteX84" fmla="*/ 2559660 w 9595474"/>
              <a:gd name="connsiteY84" fmla="*/ 2083435 h 6858000"/>
              <a:gd name="connsiteX85" fmla="*/ 2564389 w 9595474"/>
              <a:gd name="connsiteY85" fmla="*/ 2079308 h 6858000"/>
              <a:gd name="connsiteX86" fmla="*/ 2569119 w 9595474"/>
              <a:gd name="connsiteY86" fmla="*/ 2074863 h 6858000"/>
              <a:gd name="connsiteX87" fmla="*/ 2573257 w 9595474"/>
              <a:gd name="connsiteY87" fmla="*/ 2070100 h 6858000"/>
              <a:gd name="connsiteX88" fmla="*/ 2577395 w 9595474"/>
              <a:gd name="connsiteY88" fmla="*/ 2065655 h 6858000"/>
              <a:gd name="connsiteX89" fmla="*/ 2581237 w 9595474"/>
              <a:gd name="connsiteY89" fmla="*/ 2060575 h 6858000"/>
              <a:gd name="connsiteX90" fmla="*/ 2584784 w 9595474"/>
              <a:gd name="connsiteY90" fmla="*/ 2055495 h 6858000"/>
              <a:gd name="connsiteX91" fmla="*/ 2588035 w 9595474"/>
              <a:gd name="connsiteY91" fmla="*/ 2050415 h 6858000"/>
              <a:gd name="connsiteX92" fmla="*/ 2590991 w 9595474"/>
              <a:gd name="connsiteY92" fmla="*/ 2045018 h 6858000"/>
              <a:gd name="connsiteX93" fmla="*/ 2593651 w 9595474"/>
              <a:gd name="connsiteY93" fmla="*/ 2039620 h 6858000"/>
              <a:gd name="connsiteX94" fmla="*/ 2596016 w 9595474"/>
              <a:gd name="connsiteY94" fmla="*/ 2034223 h 6858000"/>
              <a:gd name="connsiteX95" fmla="*/ 2598085 w 9595474"/>
              <a:gd name="connsiteY95" fmla="*/ 2028508 h 6858000"/>
              <a:gd name="connsiteX96" fmla="*/ 2599858 w 9595474"/>
              <a:gd name="connsiteY96" fmla="*/ 2022793 h 6858000"/>
              <a:gd name="connsiteX97" fmla="*/ 2601336 w 9595474"/>
              <a:gd name="connsiteY97" fmla="*/ 2017078 h 6858000"/>
              <a:gd name="connsiteX98" fmla="*/ 2602814 w 9595474"/>
              <a:gd name="connsiteY98" fmla="*/ 2011363 h 6858000"/>
              <a:gd name="connsiteX99" fmla="*/ 2603996 w 9595474"/>
              <a:gd name="connsiteY99" fmla="*/ 2005648 h 6858000"/>
              <a:gd name="connsiteX100" fmla="*/ 2604587 w 9595474"/>
              <a:gd name="connsiteY100" fmla="*/ 1999615 h 6858000"/>
              <a:gd name="connsiteX101" fmla="*/ 2604883 w 9595474"/>
              <a:gd name="connsiteY101" fmla="*/ 1993583 h 6858000"/>
              <a:gd name="connsiteX102" fmla="*/ 2604883 w 9595474"/>
              <a:gd name="connsiteY102" fmla="*/ 1987550 h 6858000"/>
              <a:gd name="connsiteX103" fmla="*/ 2604883 w 9595474"/>
              <a:gd name="connsiteY103" fmla="*/ 1981835 h 6858000"/>
              <a:gd name="connsiteX104" fmla="*/ 2604587 w 9595474"/>
              <a:gd name="connsiteY104" fmla="*/ 1976120 h 6858000"/>
              <a:gd name="connsiteX105" fmla="*/ 2603996 w 9595474"/>
              <a:gd name="connsiteY105" fmla="*/ 1970088 h 6858000"/>
              <a:gd name="connsiteX106" fmla="*/ 2602814 w 9595474"/>
              <a:gd name="connsiteY106" fmla="*/ 1964373 h 6858000"/>
              <a:gd name="connsiteX107" fmla="*/ 2601336 w 9595474"/>
              <a:gd name="connsiteY107" fmla="*/ 1958658 h 6858000"/>
              <a:gd name="connsiteX108" fmla="*/ 2599858 w 9595474"/>
              <a:gd name="connsiteY108" fmla="*/ 1952625 h 6858000"/>
              <a:gd name="connsiteX109" fmla="*/ 2598085 w 9595474"/>
              <a:gd name="connsiteY109" fmla="*/ 1946910 h 6858000"/>
              <a:gd name="connsiteX110" fmla="*/ 2596016 w 9595474"/>
              <a:gd name="connsiteY110" fmla="*/ 1941195 h 6858000"/>
              <a:gd name="connsiteX111" fmla="*/ 2593651 w 9595474"/>
              <a:gd name="connsiteY111" fmla="*/ 1935798 h 6858000"/>
              <a:gd name="connsiteX112" fmla="*/ 2590991 w 9595474"/>
              <a:gd name="connsiteY112" fmla="*/ 1930400 h 6858000"/>
              <a:gd name="connsiteX113" fmla="*/ 2588035 w 9595474"/>
              <a:gd name="connsiteY113" fmla="*/ 1925003 h 6858000"/>
              <a:gd name="connsiteX114" fmla="*/ 2584784 w 9595474"/>
              <a:gd name="connsiteY114" fmla="*/ 1919923 h 6858000"/>
              <a:gd name="connsiteX115" fmla="*/ 2581237 w 9595474"/>
              <a:gd name="connsiteY115" fmla="*/ 1915160 h 6858000"/>
              <a:gd name="connsiteX116" fmla="*/ 2577395 w 9595474"/>
              <a:gd name="connsiteY116" fmla="*/ 1910080 h 6858000"/>
              <a:gd name="connsiteX117" fmla="*/ 2573257 w 9595474"/>
              <a:gd name="connsiteY117" fmla="*/ 1905318 h 6858000"/>
              <a:gd name="connsiteX118" fmla="*/ 2569119 w 9595474"/>
              <a:gd name="connsiteY118" fmla="*/ 1900555 h 6858000"/>
              <a:gd name="connsiteX119" fmla="*/ 1590477 w 9595474"/>
              <a:gd name="connsiteY119" fmla="*/ 922020 h 6858000"/>
              <a:gd name="connsiteX120" fmla="*/ 1272736 w 9595474"/>
              <a:gd name="connsiteY120" fmla="*/ 604203 h 6858000"/>
              <a:gd name="connsiteX121" fmla="*/ 1268303 w 9595474"/>
              <a:gd name="connsiteY121" fmla="*/ 599440 h 6858000"/>
              <a:gd name="connsiteX122" fmla="*/ 1264165 w 9595474"/>
              <a:gd name="connsiteY122" fmla="*/ 594995 h 6858000"/>
              <a:gd name="connsiteX123" fmla="*/ 1260322 w 9595474"/>
              <a:gd name="connsiteY123" fmla="*/ 589915 h 6858000"/>
              <a:gd name="connsiteX124" fmla="*/ 1256776 w 9595474"/>
              <a:gd name="connsiteY124" fmla="*/ 584835 h 6858000"/>
              <a:gd name="connsiteX125" fmla="*/ 1253524 w 9595474"/>
              <a:gd name="connsiteY125" fmla="*/ 579755 h 6858000"/>
              <a:gd name="connsiteX126" fmla="*/ 1250864 w 9595474"/>
              <a:gd name="connsiteY126" fmla="*/ 574358 h 6858000"/>
              <a:gd name="connsiteX127" fmla="*/ 1247908 w 9595474"/>
              <a:gd name="connsiteY127" fmla="*/ 568960 h 6858000"/>
              <a:gd name="connsiteX128" fmla="*/ 1245839 w 9595474"/>
              <a:gd name="connsiteY128" fmla="*/ 563563 h 6858000"/>
              <a:gd name="connsiteX129" fmla="*/ 1243475 w 9595474"/>
              <a:gd name="connsiteY129" fmla="*/ 557848 h 6858000"/>
              <a:gd name="connsiteX130" fmla="*/ 1241701 w 9595474"/>
              <a:gd name="connsiteY130" fmla="*/ 552133 h 6858000"/>
              <a:gd name="connsiteX131" fmla="*/ 1239928 w 9595474"/>
              <a:gd name="connsiteY131" fmla="*/ 546418 h 6858000"/>
              <a:gd name="connsiteX132" fmla="*/ 1238746 w 9595474"/>
              <a:gd name="connsiteY132" fmla="*/ 540703 h 6858000"/>
              <a:gd name="connsiteX133" fmla="*/ 1237859 w 9595474"/>
              <a:gd name="connsiteY133" fmla="*/ 534988 h 6858000"/>
              <a:gd name="connsiteX134" fmla="*/ 1236972 w 9595474"/>
              <a:gd name="connsiteY134" fmla="*/ 528638 h 6858000"/>
              <a:gd name="connsiteX135" fmla="*/ 1236677 w 9595474"/>
              <a:gd name="connsiteY135" fmla="*/ 522923 h 6858000"/>
              <a:gd name="connsiteX136" fmla="*/ 1236381 w 9595474"/>
              <a:gd name="connsiteY136" fmla="*/ 516890 h 6858000"/>
              <a:gd name="connsiteX137" fmla="*/ 1236677 w 9595474"/>
              <a:gd name="connsiteY137" fmla="*/ 511175 h 6858000"/>
              <a:gd name="connsiteX138" fmla="*/ 1236972 w 9595474"/>
              <a:gd name="connsiteY138" fmla="*/ 505460 h 6858000"/>
              <a:gd name="connsiteX139" fmla="*/ 1237859 w 9595474"/>
              <a:gd name="connsiteY139" fmla="*/ 499428 h 6858000"/>
              <a:gd name="connsiteX140" fmla="*/ 1238746 w 9595474"/>
              <a:gd name="connsiteY140" fmla="*/ 493713 h 6858000"/>
              <a:gd name="connsiteX141" fmla="*/ 1239928 w 9595474"/>
              <a:gd name="connsiteY141" fmla="*/ 487680 h 6858000"/>
              <a:gd name="connsiteX142" fmla="*/ 1241701 w 9595474"/>
              <a:gd name="connsiteY142" fmla="*/ 481965 h 6858000"/>
              <a:gd name="connsiteX143" fmla="*/ 1243475 w 9595474"/>
              <a:gd name="connsiteY143" fmla="*/ 476250 h 6858000"/>
              <a:gd name="connsiteX144" fmla="*/ 1245839 w 9595474"/>
              <a:gd name="connsiteY144" fmla="*/ 470535 h 6858000"/>
              <a:gd name="connsiteX145" fmla="*/ 1247908 w 9595474"/>
              <a:gd name="connsiteY145" fmla="*/ 465138 h 6858000"/>
              <a:gd name="connsiteX146" fmla="*/ 1250864 w 9595474"/>
              <a:gd name="connsiteY146" fmla="*/ 459740 h 6858000"/>
              <a:gd name="connsiteX147" fmla="*/ 1253524 w 9595474"/>
              <a:gd name="connsiteY147" fmla="*/ 454343 h 6858000"/>
              <a:gd name="connsiteX148" fmla="*/ 1256776 w 9595474"/>
              <a:gd name="connsiteY148" fmla="*/ 449263 h 6858000"/>
              <a:gd name="connsiteX149" fmla="*/ 1260322 w 9595474"/>
              <a:gd name="connsiteY149" fmla="*/ 444500 h 6858000"/>
              <a:gd name="connsiteX150" fmla="*/ 1264165 w 9595474"/>
              <a:gd name="connsiteY150" fmla="*/ 439420 h 6858000"/>
              <a:gd name="connsiteX151" fmla="*/ 1268303 w 9595474"/>
              <a:gd name="connsiteY151" fmla="*/ 434658 h 6858000"/>
              <a:gd name="connsiteX152" fmla="*/ 1272736 w 9595474"/>
              <a:gd name="connsiteY152" fmla="*/ 429895 h 6858000"/>
              <a:gd name="connsiteX153" fmla="*/ 1277466 w 9595474"/>
              <a:gd name="connsiteY153" fmla="*/ 425768 h 6858000"/>
              <a:gd name="connsiteX154" fmla="*/ 1281899 w 9595474"/>
              <a:gd name="connsiteY154" fmla="*/ 421323 h 6858000"/>
              <a:gd name="connsiteX155" fmla="*/ 1286924 w 9595474"/>
              <a:gd name="connsiteY155" fmla="*/ 417830 h 6858000"/>
              <a:gd name="connsiteX156" fmla="*/ 1291949 w 9595474"/>
              <a:gd name="connsiteY156" fmla="*/ 414338 h 6858000"/>
              <a:gd name="connsiteX157" fmla="*/ 1296973 w 9595474"/>
              <a:gd name="connsiteY157" fmla="*/ 410845 h 6858000"/>
              <a:gd name="connsiteX158" fmla="*/ 1302589 w 9595474"/>
              <a:gd name="connsiteY158" fmla="*/ 407988 h 6858000"/>
              <a:gd name="connsiteX159" fmla="*/ 1307910 w 9595474"/>
              <a:gd name="connsiteY159" fmla="*/ 405130 h 6858000"/>
              <a:gd name="connsiteX160" fmla="*/ 1313230 w 9595474"/>
              <a:gd name="connsiteY160" fmla="*/ 402908 h 6858000"/>
              <a:gd name="connsiteX161" fmla="*/ 1318846 w 9595474"/>
              <a:gd name="connsiteY161" fmla="*/ 401003 h 6858000"/>
              <a:gd name="connsiteX162" fmla="*/ 1324757 w 9595474"/>
              <a:gd name="connsiteY162" fmla="*/ 399098 h 6858000"/>
              <a:gd name="connsiteX163" fmla="*/ 1330373 w 9595474"/>
              <a:gd name="connsiteY163" fmla="*/ 397193 h 6858000"/>
              <a:gd name="connsiteX164" fmla="*/ 1336285 w 9595474"/>
              <a:gd name="connsiteY164" fmla="*/ 396240 h 6858000"/>
              <a:gd name="connsiteX165" fmla="*/ 1341901 w 9595474"/>
              <a:gd name="connsiteY165" fmla="*/ 395288 h 6858000"/>
              <a:gd name="connsiteX166" fmla="*/ 1348108 w 9595474"/>
              <a:gd name="connsiteY166" fmla="*/ 394335 h 6858000"/>
              <a:gd name="connsiteX167" fmla="*/ 1353723 w 9595474"/>
              <a:gd name="connsiteY167" fmla="*/ 394018 h 6858000"/>
              <a:gd name="connsiteX168" fmla="*/ 1359930 w 9595474"/>
              <a:gd name="connsiteY168" fmla="*/ 393700 h 6858000"/>
              <a:gd name="connsiteX169" fmla="*/ 1365546 w 9595474"/>
              <a:gd name="connsiteY169" fmla="*/ 394018 h 6858000"/>
              <a:gd name="connsiteX170" fmla="*/ 1371458 w 9595474"/>
              <a:gd name="connsiteY170" fmla="*/ 394335 h 6858000"/>
              <a:gd name="connsiteX171" fmla="*/ 1377665 w 9595474"/>
              <a:gd name="connsiteY171" fmla="*/ 395288 h 6858000"/>
              <a:gd name="connsiteX172" fmla="*/ 1383281 w 9595474"/>
              <a:gd name="connsiteY172" fmla="*/ 396240 h 6858000"/>
              <a:gd name="connsiteX173" fmla="*/ 1388897 w 9595474"/>
              <a:gd name="connsiteY173" fmla="*/ 397193 h 6858000"/>
              <a:gd name="connsiteX174" fmla="*/ 1394808 w 9595474"/>
              <a:gd name="connsiteY174" fmla="*/ 399098 h 6858000"/>
              <a:gd name="connsiteX175" fmla="*/ 1400424 w 9595474"/>
              <a:gd name="connsiteY175" fmla="*/ 401003 h 6858000"/>
              <a:gd name="connsiteX176" fmla="*/ 1406335 w 9595474"/>
              <a:gd name="connsiteY176" fmla="*/ 402908 h 6858000"/>
              <a:gd name="connsiteX177" fmla="*/ 1411656 w 9595474"/>
              <a:gd name="connsiteY177" fmla="*/ 405130 h 6858000"/>
              <a:gd name="connsiteX178" fmla="*/ 1416976 w 9595474"/>
              <a:gd name="connsiteY178" fmla="*/ 407988 h 6858000"/>
              <a:gd name="connsiteX179" fmla="*/ 1422296 w 9595474"/>
              <a:gd name="connsiteY179" fmla="*/ 410845 h 6858000"/>
              <a:gd name="connsiteX180" fmla="*/ 1427617 w 9595474"/>
              <a:gd name="connsiteY180" fmla="*/ 414338 h 6858000"/>
              <a:gd name="connsiteX181" fmla="*/ 1432641 w 9595474"/>
              <a:gd name="connsiteY181" fmla="*/ 417830 h 6858000"/>
              <a:gd name="connsiteX182" fmla="*/ 1437666 w 9595474"/>
              <a:gd name="connsiteY182" fmla="*/ 421323 h 6858000"/>
              <a:gd name="connsiteX183" fmla="*/ 1442100 w 9595474"/>
              <a:gd name="connsiteY183" fmla="*/ 425768 h 6858000"/>
              <a:gd name="connsiteX184" fmla="*/ 1446829 w 9595474"/>
              <a:gd name="connsiteY184" fmla="*/ 429895 h 6858000"/>
              <a:gd name="connsiteX185" fmla="*/ 1907036 w 9595474"/>
              <a:gd name="connsiteY185" fmla="*/ 890270 h 6858000"/>
              <a:gd name="connsiteX186" fmla="*/ 2165662 w 9595474"/>
              <a:gd name="connsiteY186" fmla="*/ 1148715 h 6858000"/>
              <a:gd name="connsiteX187" fmla="*/ 2170391 w 9595474"/>
              <a:gd name="connsiteY187" fmla="*/ 1153160 h 6858000"/>
              <a:gd name="connsiteX188" fmla="*/ 2175416 w 9595474"/>
              <a:gd name="connsiteY188" fmla="*/ 1157288 h 6858000"/>
              <a:gd name="connsiteX189" fmla="*/ 2180145 w 9595474"/>
              <a:gd name="connsiteY189" fmla="*/ 1161098 h 6858000"/>
              <a:gd name="connsiteX190" fmla="*/ 2185170 w 9595474"/>
              <a:gd name="connsiteY190" fmla="*/ 1164590 h 6858000"/>
              <a:gd name="connsiteX191" fmla="*/ 2190490 w 9595474"/>
              <a:gd name="connsiteY191" fmla="*/ 1167765 h 6858000"/>
              <a:gd name="connsiteX192" fmla="*/ 2195810 w 9595474"/>
              <a:gd name="connsiteY192" fmla="*/ 1170623 h 6858000"/>
              <a:gd name="connsiteX193" fmla="*/ 2201130 w 9595474"/>
              <a:gd name="connsiteY193" fmla="*/ 1173480 h 6858000"/>
              <a:gd name="connsiteX194" fmla="*/ 2206746 w 9595474"/>
              <a:gd name="connsiteY194" fmla="*/ 1176020 h 6858000"/>
              <a:gd name="connsiteX195" fmla="*/ 2212362 w 9595474"/>
              <a:gd name="connsiteY195" fmla="*/ 1177925 h 6858000"/>
              <a:gd name="connsiteX196" fmla="*/ 2217683 w 9595474"/>
              <a:gd name="connsiteY196" fmla="*/ 1180148 h 6858000"/>
              <a:gd name="connsiteX197" fmla="*/ 2223594 w 9595474"/>
              <a:gd name="connsiteY197" fmla="*/ 1181418 h 6858000"/>
              <a:gd name="connsiteX198" fmla="*/ 2229505 w 9595474"/>
              <a:gd name="connsiteY198" fmla="*/ 1182688 h 6858000"/>
              <a:gd name="connsiteX199" fmla="*/ 2235417 w 9595474"/>
              <a:gd name="connsiteY199" fmla="*/ 1183640 h 6858000"/>
              <a:gd name="connsiteX200" fmla="*/ 2241033 w 9595474"/>
              <a:gd name="connsiteY200" fmla="*/ 1184275 h 6858000"/>
              <a:gd name="connsiteX201" fmla="*/ 2247240 w 9595474"/>
              <a:gd name="connsiteY201" fmla="*/ 1184593 h 6858000"/>
              <a:gd name="connsiteX202" fmla="*/ 2252856 w 9595474"/>
              <a:gd name="connsiteY202" fmla="*/ 1185228 h 6858000"/>
              <a:gd name="connsiteX203" fmla="*/ 2259063 w 9595474"/>
              <a:gd name="connsiteY203" fmla="*/ 1184593 h 6858000"/>
              <a:gd name="connsiteX204" fmla="*/ 2264679 w 9595474"/>
              <a:gd name="connsiteY204" fmla="*/ 1184275 h 6858000"/>
              <a:gd name="connsiteX205" fmla="*/ 2270590 w 9595474"/>
              <a:gd name="connsiteY205" fmla="*/ 1183640 h 6858000"/>
              <a:gd name="connsiteX206" fmla="*/ 2276797 w 9595474"/>
              <a:gd name="connsiteY206" fmla="*/ 1182688 h 6858000"/>
              <a:gd name="connsiteX207" fmla="*/ 2282413 w 9595474"/>
              <a:gd name="connsiteY207" fmla="*/ 1181418 h 6858000"/>
              <a:gd name="connsiteX208" fmla="*/ 2288029 w 9595474"/>
              <a:gd name="connsiteY208" fmla="*/ 1180148 h 6858000"/>
              <a:gd name="connsiteX209" fmla="*/ 2293940 w 9595474"/>
              <a:gd name="connsiteY209" fmla="*/ 1177925 h 6858000"/>
              <a:gd name="connsiteX210" fmla="*/ 2299261 w 9595474"/>
              <a:gd name="connsiteY210" fmla="*/ 1176020 h 6858000"/>
              <a:gd name="connsiteX211" fmla="*/ 2304581 w 9595474"/>
              <a:gd name="connsiteY211" fmla="*/ 1173480 h 6858000"/>
              <a:gd name="connsiteX212" fmla="*/ 2310492 w 9595474"/>
              <a:gd name="connsiteY212" fmla="*/ 1170623 h 6858000"/>
              <a:gd name="connsiteX213" fmla="*/ 2315517 w 9595474"/>
              <a:gd name="connsiteY213" fmla="*/ 1167765 h 6858000"/>
              <a:gd name="connsiteX214" fmla="*/ 2320837 w 9595474"/>
              <a:gd name="connsiteY214" fmla="*/ 1164590 h 6858000"/>
              <a:gd name="connsiteX215" fmla="*/ 2325862 w 9595474"/>
              <a:gd name="connsiteY215" fmla="*/ 1161098 h 6858000"/>
              <a:gd name="connsiteX216" fmla="*/ 2330887 w 9595474"/>
              <a:gd name="connsiteY216" fmla="*/ 1157288 h 6858000"/>
              <a:gd name="connsiteX217" fmla="*/ 2335616 w 9595474"/>
              <a:gd name="connsiteY217" fmla="*/ 1153160 h 6858000"/>
              <a:gd name="connsiteX218" fmla="*/ 2340345 w 9595474"/>
              <a:gd name="connsiteY218" fmla="*/ 1148715 h 6858000"/>
              <a:gd name="connsiteX219" fmla="*/ 2344483 w 9595474"/>
              <a:gd name="connsiteY219" fmla="*/ 1144270 h 6858000"/>
              <a:gd name="connsiteX220" fmla="*/ 2348621 w 9595474"/>
              <a:gd name="connsiteY220" fmla="*/ 1139508 h 6858000"/>
              <a:gd name="connsiteX221" fmla="*/ 2352464 w 9595474"/>
              <a:gd name="connsiteY221" fmla="*/ 1134428 h 6858000"/>
              <a:gd name="connsiteX222" fmla="*/ 2356011 w 9595474"/>
              <a:gd name="connsiteY222" fmla="*/ 1129348 h 6858000"/>
              <a:gd name="connsiteX223" fmla="*/ 2359262 w 9595474"/>
              <a:gd name="connsiteY223" fmla="*/ 1124268 h 6858000"/>
              <a:gd name="connsiteX224" fmla="*/ 2362218 w 9595474"/>
              <a:gd name="connsiteY224" fmla="*/ 1118870 h 6858000"/>
              <a:gd name="connsiteX225" fmla="*/ 2364582 w 9595474"/>
              <a:gd name="connsiteY225" fmla="*/ 1113473 h 6858000"/>
              <a:gd name="connsiteX226" fmla="*/ 2367242 w 9595474"/>
              <a:gd name="connsiteY226" fmla="*/ 1108075 h 6858000"/>
              <a:gd name="connsiteX227" fmla="*/ 2369311 w 9595474"/>
              <a:gd name="connsiteY227" fmla="*/ 1102360 h 6858000"/>
              <a:gd name="connsiteX228" fmla="*/ 2371085 w 9595474"/>
              <a:gd name="connsiteY228" fmla="*/ 1096645 h 6858000"/>
              <a:gd name="connsiteX229" fmla="*/ 2372563 w 9595474"/>
              <a:gd name="connsiteY229" fmla="*/ 1090930 h 6858000"/>
              <a:gd name="connsiteX230" fmla="*/ 2374041 w 9595474"/>
              <a:gd name="connsiteY230" fmla="*/ 1085215 h 6858000"/>
              <a:gd name="connsiteX231" fmla="*/ 2375223 w 9595474"/>
              <a:gd name="connsiteY231" fmla="*/ 1079500 h 6858000"/>
              <a:gd name="connsiteX232" fmla="*/ 2375814 w 9595474"/>
              <a:gd name="connsiteY232" fmla="*/ 1073785 h 6858000"/>
              <a:gd name="connsiteX233" fmla="*/ 2376110 w 9595474"/>
              <a:gd name="connsiteY233" fmla="*/ 1067753 h 6858000"/>
              <a:gd name="connsiteX234" fmla="*/ 2376110 w 9595474"/>
              <a:gd name="connsiteY234" fmla="*/ 1061720 h 6858000"/>
              <a:gd name="connsiteX235" fmla="*/ 2376110 w 9595474"/>
              <a:gd name="connsiteY235" fmla="*/ 1055688 h 6858000"/>
              <a:gd name="connsiteX236" fmla="*/ 2375814 w 9595474"/>
              <a:gd name="connsiteY236" fmla="*/ 1049973 h 6858000"/>
              <a:gd name="connsiteX237" fmla="*/ 2375223 w 9595474"/>
              <a:gd name="connsiteY237" fmla="*/ 1043940 h 6858000"/>
              <a:gd name="connsiteX238" fmla="*/ 2374041 w 9595474"/>
              <a:gd name="connsiteY238" fmla="*/ 1038225 h 6858000"/>
              <a:gd name="connsiteX239" fmla="*/ 2372563 w 9595474"/>
              <a:gd name="connsiteY239" fmla="*/ 1032510 h 6858000"/>
              <a:gd name="connsiteX240" fmla="*/ 2371085 w 9595474"/>
              <a:gd name="connsiteY240" fmla="*/ 1026795 h 6858000"/>
              <a:gd name="connsiteX241" fmla="*/ 2369311 w 9595474"/>
              <a:gd name="connsiteY241" fmla="*/ 1021080 h 6858000"/>
              <a:gd name="connsiteX242" fmla="*/ 2367242 w 9595474"/>
              <a:gd name="connsiteY242" fmla="*/ 1015683 h 6858000"/>
              <a:gd name="connsiteX243" fmla="*/ 2364582 w 9595474"/>
              <a:gd name="connsiteY243" fmla="*/ 1009650 h 6858000"/>
              <a:gd name="connsiteX244" fmla="*/ 2362218 w 9595474"/>
              <a:gd name="connsiteY244" fmla="*/ 1004253 h 6858000"/>
              <a:gd name="connsiteX245" fmla="*/ 2359262 w 9595474"/>
              <a:gd name="connsiteY245" fmla="*/ 998855 h 6858000"/>
              <a:gd name="connsiteX246" fmla="*/ 2356011 w 9595474"/>
              <a:gd name="connsiteY246" fmla="*/ 994093 h 6858000"/>
              <a:gd name="connsiteX247" fmla="*/ 2352464 w 9595474"/>
              <a:gd name="connsiteY247" fmla="*/ 989013 h 6858000"/>
              <a:gd name="connsiteX248" fmla="*/ 2348621 w 9595474"/>
              <a:gd name="connsiteY248" fmla="*/ 983933 h 6858000"/>
              <a:gd name="connsiteX249" fmla="*/ 2344483 w 9595474"/>
              <a:gd name="connsiteY249" fmla="*/ 979170 h 6858000"/>
              <a:gd name="connsiteX250" fmla="*/ 2340345 w 9595474"/>
              <a:gd name="connsiteY250" fmla="*/ 974725 h 6858000"/>
              <a:gd name="connsiteX251" fmla="*/ 2240737 w 9595474"/>
              <a:gd name="connsiteY251" fmla="*/ 875030 h 6858000"/>
              <a:gd name="connsiteX252" fmla="*/ 1991865 w 9595474"/>
              <a:gd name="connsiteY252" fmla="*/ 626428 h 6858000"/>
              <a:gd name="connsiteX253" fmla="*/ 1987431 w 9595474"/>
              <a:gd name="connsiteY253" fmla="*/ 621665 h 6858000"/>
              <a:gd name="connsiteX254" fmla="*/ 1983589 w 9595474"/>
              <a:gd name="connsiteY254" fmla="*/ 616903 h 6858000"/>
              <a:gd name="connsiteX255" fmla="*/ 1979451 w 9595474"/>
              <a:gd name="connsiteY255" fmla="*/ 612140 h 6858000"/>
              <a:gd name="connsiteX256" fmla="*/ 1975904 w 9595474"/>
              <a:gd name="connsiteY256" fmla="*/ 607060 h 6858000"/>
              <a:gd name="connsiteX257" fmla="*/ 1972653 w 9595474"/>
              <a:gd name="connsiteY257" fmla="*/ 601663 h 6858000"/>
              <a:gd name="connsiteX258" fmla="*/ 1969993 w 9595474"/>
              <a:gd name="connsiteY258" fmla="*/ 596265 h 6858000"/>
              <a:gd name="connsiteX259" fmla="*/ 1967037 w 9595474"/>
              <a:gd name="connsiteY259" fmla="*/ 590868 h 6858000"/>
              <a:gd name="connsiteX260" fmla="*/ 1964968 w 9595474"/>
              <a:gd name="connsiteY260" fmla="*/ 585470 h 6858000"/>
              <a:gd name="connsiteX261" fmla="*/ 1962603 w 9595474"/>
              <a:gd name="connsiteY261" fmla="*/ 579755 h 6858000"/>
              <a:gd name="connsiteX262" fmla="*/ 1960830 w 9595474"/>
              <a:gd name="connsiteY262" fmla="*/ 574358 h 6858000"/>
              <a:gd name="connsiteX263" fmla="*/ 1959056 w 9595474"/>
              <a:gd name="connsiteY263" fmla="*/ 568643 h 6858000"/>
              <a:gd name="connsiteX264" fmla="*/ 1958170 w 9595474"/>
              <a:gd name="connsiteY264" fmla="*/ 562610 h 6858000"/>
              <a:gd name="connsiteX265" fmla="*/ 1956987 w 9595474"/>
              <a:gd name="connsiteY265" fmla="*/ 556895 h 6858000"/>
              <a:gd name="connsiteX266" fmla="*/ 1956396 w 9595474"/>
              <a:gd name="connsiteY266" fmla="*/ 551180 h 6858000"/>
              <a:gd name="connsiteX267" fmla="*/ 1955805 w 9595474"/>
              <a:gd name="connsiteY267" fmla="*/ 544830 h 6858000"/>
              <a:gd name="connsiteX268" fmla="*/ 1955805 w 9595474"/>
              <a:gd name="connsiteY268" fmla="*/ 539115 h 6858000"/>
              <a:gd name="connsiteX269" fmla="*/ 1955805 w 9595474"/>
              <a:gd name="connsiteY269" fmla="*/ 533083 h 6858000"/>
              <a:gd name="connsiteX270" fmla="*/ 1956396 w 9595474"/>
              <a:gd name="connsiteY270" fmla="*/ 527368 h 6858000"/>
              <a:gd name="connsiteX271" fmla="*/ 1956987 w 9595474"/>
              <a:gd name="connsiteY271" fmla="*/ 521653 h 6858000"/>
              <a:gd name="connsiteX272" fmla="*/ 1958170 w 9595474"/>
              <a:gd name="connsiteY272" fmla="*/ 515620 h 6858000"/>
              <a:gd name="connsiteX273" fmla="*/ 1959056 w 9595474"/>
              <a:gd name="connsiteY273" fmla="*/ 509588 h 6858000"/>
              <a:gd name="connsiteX274" fmla="*/ 1960830 w 9595474"/>
              <a:gd name="connsiteY274" fmla="*/ 503873 h 6858000"/>
              <a:gd name="connsiteX275" fmla="*/ 1962603 w 9595474"/>
              <a:gd name="connsiteY275" fmla="*/ 498158 h 6858000"/>
              <a:gd name="connsiteX276" fmla="*/ 1964968 w 9595474"/>
              <a:gd name="connsiteY276" fmla="*/ 492760 h 6858000"/>
              <a:gd name="connsiteX277" fmla="*/ 1967037 w 9595474"/>
              <a:gd name="connsiteY277" fmla="*/ 487363 h 6858000"/>
              <a:gd name="connsiteX278" fmla="*/ 1969993 w 9595474"/>
              <a:gd name="connsiteY278" fmla="*/ 481648 h 6858000"/>
              <a:gd name="connsiteX279" fmla="*/ 1972653 w 9595474"/>
              <a:gd name="connsiteY279" fmla="*/ 476568 h 6858000"/>
              <a:gd name="connsiteX280" fmla="*/ 1975904 w 9595474"/>
              <a:gd name="connsiteY280" fmla="*/ 471170 h 6858000"/>
              <a:gd name="connsiteX281" fmla="*/ 1979451 w 9595474"/>
              <a:gd name="connsiteY281" fmla="*/ 466408 h 6858000"/>
              <a:gd name="connsiteX282" fmla="*/ 1983589 w 9595474"/>
              <a:gd name="connsiteY282" fmla="*/ 461328 h 6858000"/>
              <a:gd name="connsiteX283" fmla="*/ 1987431 w 9595474"/>
              <a:gd name="connsiteY283" fmla="*/ 456565 h 6858000"/>
              <a:gd name="connsiteX284" fmla="*/ 1991865 w 9595474"/>
              <a:gd name="connsiteY284" fmla="*/ 451803 h 6858000"/>
              <a:gd name="connsiteX285" fmla="*/ 1996594 w 9595474"/>
              <a:gd name="connsiteY285" fmla="*/ 447675 h 6858000"/>
              <a:gd name="connsiteX286" fmla="*/ 2001028 w 9595474"/>
              <a:gd name="connsiteY286" fmla="*/ 443548 h 6858000"/>
              <a:gd name="connsiteX287" fmla="*/ 2006052 w 9595474"/>
              <a:gd name="connsiteY287" fmla="*/ 439738 h 6858000"/>
              <a:gd name="connsiteX288" fmla="*/ 2011077 w 9595474"/>
              <a:gd name="connsiteY288" fmla="*/ 436245 h 6858000"/>
              <a:gd name="connsiteX289" fmla="*/ 2016102 w 9595474"/>
              <a:gd name="connsiteY289" fmla="*/ 432753 h 6858000"/>
              <a:gd name="connsiteX290" fmla="*/ 2021718 w 9595474"/>
              <a:gd name="connsiteY290" fmla="*/ 429895 h 6858000"/>
              <a:gd name="connsiteX291" fmla="*/ 2027038 w 9595474"/>
              <a:gd name="connsiteY291" fmla="*/ 427355 h 6858000"/>
              <a:gd name="connsiteX292" fmla="*/ 2032654 w 9595474"/>
              <a:gd name="connsiteY292" fmla="*/ 424815 h 6858000"/>
              <a:gd name="connsiteX293" fmla="*/ 2038270 w 9595474"/>
              <a:gd name="connsiteY293" fmla="*/ 422910 h 6858000"/>
              <a:gd name="connsiteX294" fmla="*/ 2043886 w 9595474"/>
              <a:gd name="connsiteY294" fmla="*/ 421005 h 6858000"/>
              <a:gd name="connsiteX295" fmla="*/ 2049502 w 9595474"/>
              <a:gd name="connsiteY295" fmla="*/ 419735 h 6858000"/>
              <a:gd name="connsiteX296" fmla="*/ 2055413 w 9595474"/>
              <a:gd name="connsiteY296" fmla="*/ 418148 h 6858000"/>
              <a:gd name="connsiteX297" fmla="*/ 2061029 w 9595474"/>
              <a:gd name="connsiteY297" fmla="*/ 417195 h 6858000"/>
              <a:gd name="connsiteX298" fmla="*/ 2067236 w 9595474"/>
              <a:gd name="connsiteY298" fmla="*/ 416243 h 6858000"/>
              <a:gd name="connsiteX299" fmla="*/ 2072852 w 9595474"/>
              <a:gd name="connsiteY299" fmla="*/ 415925 h 6858000"/>
              <a:gd name="connsiteX300" fmla="*/ 2079059 w 9595474"/>
              <a:gd name="connsiteY300" fmla="*/ 415925 h 6858000"/>
              <a:gd name="connsiteX301" fmla="*/ 2084970 w 9595474"/>
              <a:gd name="connsiteY301" fmla="*/ 415925 h 6858000"/>
              <a:gd name="connsiteX302" fmla="*/ 2090882 w 9595474"/>
              <a:gd name="connsiteY302" fmla="*/ 416243 h 6858000"/>
              <a:gd name="connsiteX303" fmla="*/ 2096793 w 9595474"/>
              <a:gd name="connsiteY303" fmla="*/ 417195 h 6858000"/>
              <a:gd name="connsiteX304" fmla="*/ 2102409 w 9595474"/>
              <a:gd name="connsiteY304" fmla="*/ 418148 h 6858000"/>
              <a:gd name="connsiteX305" fmla="*/ 2108321 w 9595474"/>
              <a:gd name="connsiteY305" fmla="*/ 419735 h 6858000"/>
              <a:gd name="connsiteX306" fmla="*/ 2113936 w 9595474"/>
              <a:gd name="connsiteY306" fmla="*/ 421005 h 6858000"/>
              <a:gd name="connsiteX307" fmla="*/ 2119552 w 9595474"/>
              <a:gd name="connsiteY307" fmla="*/ 422910 h 6858000"/>
              <a:gd name="connsiteX308" fmla="*/ 2125464 w 9595474"/>
              <a:gd name="connsiteY308" fmla="*/ 424815 h 6858000"/>
              <a:gd name="connsiteX309" fmla="*/ 2130784 w 9595474"/>
              <a:gd name="connsiteY309" fmla="*/ 427355 h 6858000"/>
              <a:gd name="connsiteX310" fmla="*/ 2136104 w 9595474"/>
              <a:gd name="connsiteY310" fmla="*/ 429895 h 6858000"/>
              <a:gd name="connsiteX311" fmla="*/ 2141720 w 9595474"/>
              <a:gd name="connsiteY311" fmla="*/ 432753 h 6858000"/>
              <a:gd name="connsiteX312" fmla="*/ 2146745 w 9595474"/>
              <a:gd name="connsiteY312" fmla="*/ 436245 h 6858000"/>
              <a:gd name="connsiteX313" fmla="*/ 2152065 w 9595474"/>
              <a:gd name="connsiteY313" fmla="*/ 439738 h 6858000"/>
              <a:gd name="connsiteX314" fmla="*/ 2156795 w 9595474"/>
              <a:gd name="connsiteY314" fmla="*/ 443548 h 6858000"/>
              <a:gd name="connsiteX315" fmla="*/ 2161819 w 9595474"/>
              <a:gd name="connsiteY315" fmla="*/ 447675 h 6858000"/>
              <a:gd name="connsiteX316" fmla="*/ 2165957 w 9595474"/>
              <a:gd name="connsiteY316" fmla="*/ 451803 h 6858000"/>
              <a:gd name="connsiteX317" fmla="*/ 2966073 w 9595474"/>
              <a:gd name="connsiteY317" fmla="*/ 1251903 h 6858000"/>
              <a:gd name="connsiteX318" fmla="*/ 5612631 w 9595474"/>
              <a:gd name="connsiteY318" fmla="*/ 3898583 h 6858000"/>
              <a:gd name="connsiteX319" fmla="*/ 5617360 w 9595474"/>
              <a:gd name="connsiteY319" fmla="*/ 3903345 h 6858000"/>
              <a:gd name="connsiteX320" fmla="*/ 5621498 w 9595474"/>
              <a:gd name="connsiteY320" fmla="*/ 3908425 h 6858000"/>
              <a:gd name="connsiteX321" fmla="*/ 5625341 w 9595474"/>
              <a:gd name="connsiteY321" fmla="*/ 3913505 h 6858000"/>
              <a:gd name="connsiteX322" fmla="*/ 5628888 w 9595474"/>
              <a:gd name="connsiteY322" fmla="*/ 3918585 h 6858000"/>
              <a:gd name="connsiteX323" fmla="*/ 5632139 w 9595474"/>
              <a:gd name="connsiteY323" fmla="*/ 3923348 h 6858000"/>
              <a:gd name="connsiteX324" fmla="*/ 5635094 w 9595474"/>
              <a:gd name="connsiteY324" fmla="*/ 3928745 h 6858000"/>
              <a:gd name="connsiteX325" fmla="*/ 5638050 w 9595474"/>
              <a:gd name="connsiteY325" fmla="*/ 3934460 h 6858000"/>
              <a:gd name="connsiteX326" fmla="*/ 5640415 w 9595474"/>
              <a:gd name="connsiteY326" fmla="*/ 3939858 h 6858000"/>
              <a:gd name="connsiteX327" fmla="*/ 5642484 w 9595474"/>
              <a:gd name="connsiteY327" fmla="*/ 3945890 h 6858000"/>
              <a:gd name="connsiteX328" fmla="*/ 5644257 w 9595474"/>
              <a:gd name="connsiteY328" fmla="*/ 3951605 h 6858000"/>
              <a:gd name="connsiteX329" fmla="*/ 5645735 w 9595474"/>
              <a:gd name="connsiteY329" fmla="*/ 3957320 h 6858000"/>
              <a:gd name="connsiteX330" fmla="*/ 5647213 w 9595474"/>
              <a:gd name="connsiteY330" fmla="*/ 3963353 h 6858000"/>
              <a:gd name="connsiteX331" fmla="*/ 5648100 w 9595474"/>
              <a:gd name="connsiteY331" fmla="*/ 3969068 h 6858000"/>
              <a:gd name="connsiteX332" fmla="*/ 5648691 w 9595474"/>
              <a:gd name="connsiteY332" fmla="*/ 3975100 h 6858000"/>
              <a:gd name="connsiteX333" fmla="*/ 5649282 w 9595474"/>
              <a:gd name="connsiteY333" fmla="*/ 3980815 h 6858000"/>
              <a:gd name="connsiteX334" fmla="*/ 5649282 w 9595474"/>
              <a:gd name="connsiteY334" fmla="*/ 3987165 h 6858000"/>
              <a:gd name="connsiteX335" fmla="*/ 5649282 w 9595474"/>
              <a:gd name="connsiteY335" fmla="*/ 3992880 h 6858000"/>
              <a:gd name="connsiteX336" fmla="*/ 5648691 w 9595474"/>
              <a:gd name="connsiteY336" fmla="*/ 3998913 h 6858000"/>
              <a:gd name="connsiteX337" fmla="*/ 5648100 w 9595474"/>
              <a:gd name="connsiteY337" fmla="*/ 4004945 h 6858000"/>
              <a:gd name="connsiteX338" fmla="*/ 5647213 w 9595474"/>
              <a:gd name="connsiteY338" fmla="*/ 4010660 h 6858000"/>
              <a:gd name="connsiteX339" fmla="*/ 5645735 w 9595474"/>
              <a:gd name="connsiteY339" fmla="*/ 4016375 h 6858000"/>
              <a:gd name="connsiteX340" fmla="*/ 5644257 w 9595474"/>
              <a:gd name="connsiteY340" fmla="*/ 4022725 h 6858000"/>
              <a:gd name="connsiteX341" fmla="*/ 5642484 w 9595474"/>
              <a:gd name="connsiteY341" fmla="*/ 4028440 h 6858000"/>
              <a:gd name="connsiteX342" fmla="*/ 5640415 w 9595474"/>
              <a:gd name="connsiteY342" fmla="*/ 4033838 h 6858000"/>
              <a:gd name="connsiteX343" fmla="*/ 5638050 w 9595474"/>
              <a:gd name="connsiteY343" fmla="*/ 4039553 h 6858000"/>
              <a:gd name="connsiteX344" fmla="*/ 5635094 w 9595474"/>
              <a:gd name="connsiteY344" fmla="*/ 4044950 h 6858000"/>
              <a:gd name="connsiteX345" fmla="*/ 5632139 w 9595474"/>
              <a:gd name="connsiteY345" fmla="*/ 4050348 h 6858000"/>
              <a:gd name="connsiteX346" fmla="*/ 5628888 w 9595474"/>
              <a:gd name="connsiteY346" fmla="*/ 4055745 h 6858000"/>
              <a:gd name="connsiteX347" fmla="*/ 5625341 w 9595474"/>
              <a:gd name="connsiteY347" fmla="*/ 4060825 h 6858000"/>
              <a:gd name="connsiteX348" fmla="*/ 5621498 w 9595474"/>
              <a:gd name="connsiteY348" fmla="*/ 4065588 h 6858000"/>
              <a:gd name="connsiteX349" fmla="*/ 5617360 w 9595474"/>
              <a:gd name="connsiteY349" fmla="*/ 4070350 h 6858000"/>
              <a:gd name="connsiteX350" fmla="*/ 5612631 w 9595474"/>
              <a:gd name="connsiteY350" fmla="*/ 4075113 h 6858000"/>
              <a:gd name="connsiteX351" fmla="*/ 5608198 w 9595474"/>
              <a:gd name="connsiteY351" fmla="*/ 4079875 h 6858000"/>
              <a:gd name="connsiteX352" fmla="*/ 5603468 w 9595474"/>
              <a:gd name="connsiteY352" fmla="*/ 4083685 h 6858000"/>
              <a:gd name="connsiteX353" fmla="*/ 5598443 w 9595474"/>
              <a:gd name="connsiteY353" fmla="*/ 4087495 h 6858000"/>
              <a:gd name="connsiteX354" fmla="*/ 5593419 w 9595474"/>
              <a:gd name="connsiteY354" fmla="*/ 4091305 h 6858000"/>
              <a:gd name="connsiteX355" fmla="*/ 5588098 w 9595474"/>
              <a:gd name="connsiteY355" fmla="*/ 4094480 h 6858000"/>
              <a:gd name="connsiteX356" fmla="*/ 5582482 w 9595474"/>
              <a:gd name="connsiteY356" fmla="*/ 4097338 h 6858000"/>
              <a:gd name="connsiteX357" fmla="*/ 5577162 w 9595474"/>
              <a:gd name="connsiteY357" fmla="*/ 4100195 h 6858000"/>
              <a:gd name="connsiteX358" fmla="*/ 5571842 w 9595474"/>
              <a:gd name="connsiteY358" fmla="*/ 4102418 h 6858000"/>
              <a:gd name="connsiteX359" fmla="*/ 5565931 w 9595474"/>
              <a:gd name="connsiteY359" fmla="*/ 4104640 h 6858000"/>
              <a:gd name="connsiteX360" fmla="*/ 5560315 w 9595474"/>
              <a:gd name="connsiteY360" fmla="*/ 4106545 h 6858000"/>
              <a:gd name="connsiteX361" fmla="*/ 5554699 w 9595474"/>
              <a:gd name="connsiteY361" fmla="*/ 4108133 h 6858000"/>
              <a:gd name="connsiteX362" fmla="*/ 5548492 w 9595474"/>
              <a:gd name="connsiteY362" fmla="*/ 4109403 h 6858000"/>
              <a:gd name="connsiteX363" fmla="*/ 5542580 w 9595474"/>
              <a:gd name="connsiteY363" fmla="*/ 4110355 h 6858000"/>
              <a:gd name="connsiteX364" fmla="*/ 5536669 w 9595474"/>
              <a:gd name="connsiteY364" fmla="*/ 4110990 h 6858000"/>
              <a:gd name="connsiteX365" fmla="*/ 5530758 w 9595474"/>
              <a:gd name="connsiteY365" fmla="*/ 4111308 h 6858000"/>
              <a:gd name="connsiteX366" fmla="*/ 5524846 w 9595474"/>
              <a:gd name="connsiteY366" fmla="*/ 4111625 h 6858000"/>
              <a:gd name="connsiteX367" fmla="*/ 5518639 w 9595474"/>
              <a:gd name="connsiteY367" fmla="*/ 4111308 h 6858000"/>
              <a:gd name="connsiteX368" fmla="*/ 5513023 w 9595474"/>
              <a:gd name="connsiteY368" fmla="*/ 4110990 h 6858000"/>
              <a:gd name="connsiteX369" fmla="*/ 5506816 w 9595474"/>
              <a:gd name="connsiteY369" fmla="*/ 4110355 h 6858000"/>
              <a:gd name="connsiteX370" fmla="*/ 5501200 w 9595474"/>
              <a:gd name="connsiteY370" fmla="*/ 4109403 h 6858000"/>
              <a:gd name="connsiteX371" fmla="*/ 5494993 w 9595474"/>
              <a:gd name="connsiteY371" fmla="*/ 4108133 h 6858000"/>
              <a:gd name="connsiteX372" fmla="*/ 5489081 w 9595474"/>
              <a:gd name="connsiteY372" fmla="*/ 4106545 h 6858000"/>
              <a:gd name="connsiteX373" fmla="*/ 5483466 w 9595474"/>
              <a:gd name="connsiteY373" fmla="*/ 4104640 h 6858000"/>
              <a:gd name="connsiteX374" fmla="*/ 5477850 w 9595474"/>
              <a:gd name="connsiteY374" fmla="*/ 4102418 h 6858000"/>
              <a:gd name="connsiteX375" fmla="*/ 5472234 w 9595474"/>
              <a:gd name="connsiteY375" fmla="*/ 4100195 h 6858000"/>
              <a:gd name="connsiteX376" fmla="*/ 5466913 w 9595474"/>
              <a:gd name="connsiteY376" fmla="*/ 4097338 h 6858000"/>
              <a:gd name="connsiteX377" fmla="*/ 5461593 w 9595474"/>
              <a:gd name="connsiteY377" fmla="*/ 4094480 h 6858000"/>
              <a:gd name="connsiteX378" fmla="*/ 5456273 w 9595474"/>
              <a:gd name="connsiteY378" fmla="*/ 4091305 h 6858000"/>
              <a:gd name="connsiteX379" fmla="*/ 5451248 w 9595474"/>
              <a:gd name="connsiteY379" fmla="*/ 4087495 h 6858000"/>
              <a:gd name="connsiteX380" fmla="*/ 5446223 w 9595474"/>
              <a:gd name="connsiteY380" fmla="*/ 4083685 h 6858000"/>
              <a:gd name="connsiteX381" fmla="*/ 5441495 w 9595474"/>
              <a:gd name="connsiteY381" fmla="*/ 4079875 h 6858000"/>
              <a:gd name="connsiteX382" fmla="*/ 5436765 w 9595474"/>
              <a:gd name="connsiteY382" fmla="*/ 4075113 h 6858000"/>
              <a:gd name="connsiteX383" fmla="*/ 5322379 w 9595474"/>
              <a:gd name="connsiteY383" fmla="*/ 3960813 h 6858000"/>
              <a:gd name="connsiteX384" fmla="*/ 5317945 w 9595474"/>
              <a:gd name="connsiteY384" fmla="*/ 3956368 h 6858000"/>
              <a:gd name="connsiteX385" fmla="*/ 5312921 w 9595474"/>
              <a:gd name="connsiteY385" fmla="*/ 3952240 h 6858000"/>
              <a:gd name="connsiteX386" fmla="*/ 5307896 w 9595474"/>
              <a:gd name="connsiteY386" fmla="*/ 3948748 h 6858000"/>
              <a:gd name="connsiteX387" fmla="*/ 5302871 w 9595474"/>
              <a:gd name="connsiteY387" fmla="*/ 3944938 h 6858000"/>
              <a:gd name="connsiteX388" fmla="*/ 5297255 w 9595474"/>
              <a:gd name="connsiteY388" fmla="*/ 3941763 h 6858000"/>
              <a:gd name="connsiteX389" fmla="*/ 5292230 w 9595474"/>
              <a:gd name="connsiteY389" fmla="*/ 3938588 h 6858000"/>
              <a:gd name="connsiteX390" fmla="*/ 5286615 w 9595474"/>
              <a:gd name="connsiteY390" fmla="*/ 3936048 h 6858000"/>
              <a:gd name="connsiteX391" fmla="*/ 5281294 w 9595474"/>
              <a:gd name="connsiteY391" fmla="*/ 3933508 h 6858000"/>
              <a:gd name="connsiteX392" fmla="*/ 5275383 w 9595474"/>
              <a:gd name="connsiteY392" fmla="*/ 3931285 h 6858000"/>
              <a:gd name="connsiteX393" fmla="*/ 5269767 w 9595474"/>
              <a:gd name="connsiteY393" fmla="*/ 3929698 h 6858000"/>
              <a:gd name="connsiteX394" fmla="*/ 5263855 w 9595474"/>
              <a:gd name="connsiteY394" fmla="*/ 3927793 h 6858000"/>
              <a:gd name="connsiteX395" fmla="*/ 5257944 w 9595474"/>
              <a:gd name="connsiteY395" fmla="*/ 3926840 h 6858000"/>
              <a:gd name="connsiteX396" fmla="*/ 5252033 w 9595474"/>
              <a:gd name="connsiteY396" fmla="*/ 3925570 h 6858000"/>
              <a:gd name="connsiteX397" fmla="*/ 5246121 w 9595474"/>
              <a:gd name="connsiteY397" fmla="*/ 3924935 h 6858000"/>
              <a:gd name="connsiteX398" fmla="*/ 5240210 w 9595474"/>
              <a:gd name="connsiteY398" fmla="*/ 3924618 h 6858000"/>
              <a:gd name="connsiteX399" fmla="*/ 5234298 w 9595474"/>
              <a:gd name="connsiteY399" fmla="*/ 3924618 h 6858000"/>
              <a:gd name="connsiteX400" fmla="*/ 5228091 w 9595474"/>
              <a:gd name="connsiteY400" fmla="*/ 3924618 h 6858000"/>
              <a:gd name="connsiteX401" fmla="*/ 5222180 w 9595474"/>
              <a:gd name="connsiteY401" fmla="*/ 3924935 h 6858000"/>
              <a:gd name="connsiteX402" fmla="*/ 5216268 w 9595474"/>
              <a:gd name="connsiteY402" fmla="*/ 3925570 h 6858000"/>
              <a:gd name="connsiteX403" fmla="*/ 5210357 w 9595474"/>
              <a:gd name="connsiteY403" fmla="*/ 3926840 h 6858000"/>
              <a:gd name="connsiteX404" fmla="*/ 5204741 w 9595474"/>
              <a:gd name="connsiteY404" fmla="*/ 3927793 h 6858000"/>
              <a:gd name="connsiteX405" fmla="*/ 5198534 w 9595474"/>
              <a:gd name="connsiteY405" fmla="*/ 3929698 h 6858000"/>
              <a:gd name="connsiteX406" fmla="*/ 5192918 w 9595474"/>
              <a:gd name="connsiteY406" fmla="*/ 3931285 h 6858000"/>
              <a:gd name="connsiteX407" fmla="*/ 5187598 w 9595474"/>
              <a:gd name="connsiteY407" fmla="*/ 3933508 h 6858000"/>
              <a:gd name="connsiteX408" fmla="*/ 5181686 w 9595474"/>
              <a:gd name="connsiteY408" fmla="*/ 3936048 h 6858000"/>
              <a:gd name="connsiteX409" fmla="*/ 5176366 w 9595474"/>
              <a:gd name="connsiteY409" fmla="*/ 3938588 h 6858000"/>
              <a:gd name="connsiteX410" fmla="*/ 5171046 w 9595474"/>
              <a:gd name="connsiteY410" fmla="*/ 3941763 h 6858000"/>
              <a:gd name="connsiteX411" fmla="*/ 5165430 w 9595474"/>
              <a:gd name="connsiteY411" fmla="*/ 3944938 h 6858000"/>
              <a:gd name="connsiteX412" fmla="*/ 5160405 w 9595474"/>
              <a:gd name="connsiteY412" fmla="*/ 3948748 h 6858000"/>
              <a:gd name="connsiteX413" fmla="*/ 5155380 w 9595474"/>
              <a:gd name="connsiteY413" fmla="*/ 3952240 h 6858000"/>
              <a:gd name="connsiteX414" fmla="*/ 5150947 w 9595474"/>
              <a:gd name="connsiteY414" fmla="*/ 3956368 h 6858000"/>
              <a:gd name="connsiteX415" fmla="*/ 5146218 w 9595474"/>
              <a:gd name="connsiteY415" fmla="*/ 3960813 h 6858000"/>
              <a:gd name="connsiteX416" fmla="*/ 5141488 w 9595474"/>
              <a:gd name="connsiteY416" fmla="*/ 3965575 h 6858000"/>
              <a:gd name="connsiteX417" fmla="*/ 5137646 w 9595474"/>
              <a:gd name="connsiteY417" fmla="*/ 3970655 h 6858000"/>
              <a:gd name="connsiteX418" fmla="*/ 5133508 w 9595474"/>
              <a:gd name="connsiteY418" fmla="*/ 3975100 h 6858000"/>
              <a:gd name="connsiteX419" fmla="*/ 5129961 w 9595474"/>
              <a:gd name="connsiteY419" fmla="*/ 3980498 h 6858000"/>
              <a:gd name="connsiteX420" fmla="*/ 5126710 w 9595474"/>
              <a:gd name="connsiteY420" fmla="*/ 3985578 h 6858000"/>
              <a:gd name="connsiteX421" fmla="*/ 5123754 w 9595474"/>
              <a:gd name="connsiteY421" fmla="*/ 3990975 h 6858000"/>
              <a:gd name="connsiteX422" fmla="*/ 5121094 w 9595474"/>
              <a:gd name="connsiteY422" fmla="*/ 3996373 h 6858000"/>
              <a:gd name="connsiteX423" fmla="*/ 5118729 w 9595474"/>
              <a:gd name="connsiteY423" fmla="*/ 4002088 h 6858000"/>
              <a:gd name="connsiteX424" fmla="*/ 5116660 w 9595474"/>
              <a:gd name="connsiteY424" fmla="*/ 4007803 h 6858000"/>
              <a:gd name="connsiteX425" fmla="*/ 5114591 w 9595474"/>
              <a:gd name="connsiteY425" fmla="*/ 4013518 h 6858000"/>
              <a:gd name="connsiteX426" fmla="*/ 5113113 w 9595474"/>
              <a:gd name="connsiteY426" fmla="*/ 4019233 h 6858000"/>
              <a:gd name="connsiteX427" fmla="*/ 5111636 w 9595474"/>
              <a:gd name="connsiteY427" fmla="*/ 4025265 h 6858000"/>
              <a:gd name="connsiteX428" fmla="*/ 5111044 w 9595474"/>
              <a:gd name="connsiteY428" fmla="*/ 4031298 h 6858000"/>
              <a:gd name="connsiteX429" fmla="*/ 5110158 w 9595474"/>
              <a:gd name="connsiteY429" fmla="*/ 4037013 h 6858000"/>
              <a:gd name="connsiteX430" fmla="*/ 5109862 w 9595474"/>
              <a:gd name="connsiteY430" fmla="*/ 4043045 h 6858000"/>
              <a:gd name="connsiteX431" fmla="*/ 5109567 w 9595474"/>
              <a:gd name="connsiteY431" fmla="*/ 4049078 h 6858000"/>
              <a:gd name="connsiteX432" fmla="*/ 5109862 w 9595474"/>
              <a:gd name="connsiteY432" fmla="*/ 4055110 h 6858000"/>
              <a:gd name="connsiteX433" fmla="*/ 5110158 w 9595474"/>
              <a:gd name="connsiteY433" fmla="*/ 4061143 h 6858000"/>
              <a:gd name="connsiteX434" fmla="*/ 5111044 w 9595474"/>
              <a:gd name="connsiteY434" fmla="*/ 4066858 h 6858000"/>
              <a:gd name="connsiteX435" fmla="*/ 5111636 w 9595474"/>
              <a:gd name="connsiteY435" fmla="*/ 4072890 h 6858000"/>
              <a:gd name="connsiteX436" fmla="*/ 5113113 w 9595474"/>
              <a:gd name="connsiteY436" fmla="*/ 4078605 h 6858000"/>
              <a:gd name="connsiteX437" fmla="*/ 5114591 w 9595474"/>
              <a:gd name="connsiteY437" fmla="*/ 4084320 h 6858000"/>
              <a:gd name="connsiteX438" fmla="*/ 5116660 w 9595474"/>
              <a:gd name="connsiteY438" fmla="*/ 4090035 h 6858000"/>
              <a:gd name="connsiteX439" fmla="*/ 5118729 w 9595474"/>
              <a:gd name="connsiteY439" fmla="*/ 4095750 h 6858000"/>
              <a:gd name="connsiteX440" fmla="*/ 5121094 w 9595474"/>
              <a:gd name="connsiteY440" fmla="*/ 4101783 h 6858000"/>
              <a:gd name="connsiteX441" fmla="*/ 5123754 w 9595474"/>
              <a:gd name="connsiteY441" fmla="*/ 4107180 h 6858000"/>
              <a:gd name="connsiteX442" fmla="*/ 5126710 w 9595474"/>
              <a:gd name="connsiteY442" fmla="*/ 4112578 h 6858000"/>
              <a:gd name="connsiteX443" fmla="*/ 5129961 w 9595474"/>
              <a:gd name="connsiteY443" fmla="*/ 4117975 h 6858000"/>
              <a:gd name="connsiteX444" fmla="*/ 5133508 w 9595474"/>
              <a:gd name="connsiteY444" fmla="*/ 4122738 h 6858000"/>
              <a:gd name="connsiteX445" fmla="*/ 5137646 w 9595474"/>
              <a:gd name="connsiteY445" fmla="*/ 4127818 h 6858000"/>
              <a:gd name="connsiteX446" fmla="*/ 5141488 w 9595474"/>
              <a:gd name="connsiteY446" fmla="*/ 4132580 h 6858000"/>
              <a:gd name="connsiteX447" fmla="*/ 5146218 w 9595474"/>
              <a:gd name="connsiteY447" fmla="*/ 4137343 h 6858000"/>
              <a:gd name="connsiteX448" fmla="*/ 5870075 w 9595474"/>
              <a:gd name="connsiteY448" fmla="*/ 4860925 h 6858000"/>
              <a:gd name="connsiteX449" fmla="*/ 5874509 w 9595474"/>
              <a:gd name="connsiteY449" fmla="*/ 4865688 h 6858000"/>
              <a:gd name="connsiteX450" fmla="*/ 5878646 w 9595474"/>
              <a:gd name="connsiteY450" fmla="*/ 4870768 h 6858000"/>
              <a:gd name="connsiteX451" fmla="*/ 5882489 w 9595474"/>
              <a:gd name="connsiteY451" fmla="*/ 4875848 h 6858000"/>
              <a:gd name="connsiteX452" fmla="*/ 5886036 w 9595474"/>
              <a:gd name="connsiteY452" fmla="*/ 4880928 h 6858000"/>
              <a:gd name="connsiteX453" fmla="*/ 5889287 w 9595474"/>
              <a:gd name="connsiteY453" fmla="*/ 4885690 h 6858000"/>
              <a:gd name="connsiteX454" fmla="*/ 5892243 w 9595474"/>
              <a:gd name="connsiteY454" fmla="*/ 4891088 h 6858000"/>
              <a:gd name="connsiteX455" fmla="*/ 5895199 w 9595474"/>
              <a:gd name="connsiteY455" fmla="*/ 4897120 h 6858000"/>
              <a:gd name="connsiteX456" fmla="*/ 5897268 w 9595474"/>
              <a:gd name="connsiteY456" fmla="*/ 4902518 h 6858000"/>
              <a:gd name="connsiteX457" fmla="*/ 5899336 w 9595474"/>
              <a:gd name="connsiteY457" fmla="*/ 4908233 h 6858000"/>
              <a:gd name="connsiteX458" fmla="*/ 5901701 w 9595474"/>
              <a:gd name="connsiteY458" fmla="*/ 4913948 h 6858000"/>
              <a:gd name="connsiteX459" fmla="*/ 5902883 w 9595474"/>
              <a:gd name="connsiteY459" fmla="*/ 4919663 h 6858000"/>
              <a:gd name="connsiteX460" fmla="*/ 5904066 w 9595474"/>
              <a:gd name="connsiteY460" fmla="*/ 4925695 h 6858000"/>
              <a:gd name="connsiteX461" fmla="*/ 5905248 w 9595474"/>
              <a:gd name="connsiteY461" fmla="*/ 4931410 h 6858000"/>
              <a:gd name="connsiteX462" fmla="*/ 5905840 w 9595474"/>
              <a:gd name="connsiteY462" fmla="*/ 4937443 h 6858000"/>
              <a:gd name="connsiteX463" fmla="*/ 5906135 w 9595474"/>
              <a:gd name="connsiteY463" fmla="*/ 4943475 h 6858000"/>
              <a:gd name="connsiteX464" fmla="*/ 5906726 w 9595474"/>
              <a:gd name="connsiteY464" fmla="*/ 4949508 h 6858000"/>
              <a:gd name="connsiteX465" fmla="*/ 5906135 w 9595474"/>
              <a:gd name="connsiteY465" fmla="*/ 4955223 h 6858000"/>
              <a:gd name="connsiteX466" fmla="*/ 5905840 w 9595474"/>
              <a:gd name="connsiteY466" fmla="*/ 4961255 h 6858000"/>
              <a:gd name="connsiteX467" fmla="*/ 5905248 w 9595474"/>
              <a:gd name="connsiteY467" fmla="*/ 4967288 h 6858000"/>
              <a:gd name="connsiteX468" fmla="*/ 5904066 w 9595474"/>
              <a:gd name="connsiteY468" fmla="*/ 4973003 h 6858000"/>
              <a:gd name="connsiteX469" fmla="*/ 5902883 w 9595474"/>
              <a:gd name="connsiteY469" fmla="*/ 4979035 h 6858000"/>
              <a:gd name="connsiteX470" fmla="*/ 5901701 w 9595474"/>
              <a:gd name="connsiteY470" fmla="*/ 4985068 h 6858000"/>
              <a:gd name="connsiteX471" fmla="*/ 5899336 w 9595474"/>
              <a:gd name="connsiteY471" fmla="*/ 4990783 h 6858000"/>
              <a:gd name="connsiteX472" fmla="*/ 5897268 w 9595474"/>
              <a:gd name="connsiteY472" fmla="*/ 4996180 h 6858000"/>
              <a:gd name="connsiteX473" fmla="*/ 5895199 w 9595474"/>
              <a:gd name="connsiteY473" fmla="*/ 5001895 h 6858000"/>
              <a:gd name="connsiteX474" fmla="*/ 5892243 w 9595474"/>
              <a:gd name="connsiteY474" fmla="*/ 5007293 h 6858000"/>
              <a:gd name="connsiteX475" fmla="*/ 5889287 w 9595474"/>
              <a:gd name="connsiteY475" fmla="*/ 5012690 h 6858000"/>
              <a:gd name="connsiteX476" fmla="*/ 5886036 w 9595474"/>
              <a:gd name="connsiteY476" fmla="*/ 5018088 h 6858000"/>
              <a:gd name="connsiteX477" fmla="*/ 5882489 w 9595474"/>
              <a:gd name="connsiteY477" fmla="*/ 5023168 h 6858000"/>
              <a:gd name="connsiteX478" fmla="*/ 5878646 w 9595474"/>
              <a:gd name="connsiteY478" fmla="*/ 5028248 h 6858000"/>
              <a:gd name="connsiteX479" fmla="*/ 5874509 w 9595474"/>
              <a:gd name="connsiteY479" fmla="*/ 5032693 h 6858000"/>
              <a:gd name="connsiteX480" fmla="*/ 5870075 w 9595474"/>
              <a:gd name="connsiteY480" fmla="*/ 5037455 h 6858000"/>
              <a:gd name="connsiteX481" fmla="*/ 5865346 w 9595474"/>
              <a:gd name="connsiteY481" fmla="*/ 5041900 h 6858000"/>
              <a:gd name="connsiteX482" fmla="*/ 5860617 w 9595474"/>
              <a:gd name="connsiteY482" fmla="*/ 5046028 h 6858000"/>
              <a:gd name="connsiteX483" fmla="*/ 5855592 w 9595474"/>
              <a:gd name="connsiteY483" fmla="*/ 5050155 h 6858000"/>
              <a:gd name="connsiteX484" fmla="*/ 5850567 w 9595474"/>
              <a:gd name="connsiteY484" fmla="*/ 5053648 h 6858000"/>
              <a:gd name="connsiteX485" fmla="*/ 5845247 w 9595474"/>
              <a:gd name="connsiteY485" fmla="*/ 5056823 h 6858000"/>
              <a:gd name="connsiteX486" fmla="*/ 5839926 w 9595474"/>
              <a:gd name="connsiteY486" fmla="*/ 5059680 h 6858000"/>
              <a:gd name="connsiteX487" fmla="*/ 5834311 w 9595474"/>
              <a:gd name="connsiteY487" fmla="*/ 5062538 h 6858000"/>
              <a:gd name="connsiteX488" fmla="*/ 5828695 w 9595474"/>
              <a:gd name="connsiteY488" fmla="*/ 5064760 h 6858000"/>
              <a:gd name="connsiteX489" fmla="*/ 5823375 w 9595474"/>
              <a:gd name="connsiteY489" fmla="*/ 5066983 h 6858000"/>
              <a:gd name="connsiteX490" fmla="*/ 5817463 w 9595474"/>
              <a:gd name="connsiteY490" fmla="*/ 5069205 h 6858000"/>
              <a:gd name="connsiteX491" fmla="*/ 5811552 w 9595474"/>
              <a:gd name="connsiteY491" fmla="*/ 5070475 h 6858000"/>
              <a:gd name="connsiteX492" fmla="*/ 5805640 w 9595474"/>
              <a:gd name="connsiteY492" fmla="*/ 5071428 h 6858000"/>
              <a:gd name="connsiteX493" fmla="*/ 5800024 w 9595474"/>
              <a:gd name="connsiteY493" fmla="*/ 5072698 h 6858000"/>
              <a:gd name="connsiteX494" fmla="*/ 5793817 w 9595474"/>
              <a:gd name="connsiteY494" fmla="*/ 5073333 h 6858000"/>
              <a:gd name="connsiteX495" fmla="*/ 5787610 w 9595474"/>
              <a:gd name="connsiteY495" fmla="*/ 5073650 h 6858000"/>
              <a:gd name="connsiteX496" fmla="*/ 5781994 w 9595474"/>
              <a:gd name="connsiteY496" fmla="*/ 5073968 h 6858000"/>
              <a:gd name="connsiteX497" fmla="*/ 5775787 w 9595474"/>
              <a:gd name="connsiteY497" fmla="*/ 5073650 h 6858000"/>
              <a:gd name="connsiteX498" fmla="*/ 5770171 w 9595474"/>
              <a:gd name="connsiteY498" fmla="*/ 5073333 h 6858000"/>
              <a:gd name="connsiteX499" fmla="*/ 5763965 w 9595474"/>
              <a:gd name="connsiteY499" fmla="*/ 5072698 h 6858000"/>
              <a:gd name="connsiteX500" fmla="*/ 5758349 w 9595474"/>
              <a:gd name="connsiteY500" fmla="*/ 5071428 h 6858000"/>
              <a:gd name="connsiteX501" fmla="*/ 5752141 w 9595474"/>
              <a:gd name="connsiteY501" fmla="*/ 5070475 h 6858000"/>
              <a:gd name="connsiteX502" fmla="*/ 5746526 w 9595474"/>
              <a:gd name="connsiteY502" fmla="*/ 5069205 h 6858000"/>
              <a:gd name="connsiteX503" fmla="*/ 5740614 w 9595474"/>
              <a:gd name="connsiteY503" fmla="*/ 5066983 h 6858000"/>
              <a:gd name="connsiteX504" fmla="*/ 5734998 w 9595474"/>
              <a:gd name="connsiteY504" fmla="*/ 5064760 h 6858000"/>
              <a:gd name="connsiteX505" fmla="*/ 5729382 w 9595474"/>
              <a:gd name="connsiteY505" fmla="*/ 5062538 h 6858000"/>
              <a:gd name="connsiteX506" fmla="*/ 5723767 w 9595474"/>
              <a:gd name="connsiteY506" fmla="*/ 5059680 h 6858000"/>
              <a:gd name="connsiteX507" fmla="*/ 5718446 w 9595474"/>
              <a:gd name="connsiteY507" fmla="*/ 5056823 h 6858000"/>
              <a:gd name="connsiteX508" fmla="*/ 5713421 w 9595474"/>
              <a:gd name="connsiteY508" fmla="*/ 5053648 h 6858000"/>
              <a:gd name="connsiteX509" fmla="*/ 5708396 w 9595474"/>
              <a:gd name="connsiteY509" fmla="*/ 5050155 h 6858000"/>
              <a:gd name="connsiteX510" fmla="*/ 5703372 w 9595474"/>
              <a:gd name="connsiteY510" fmla="*/ 5046028 h 6858000"/>
              <a:gd name="connsiteX511" fmla="*/ 5698347 w 9595474"/>
              <a:gd name="connsiteY511" fmla="*/ 5041900 h 6858000"/>
              <a:gd name="connsiteX512" fmla="*/ 5693618 w 9595474"/>
              <a:gd name="connsiteY512" fmla="*/ 5037455 h 6858000"/>
              <a:gd name="connsiteX513" fmla="*/ 5598148 w 9595474"/>
              <a:gd name="connsiteY513" fmla="*/ 4941888 h 6858000"/>
              <a:gd name="connsiteX514" fmla="*/ 5490560 w 9595474"/>
              <a:gd name="connsiteY514" fmla="*/ 4834573 h 6858000"/>
              <a:gd name="connsiteX515" fmla="*/ 5485830 w 9595474"/>
              <a:gd name="connsiteY515" fmla="*/ 4830128 h 6858000"/>
              <a:gd name="connsiteX516" fmla="*/ 5481397 w 9595474"/>
              <a:gd name="connsiteY516" fmla="*/ 4826000 h 6858000"/>
              <a:gd name="connsiteX517" fmla="*/ 5476372 w 9595474"/>
              <a:gd name="connsiteY517" fmla="*/ 4821873 h 6858000"/>
              <a:gd name="connsiteX518" fmla="*/ 5471348 w 9595474"/>
              <a:gd name="connsiteY518" fmla="*/ 4818380 h 6858000"/>
              <a:gd name="connsiteX519" fmla="*/ 5465732 w 9595474"/>
              <a:gd name="connsiteY519" fmla="*/ 4815205 h 6858000"/>
              <a:gd name="connsiteX520" fmla="*/ 5460411 w 9595474"/>
              <a:gd name="connsiteY520" fmla="*/ 4812348 h 6858000"/>
              <a:gd name="connsiteX521" fmla="*/ 5455091 w 9595474"/>
              <a:gd name="connsiteY521" fmla="*/ 4809173 h 6858000"/>
              <a:gd name="connsiteX522" fmla="*/ 5449475 w 9595474"/>
              <a:gd name="connsiteY522" fmla="*/ 4807268 h 6858000"/>
              <a:gd name="connsiteX523" fmla="*/ 5443563 w 9595474"/>
              <a:gd name="connsiteY523" fmla="*/ 4805045 h 6858000"/>
              <a:gd name="connsiteX524" fmla="*/ 5437948 w 9595474"/>
              <a:gd name="connsiteY524" fmla="*/ 4802823 h 6858000"/>
              <a:gd name="connsiteX525" fmla="*/ 5432036 w 9595474"/>
              <a:gd name="connsiteY525" fmla="*/ 4801553 h 6858000"/>
              <a:gd name="connsiteX526" fmla="*/ 5426420 w 9595474"/>
              <a:gd name="connsiteY526" fmla="*/ 4800283 h 6858000"/>
              <a:gd name="connsiteX527" fmla="*/ 5420509 w 9595474"/>
              <a:gd name="connsiteY527" fmla="*/ 4799330 h 6858000"/>
              <a:gd name="connsiteX528" fmla="*/ 5414597 w 9595474"/>
              <a:gd name="connsiteY528" fmla="*/ 4798695 h 6858000"/>
              <a:gd name="connsiteX529" fmla="*/ 5408391 w 9595474"/>
              <a:gd name="connsiteY529" fmla="*/ 4798060 h 6858000"/>
              <a:gd name="connsiteX530" fmla="*/ 5402775 w 9595474"/>
              <a:gd name="connsiteY530" fmla="*/ 4797743 h 6858000"/>
              <a:gd name="connsiteX531" fmla="*/ 5396568 w 9595474"/>
              <a:gd name="connsiteY531" fmla="*/ 4798060 h 6858000"/>
              <a:gd name="connsiteX532" fmla="*/ 5390361 w 9595474"/>
              <a:gd name="connsiteY532" fmla="*/ 4798695 h 6858000"/>
              <a:gd name="connsiteX533" fmla="*/ 5384745 w 9595474"/>
              <a:gd name="connsiteY533" fmla="*/ 4799330 h 6858000"/>
              <a:gd name="connsiteX534" fmla="*/ 5378538 w 9595474"/>
              <a:gd name="connsiteY534" fmla="*/ 4800283 h 6858000"/>
              <a:gd name="connsiteX535" fmla="*/ 5372922 w 9595474"/>
              <a:gd name="connsiteY535" fmla="*/ 4801553 h 6858000"/>
              <a:gd name="connsiteX536" fmla="*/ 5367010 w 9595474"/>
              <a:gd name="connsiteY536" fmla="*/ 4802823 h 6858000"/>
              <a:gd name="connsiteX537" fmla="*/ 5361394 w 9595474"/>
              <a:gd name="connsiteY537" fmla="*/ 4805045 h 6858000"/>
              <a:gd name="connsiteX538" fmla="*/ 5355483 w 9595474"/>
              <a:gd name="connsiteY538" fmla="*/ 4807268 h 6858000"/>
              <a:gd name="connsiteX539" fmla="*/ 5350163 w 9595474"/>
              <a:gd name="connsiteY539" fmla="*/ 4809173 h 6858000"/>
              <a:gd name="connsiteX540" fmla="*/ 5344547 w 9595474"/>
              <a:gd name="connsiteY540" fmla="*/ 4812348 h 6858000"/>
              <a:gd name="connsiteX541" fmla="*/ 5338931 w 9595474"/>
              <a:gd name="connsiteY541" fmla="*/ 4815205 h 6858000"/>
              <a:gd name="connsiteX542" fmla="*/ 5333906 w 9595474"/>
              <a:gd name="connsiteY542" fmla="*/ 4818380 h 6858000"/>
              <a:gd name="connsiteX543" fmla="*/ 5328881 w 9595474"/>
              <a:gd name="connsiteY543" fmla="*/ 4821873 h 6858000"/>
              <a:gd name="connsiteX544" fmla="*/ 5323857 w 9595474"/>
              <a:gd name="connsiteY544" fmla="*/ 4826000 h 6858000"/>
              <a:gd name="connsiteX545" fmla="*/ 5318832 w 9595474"/>
              <a:gd name="connsiteY545" fmla="*/ 4830128 h 6858000"/>
              <a:gd name="connsiteX546" fmla="*/ 5314398 w 9595474"/>
              <a:gd name="connsiteY546" fmla="*/ 4834573 h 6858000"/>
              <a:gd name="connsiteX547" fmla="*/ 5307305 w 9595474"/>
              <a:gd name="connsiteY547" fmla="*/ 4841875 h 6858000"/>
              <a:gd name="connsiteX548" fmla="*/ 5301393 w 9595474"/>
              <a:gd name="connsiteY548" fmla="*/ 4849813 h 6858000"/>
              <a:gd name="connsiteX549" fmla="*/ 5295482 w 9595474"/>
              <a:gd name="connsiteY549" fmla="*/ 4858068 h 6858000"/>
              <a:gd name="connsiteX550" fmla="*/ 5291048 w 9595474"/>
              <a:gd name="connsiteY550" fmla="*/ 4867275 h 6858000"/>
              <a:gd name="connsiteX551" fmla="*/ 5286910 w 9595474"/>
              <a:gd name="connsiteY551" fmla="*/ 4875848 h 6858000"/>
              <a:gd name="connsiteX552" fmla="*/ 5283659 w 9595474"/>
              <a:gd name="connsiteY552" fmla="*/ 4885055 h 6858000"/>
              <a:gd name="connsiteX553" fmla="*/ 5281294 w 9595474"/>
              <a:gd name="connsiteY553" fmla="*/ 4894580 h 6858000"/>
              <a:gd name="connsiteX554" fmla="*/ 5279521 w 9595474"/>
              <a:gd name="connsiteY554" fmla="*/ 4903788 h 6858000"/>
              <a:gd name="connsiteX555" fmla="*/ 5278339 w 9595474"/>
              <a:gd name="connsiteY555" fmla="*/ 4913630 h 6858000"/>
              <a:gd name="connsiteX556" fmla="*/ 5278339 w 9595474"/>
              <a:gd name="connsiteY556" fmla="*/ 4923155 h 6858000"/>
              <a:gd name="connsiteX557" fmla="*/ 5278634 w 9595474"/>
              <a:gd name="connsiteY557" fmla="*/ 4932998 h 6858000"/>
              <a:gd name="connsiteX558" fmla="*/ 5279816 w 9595474"/>
              <a:gd name="connsiteY558" fmla="*/ 4942205 h 6858000"/>
              <a:gd name="connsiteX559" fmla="*/ 5281885 w 9595474"/>
              <a:gd name="connsiteY559" fmla="*/ 4952048 h 6858000"/>
              <a:gd name="connsiteX560" fmla="*/ 5284546 w 9595474"/>
              <a:gd name="connsiteY560" fmla="*/ 4960938 h 6858000"/>
              <a:gd name="connsiteX561" fmla="*/ 5288092 w 9595474"/>
              <a:gd name="connsiteY561" fmla="*/ 4970145 h 6858000"/>
              <a:gd name="connsiteX562" fmla="*/ 5291935 w 9595474"/>
              <a:gd name="connsiteY562" fmla="*/ 4979353 h 6858000"/>
              <a:gd name="connsiteX563" fmla="*/ 5583665 w 9595474"/>
              <a:gd name="connsiteY563" fmla="*/ 5270500 h 6858000"/>
              <a:gd name="connsiteX564" fmla="*/ 5588098 w 9595474"/>
              <a:gd name="connsiteY564" fmla="*/ 5275263 h 6858000"/>
              <a:gd name="connsiteX565" fmla="*/ 5592237 w 9595474"/>
              <a:gd name="connsiteY565" fmla="*/ 5280343 h 6858000"/>
              <a:gd name="connsiteX566" fmla="*/ 5595784 w 9595474"/>
              <a:gd name="connsiteY566" fmla="*/ 5284788 h 6858000"/>
              <a:gd name="connsiteX567" fmla="*/ 5599626 w 9595474"/>
              <a:gd name="connsiteY567" fmla="*/ 5290185 h 6858000"/>
              <a:gd name="connsiteX568" fmla="*/ 5602582 w 9595474"/>
              <a:gd name="connsiteY568" fmla="*/ 5295265 h 6858000"/>
              <a:gd name="connsiteX569" fmla="*/ 5605833 w 9595474"/>
              <a:gd name="connsiteY569" fmla="*/ 5300663 h 6858000"/>
              <a:gd name="connsiteX570" fmla="*/ 5608493 w 9595474"/>
              <a:gd name="connsiteY570" fmla="*/ 5306060 h 6858000"/>
              <a:gd name="connsiteX571" fmla="*/ 5610857 w 9595474"/>
              <a:gd name="connsiteY571" fmla="*/ 5311775 h 6858000"/>
              <a:gd name="connsiteX572" fmla="*/ 5613222 w 9595474"/>
              <a:gd name="connsiteY572" fmla="*/ 5317490 h 6858000"/>
              <a:gd name="connsiteX573" fmla="*/ 5614996 w 9595474"/>
              <a:gd name="connsiteY573" fmla="*/ 5323523 h 6858000"/>
              <a:gd name="connsiteX574" fmla="*/ 5616474 w 9595474"/>
              <a:gd name="connsiteY574" fmla="*/ 5329238 h 6858000"/>
              <a:gd name="connsiteX575" fmla="*/ 5617656 w 9595474"/>
              <a:gd name="connsiteY575" fmla="*/ 5334953 h 6858000"/>
              <a:gd name="connsiteX576" fmla="*/ 5618838 w 9595474"/>
              <a:gd name="connsiteY576" fmla="*/ 5340985 h 6858000"/>
              <a:gd name="connsiteX577" fmla="*/ 5619725 w 9595474"/>
              <a:gd name="connsiteY577" fmla="*/ 5346700 h 6858000"/>
              <a:gd name="connsiteX578" fmla="*/ 5620021 w 9595474"/>
              <a:gd name="connsiteY578" fmla="*/ 5352733 h 6858000"/>
              <a:gd name="connsiteX579" fmla="*/ 5620021 w 9595474"/>
              <a:gd name="connsiteY579" fmla="*/ 5359083 h 6858000"/>
              <a:gd name="connsiteX580" fmla="*/ 5620021 w 9595474"/>
              <a:gd name="connsiteY580" fmla="*/ 5364798 h 6858000"/>
              <a:gd name="connsiteX581" fmla="*/ 5619725 w 9595474"/>
              <a:gd name="connsiteY581" fmla="*/ 5370830 h 6858000"/>
              <a:gd name="connsiteX582" fmla="*/ 5618838 w 9595474"/>
              <a:gd name="connsiteY582" fmla="*/ 5376545 h 6858000"/>
              <a:gd name="connsiteX583" fmla="*/ 5617656 w 9595474"/>
              <a:gd name="connsiteY583" fmla="*/ 5382578 h 6858000"/>
              <a:gd name="connsiteX584" fmla="*/ 5616474 w 9595474"/>
              <a:gd name="connsiteY584" fmla="*/ 5388293 h 6858000"/>
              <a:gd name="connsiteX585" fmla="*/ 5614996 w 9595474"/>
              <a:gd name="connsiteY585" fmla="*/ 5394008 h 6858000"/>
              <a:gd name="connsiteX586" fmla="*/ 5613222 w 9595474"/>
              <a:gd name="connsiteY586" fmla="*/ 5400040 h 6858000"/>
              <a:gd name="connsiteX587" fmla="*/ 5610857 w 9595474"/>
              <a:gd name="connsiteY587" fmla="*/ 5405755 h 6858000"/>
              <a:gd name="connsiteX588" fmla="*/ 5608493 w 9595474"/>
              <a:gd name="connsiteY588" fmla="*/ 5411470 h 6858000"/>
              <a:gd name="connsiteX589" fmla="*/ 5605833 w 9595474"/>
              <a:gd name="connsiteY589" fmla="*/ 5416868 h 6858000"/>
              <a:gd name="connsiteX590" fmla="*/ 5602582 w 9595474"/>
              <a:gd name="connsiteY590" fmla="*/ 5422265 h 6858000"/>
              <a:gd name="connsiteX591" fmla="*/ 5599626 w 9595474"/>
              <a:gd name="connsiteY591" fmla="*/ 5427663 h 6858000"/>
              <a:gd name="connsiteX592" fmla="*/ 5595784 w 9595474"/>
              <a:gd name="connsiteY592" fmla="*/ 5432743 h 6858000"/>
              <a:gd name="connsiteX593" fmla="*/ 5592237 w 9595474"/>
              <a:gd name="connsiteY593" fmla="*/ 5437505 h 6858000"/>
              <a:gd name="connsiteX594" fmla="*/ 5588098 w 9595474"/>
              <a:gd name="connsiteY594" fmla="*/ 5442268 h 6858000"/>
              <a:gd name="connsiteX595" fmla="*/ 5583665 w 9595474"/>
              <a:gd name="connsiteY595" fmla="*/ 5447030 h 6858000"/>
              <a:gd name="connsiteX596" fmla="*/ 5578936 w 9595474"/>
              <a:gd name="connsiteY596" fmla="*/ 5451158 h 6858000"/>
              <a:gd name="connsiteX597" fmla="*/ 5573911 w 9595474"/>
              <a:gd name="connsiteY597" fmla="*/ 5455603 h 6858000"/>
              <a:gd name="connsiteX598" fmla="*/ 5569182 w 9595474"/>
              <a:gd name="connsiteY598" fmla="*/ 5459095 h 6858000"/>
              <a:gd name="connsiteX599" fmla="*/ 5563862 w 9595474"/>
              <a:gd name="connsiteY599" fmla="*/ 5462905 h 6858000"/>
              <a:gd name="connsiteX600" fmla="*/ 5558837 w 9595474"/>
              <a:gd name="connsiteY600" fmla="*/ 5466080 h 6858000"/>
              <a:gd name="connsiteX601" fmla="*/ 5553517 w 9595474"/>
              <a:gd name="connsiteY601" fmla="*/ 5469255 h 6858000"/>
              <a:gd name="connsiteX602" fmla="*/ 5548196 w 9595474"/>
              <a:gd name="connsiteY602" fmla="*/ 5471795 h 6858000"/>
              <a:gd name="connsiteX603" fmla="*/ 5542285 w 9595474"/>
              <a:gd name="connsiteY603" fmla="*/ 5474335 h 6858000"/>
              <a:gd name="connsiteX604" fmla="*/ 5536964 w 9595474"/>
              <a:gd name="connsiteY604" fmla="*/ 5476558 h 6858000"/>
              <a:gd name="connsiteX605" fmla="*/ 5531348 w 9595474"/>
              <a:gd name="connsiteY605" fmla="*/ 5478145 h 6858000"/>
              <a:gd name="connsiteX606" fmla="*/ 5525437 w 9595474"/>
              <a:gd name="connsiteY606" fmla="*/ 5479733 h 6858000"/>
              <a:gd name="connsiteX607" fmla="*/ 5519230 w 9595474"/>
              <a:gd name="connsiteY607" fmla="*/ 5481003 h 6858000"/>
              <a:gd name="connsiteX608" fmla="*/ 5513614 w 9595474"/>
              <a:gd name="connsiteY608" fmla="*/ 5482273 h 6858000"/>
              <a:gd name="connsiteX609" fmla="*/ 5507999 w 9595474"/>
              <a:gd name="connsiteY609" fmla="*/ 5482908 h 6858000"/>
              <a:gd name="connsiteX610" fmla="*/ 5501791 w 9595474"/>
              <a:gd name="connsiteY610" fmla="*/ 5483225 h 6858000"/>
              <a:gd name="connsiteX611" fmla="*/ 5495585 w 9595474"/>
              <a:gd name="connsiteY611" fmla="*/ 5483543 h 6858000"/>
              <a:gd name="connsiteX612" fmla="*/ 6873545 w 9595474"/>
              <a:gd name="connsiteY612" fmla="*/ 6858000 h 6858000"/>
              <a:gd name="connsiteX613" fmla="*/ 9595474 w 9595474"/>
              <a:gd name="connsiteY613" fmla="*/ 6858000 h 6858000"/>
              <a:gd name="connsiteX614" fmla="*/ 9595474 w 9595474"/>
              <a:gd name="connsiteY614" fmla="*/ 0 h 6858000"/>
              <a:gd name="connsiteX0" fmla="*/ 9595474 w 9595474"/>
              <a:gd name="connsiteY0" fmla="*/ 0 h 6858000"/>
              <a:gd name="connsiteX1" fmla="*/ 2914643 w 9595474"/>
              <a:gd name="connsiteY1" fmla="*/ 0 h 6858000"/>
              <a:gd name="connsiteX2" fmla="*/ 0 w 9595474"/>
              <a:gd name="connsiteY2" fmla="*/ 0 h 6858000"/>
              <a:gd name="connsiteX3" fmla="*/ 692823 w 9595474"/>
              <a:gd name="connsiteY3" fmla="*/ 691198 h 6858000"/>
              <a:gd name="connsiteX4" fmla="*/ 691345 w 9595474"/>
              <a:gd name="connsiteY4" fmla="*/ 683895 h 6858000"/>
              <a:gd name="connsiteX5" fmla="*/ 690754 w 9595474"/>
              <a:gd name="connsiteY5" fmla="*/ 676275 h 6858000"/>
              <a:gd name="connsiteX6" fmla="*/ 690754 w 9595474"/>
              <a:gd name="connsiteY6" fmla="*/ 669290 h 6858000"/>
              <a:gd name="connsiteX7" fmla="*/ 690754 w 9595474"/>
              <a:gd name="connsiteY7" fmla="*/ 661988 h 6858000"/>
              <a:gd name="connsiteX8" fmla="*/ 691345 w 9595474"/>
              <a:gd name="connsiteY8" fmla="*/ 654368 h 6858000"/>
              <a:gd name="connsiteX9" fmla="*/ 692527 w 9595474"/>
              <a:gd name="connsiteY9" fmla="*/ 647383 h 6858000"/>
              <a:gd name="connsiteX10" fmla="*/ 694005 w 9595474"/>
              <a:gd name="connsiteY10" fmla="*/ 640080 h 6858000"/>
              <a:gd name="connsiteX11" fmla="*/ 695778 w 9595474"/>
              <a:gd name="connsiteY11" fmla="*/ 633095 h 6858000"/>
              <a:gd name="connsiteX12" fmla="*/ 698143 w 9595474"/>
              <a:gd name="connsiteY12" fmla="*/ 625793 h 6858000"/>
              <a:gd name="connsiteX13" fmla="*/ 700803 w 9595474"/>
              <a:gd name="connsiteY13" fmla="*/ 618808 h 6858000"/>
              <a:gd name="connsiteX14" fmla="*/ 704054 w 9595474"/>
              <a:gd name="connsiteY14" fmla="*/ 612140 h 6858000"/>
              <a:gd name="connsiteX15" fmla="*/ 707601 w 9595474"/>
              <a:gd name="connsiteY15" fmla="*/ 605790 h 6858000"/>
              <a:gd name="connsiteX16" fmla="*/ 712035 w 9595474"/>
              <a:gd name="connsiteY16" fmla="*/ 599123 h 6858000"/>
              <a:gd name="connsiteX17" fmla="*/ 716173 w 9595474"/>
              <a:gd name="connsiteY17" fmla="*/ 592773 h 6858000"/>
              <a:gd name="connsiteX18" fmla="*/ 721198 w 9595474"/>
              <a:gd name="connsiteY18" fmla="*/ 587058 h 6858000"/>
              <a:gd name="connsiteX19" fmla="*/ 726518 w 9595474"/>
              <a:gd name="connsiteY19" fmla="*/ 581343 h 6858000"/>
              <a:gd name="connsiteX20" fmla="*/ 731247 w 9595474"/>
              <a:gd name="connsiteY20" fmla="*/ 576898 h 6858000"/>
              <a:gd name="connsiteX21" fmla="*/ 735976 w 9595474"/>
              <a:gd name="connsiteY21" fmla="*/ 572453 h 6858000"/>
              <a:gd name="connsiteX22" fmla="*/ 741001 w 9595474"/>
              <a:gd name="connsiteY22" fmla="*/ 568960 h 6858000"/>
              <a:gd name="connsiteX23" fmla="*/ 746026 w 9595474"/>
              <a:gd name="connsiteY23" fmla="*/ 565468 h 6858000"/>
              <a:gd name="connsiteX24" fmla="*/ 751050 w 9595474"/>
              <a:gd name="connsiteY24" fmla="*/ 562293 h 6858000"/>
              <a:gd name="connsiteX25" fmla="*/ 756371 w 9595474"/>
              <a:gd name="connsiteY25" fmla="*/ 558800 h 6858000"/>
              <a:gd name="connsiteX26" fmla="*/ 761691 w 9595474"/>
              <a:gd name="connsiteY26" fmla="*/ 556578 h 6858000"/>
              <a:gd name="connsiteX27" fmla="*/ 767602 w 9595474"/>
              <a:gd name="connsiteY27" fmla="*/ 554038 h 6858000"/>
              <a:gd name="connsiteX28" fmla="*/ 772923 w 9595474"/>
              <a:gd name="connsiteY28" fmla="*/ 551815 h 6858000"/>
              <a:gd name="connsiteX29" fmla="*/ 778834 w 9595474"/>
              <a:gd name="connsiteY29" fmla="*/ 549910 h 6858000"/>
              <a:gd name="connsiteX30" fmla="*/ 784450 w 9595474"/>
              <a:gd name="connsiteY30" fmla="*/ 548640 h 6858000"/>
              <a:gd name="connsiteX31" fmla="*/ 790066 w 9595474"/>
              <a:gd name="connsiteY31" fmla="*/ 547370 h 6858000"/>
              <a:gd name="connsiteX32" fmla="*/ 795977 w 9595474"/>
              <a:gd name="connsiteY32" fmla="*/ 546418 h 6858000"/>
              <a:gd name="connsiteX33" fmla="*/ 802184 w 9595474"/>
              <a:gd name="connsiteY33" fmla="*/ 545783 h 6858000"/>
              <a:gd name="connsiteX34" fmla="*/ 807800 w 9595474"/>
              <a:gd name="connsiteY34" fmla="*/ 545465 h 6858000"/>
              <a:gd name="connsiteX35" fmla="*/ 814007 w 9595474"/>
              <a:gd name="connsiteY35" fmla="*/ 544830 h 6858000"/>
              <a:gd name="connsiteX36" fmla="*/ 819623 w 9595474"/>
              <a:gd name="connsiteY36" fmla="*/ 545465 h 6858000"/>
              <a:gd name="connsiteX37" fmla="*/ 825830 w 9595474"/>
              <a:gd name="connsiteY37" fmla="*/ 545783 h 6858000"/>
              <a:gd name="connsiteX38" fmla="*/ 831446 w 9595474"/>
              <a:gd name="connsiteY38" fmla="*/ 546418 h 6858000"/>
              <a:gd name="connsiteX39" fmla="*/ 837358 w 9595474"/>
              <a:gd name="connsiteY39" fmla="*/ 547370 h 6858000"/>
              <a:gd name="connsiteX40" fmla="*/ 842974 w 9595474"/>
              <a:gd name="connsiteY40" fmla="*/ 548640 h 6858000"/>
              <a:gd name="connsiteX41" fmla="*/ 848885 w 9595474"/>
              <a:gd name="connsiteY41" fmla="*/ 549910 h 6858000"/>
              <a:gd name="connsiteX42" fmla="*/ 854501 w 9595474"/>
              <a:gd name="connsiteY42" fmla="*/ 551815 h 6858000"/>
              <a:gd name="connsiteX43" fmla="*/ 860117 w 9595474"/>
              <a:gd name="connsiteY43" fmla="*/ 554038 h 6858000"/>
              <a:gd name="connsiteX44" fmla="*/ 865733 w 9595474"/>
              <a:gd name="connsiteY44" fmla="*/ 556578 h 6858000"/>
              <a:gd name="connsiteX45" fmla="*/ 871053 w 9595474"/>
              <a:gd name="connsiteY45" fmla="*/ 558800 h 6858000"/>
              <a:gd name="connsiteX46" fmla="*/ 876373 w 9595474"/>
              <a:gd name="connsiteY46" fmla="*/ 562293 h 6858000"/>
              <a:gd name="connsiteX47" fmla="*/ 881398 w 9595474"/>
              <a:gd name="connsiteY47" fmla="*/ 565468 h 6858000"/>
              <a:gd name="connsiteX48" fmla="*/ 886718 w 9595474"/>
              <a:gd name="connsiteY48" fmla="*/ 568960 h 6858000"/>
              <a:gd name="connsiteX49" fmla="*/ 891447 w 9595474"/>
              <a:gd name="connsiteY49" fmla="*/ 572453 h 6858000"/>
              <a:gd name="connsiteX50" fmla="*/ 896177 w 9595474"/>
              <a:gd name="connsiteY50" fmla="*/ 576898 h 6858000"/>
              <a:gd name="connsiteX51" fmla="*/ 900906 w 9595474"/>
              <a:gd name="connsiteY51" fmla="*/ 581343 h 6858000"/>
              <a:gd name="connsiteX52" fmla="*/ 1431459 w 9595474"/>
              <a:gd name="connsiteY52" fmla="*/ 1111568 h 6858000"/>
              <a:gd name="connsiteX53" fmla="*/ 2394731 w 9595474"/>
              <a:gd name="connsiteY53" fmla="*/ 2074863 h 6858000"/>
              <a:gd name="connsiteX54" fmla="*/ 2399164 w 9595474"/>
              <a:gd name="connsiteY54" fmla="*/ 2079308 h 6858000"/>
              <a:gd name="connsiteX55" fmla="*/ 2404189 w 9595474"/>
              <a:gd name="connsiteY55" fmla="*/ 2083435 h 6858000"/>
              <a:gd name="connsiteX56" fmla="*/ 2408918 w 9595474"/>
              <a:gd name="connsiteY56" fmla="*/ 2087245 h 6858000"/>
              <a:gd name="connsiteX57" fmla="*/ 2413943 w 9595474"/>
              <a:gd name="connsiteY57" fmla="*/ 2090738 h 6858000"/>
              <a:gd name="connsiteX58" fmla="*/ 2419263 w 9595474"/>
              <a:gd name="connsiteY58" fmla="*/ 2093913 h 6858000"/>
              <a:gd name="connsiteX59" fmla="*/ 2424583 w 9595474"/>
              <a:gd name="connsiteY59" fmla="*/ 2096770 h 6858000"/>
              <a:gd name="connsiteX60" fmla="*/ 2430199 w 9595474"/>
              <a:gd name="connsiteY60" fmla="*/ 2099628 h 6858000"/>
              <a:gd name="connsiteX61" fmla="*/ 2435520 w 9595474"/>
              <a:gd name="connsiteY61" fmla="*/ 2101850 h 6858000"/>
              <a:gd name="connsiteX62" fmla="*/ 2441136 w 9595474"/>
              <a:gd name="connsiteY62" fmla="*/ 2104073 h 6858000"/>
              <a:gd name="connsiteX63" fmla="*/ 2447047 w 9595474"/>
              <a:gd name="connsiteY63" fmla="*/ 2105660 h 6858000"/>
              <a:gd name="connsiteX64" fmla="*/ 2452663 w 9595474"/>
              <a:gd name="connsiteY64" fmla="*/ 2107565 h 6858000"/>
              <a:gd name="connsiteX65" fmla="*/ 2458574 w 9595474"/>
              <a:gd name="connsiteY65" fmla="*/ 2108518 h 6858000"/>
              <a:gd name="connsiteX66" fmla="*/ 2464190 w 9595474"/>
              <a:gd name="connsiteY66" fmla="*/ 2109788 h 6858000"/>
              <a:gd name="connsiteX67" fmla="*/ 2469806 w 9595474"/>
              <a:gd name="connsiteY67" fmla="*/ 2110423 h 6858000"/>
              <a:gd name="connsiteX68" fmla="*/ 2476013 w 9595474"/>
              <a:gd name="connsiteY68" fmla="*/ 2110740 h 6858000"/>
              <a:gd name="connsiteX69" fmla="*/ 2481925 w 9595474"/>
              <a:gd name="connsiteY69" fmla="*/ 2111058 h 6858000"/>
              <a:gd name="connsiteX70" fmla="*/ 2487836 w 9595474"/>
              <a:gd name="connsiteY70" fmla="*/ 2110740 h 6858000"/>
              <a:gd name="connsiteX71" fmla="*/ 2493747 w 9595474"/>
              <a:gd name="connsiteY71" fmla="*/ 2110423 h 6858000"/>
              <a:gd name="connsiteX72" fmla="*/ 2499363 w 9595474"/>
              <a:gd name="connsiteY72" fmla="*/ 2109788 h 6858000"/>
              <a:gd name="connsiteX73" fmla="*/ 2505570 w 9595474"/>
              <a:gd name="connsiteY73" fmla="*/ 2108518 h 6858000"/>
              <a:gd name="connsiteX74" fmla="*/ 2511186 w 9595474"/>
              <a:gd name="connsiteY74" fmla="*/ 2107565 h 6858000"/>
              <a:gd name="connsiteX75" fmla="*/ 2517098 w 9595474"/>
              <a:gd name="connsiteY75" fmla="*/ 2105660 h 6858000"/>
              <a:gd name="connsiteX76" fmla="*/ 2522714 w 9595474"/>
              <a:gd name="connsiteY76" fmla="*/ 2104073 h 6858000"/>
              <a:gd name="connsiteX77" fmla="*/ 2528034 w 9595474"/>
              <a:gd name="connsiteY77" fmla="*/ 2101850 h 6858000"/>
              <a:gd name="connsiteX78" fmla="*/ 2533945 w 9595474"/>
              <a:gd name="connsiteY78" fmla="*/ 2099628 h 6858000"/>
              <a:gd name="connsiteX79" fmla="*/ 2539266 w 9595474"/>
              <a:gd name="connsiteY79" fmla="*/ 2096770 h 6858000"/>
              <a:gd name="connsiteX80" fmla="*/ 2544290 w 9595474"/>
              <a:gd name="connsiteY80" fmla="*/ 2093913 h 6858000"/>
              <a:gd name="connsiteX81" fmla="*/ 2549611 w 9595474"/>
              <a:gd name="connsiteY81" fmla="*/ 2090738 h 6858000"/>
              <a:gd name="connsiteX82" fmla="*/ 2554635 w 9595474"/>
              <a:gd name="connsiteY82" fmla="*/ 2087245 h 6858000"/>
              <a:gd name="connsiteX83" fmla="*/ 2559660 w 9595474"/>
              <a:gd name="connsiteY83" fmla="*/ 2083435 h 6858000"/>
              <a:gd name="connsiteX84" fmla="*/ 2564389 w 9595474"/>
              <a:gd name="connsiteY84" fmla="*/ 2079308 h 6858000"/>
              <a:gd name="connsiteX85" fmla="*/ 2569119 w 9595474"/>
              <a:gd name="connsiteY85" fmla="*/ 2074863 h 6858000"/>
              <a:gd name="connsiteX86" fmla="*/ 2573257 w 9595474"/>
              <a:gd name="connsiteY86" fmla="*/ 2070100 h 6858000"/>
              <a:gd name="connsiteX87" fmla="*/ 2577395 w 9595474"/>
              <a:gd name="connsiteY87" fmla="*/ 2065655 h 6858000"/>
              <a:gd name="connsiteX88" fmla="*/ 2581237 w 9595474"/>
              <a:gd name="connsiteY88" fmla="*/ 2060575 h 6858000"/>
              <a:gd name="connsiteX89" fmla="*/ 2584784 w 9595474"/>
              <a:gd name="connsiteY89" fmla="*/ 2055495 h 6858000"/>
              <a:gd name="connsiteX90" fmla="*/ 2588035 w 9595474"/>
              <a:gd name="connsiteY90" fmla="*/ 2050415 h 6858000"/>
              <a:gd name="connsiteX91" fmla="*/ 2590991 w 9595474"/>
              <a:gd name="connsiteY91" fmla="*/ 2045018 h 6858000"/>
              <a:gd name="connsiteX92" fmla="*/ 2593651 w 9595474"/>
              <a:gd name="connsiteY92" fmla="*/ 2039620 h 6858000"/>
              <a:gd name="connsiteX93" fmla="*/ 2596016 w 9595474"/>
              <a:gd name="connsiteY93" fmla="*/ 2034223 h 6858000"/>
              <a:gd name="connsiteX94" fmla="*/ 2598085 w 9595474"/>
              <a:gd name="connsiteY94" fmla="*/ 2028508 h 6858000"/>
              <a:gd name="connsiteX95" fmla="*/ 2599858 w 9595474"/>
              <a:gd name="connsiteY95" fmla="*/ 2022793 h 6858000"/>
              <a:gd name="connsiteX96" fmla="*/ 2601336 w 9595474"/>
              <a:gd name="connsiteY96" fmla="*/ 2017078 h 6858000"/>
              <a:gd name="connsiteX97" fmla="*/ 2602814 w 9595474"/>
              <a:gd name="connsiteY97" fmla="*/ 2011363 h 6858000"/>
              <a:gd name="connsiteX98" fmla="*/ 2603996 w 9595474"/>
              <a:gd name="connsiteY98" fmla="*/ 2005648 h 6858000"/>
              <a:gd name="connsiteX99" fmla="*/ 2604587 w 9595474"/>
              <a:gd name="connsiteY99" fmla="*/ 1999615 h 6858000"/>
              <a:gd name="connsiteX100" fmla="*/ 2604883 w 9595474"/>
              <a:gd name="connsiteY100" fmla="*/ 1993583 h 6858000"/>
              <a:gd name="connsiteX101" fmla="*/ 2604883 w 9595474"/>
              <a:gd name="connsiteY101" fmla="*/ 1987550 h 6858000"/>
              <a:gd name="connsiteX102" fmla="*/ 2604883 w 9595474"/>
              <a:gd name="connsiteY102" fmla="*/ 1981835 h 6858000"/>
              <a:gd name="connsiteX103" fmla="*/ 2604587 w 9595474"/>
              <a:gd name="connsiteY103" fmla="*/ 1976120 h 6858000"/>
              <a:gd name="connsiteX104" fmla="*/ 2603996 w 9595474"/>
              <a:gd name="connsiteY104" fmla="*/ 1970088 h 6858000"/>
              <a:gd name="connsiteX105" fmla="*/ 2602814 w 9595474"/>
              <a:gd name="connsiteY105" fmla="*/ 1964373 h 6858000"/>
              <a:gd name="connsiteX106" fmla="*/ 2601336 w 9595474"/>
              <a:gd name="connsiteY106" fmla="*/ 1958658 h 6858000"/>
              <a:gd name="connsiteX107" fmla="*/ 2599858 w 9595474"/>
              <a:gd name="connsiteY107" fmla="*/ 1952625 h 6858000"/>
              <a:gd name="connsiteX108" fmla="*/ 2598085 w 9595474"/>
              <a:gd name="connsiteY108" fmla="*/ 1946910 h 6858000"/>
              <a:gd name="connsiteX109" fmla="*/ 2596016 w 9595474"/>
              <a:gd name="connsiteY109" fmla="*/ 1941195 h 6858000"/>
              <a:gd name="connsiteX110" fmla="*/ 2593651 w 9595474"/>
              <a:gd name="connsiteY110" fmla="*/ 1935798 h 6858000"/>
              <a:gd name="connsiteX111" fmla="*/ 2590991 w 9595474"/>
              <a:gd name="connsiteY111" fmla="*/ 1930400 h 6858000"/>
              <a:gd name="connsiteX112" fmla="*/ 2588035 w 9595474"/>
              <a:gd name="connsiteY112" fmla="*/ 1925003 h 6858000"/>
              <a:gd name="connsiteX113" fmla="*/ 2584784 w 9595474"/>
              <a:gd name="connsiteY113" fmla="*/ 1919923 h 6858000"/>
              <a:gd name="connsiteX114" fmla="*/ 2581237 w 9595474"/>
              <a:gd name="connsiteY114" fmla="*/ 1915160 h 6858000"/>
              <a:gd name="connsiteX115" fmla="*/ 2577395 w 9595474"/>
              <a:gd name="connsiteY115" fmla="*/ 1910080 h 6858000"/>
              <a:gd name="connsiteX116" fmla="*/ 2573257 w 9595474"/>
              <a:gd name="connsiteY116" fmla="*/ 1905318 h 6858000"/>
              <a:gd name="connsiteX117" fmla="*/ 2569119 w 9595474"/>
              <a:gd name="connsiteY117" fmla="*/ 1900555 h 6858000"/>
              <a:gd name="connsiteX118" fmla="*/ 1590477 w 9595474"/>
              <a:gd name="connsiteY118" fmla="*/ 922020 h 6858000"/>
              <a:gd name="connsiteX119" fmla="*/ 1272736 w 9595474"/>
              <a:gd name="connsiteY119" fmla="*/ 604203 h 6858000"/>
              <a:gd name="connsiteX120" fmla="*/ 1268303 w 9595474"/>
              <a:gd name="connsiteY120" fmla="*/ 599440 h 6858000"/>
              <a:gd name="connsiteX121" fmla="*/ 1264165 w 9595474"/>
              <a:gd name="connsiteY121" fmla="*/ 594995 h 6858000"/>
              <a:gd name="connsiteX122" fmla="*/ 1260322 w 9595474"/>
              <a:gd name="connsiteY122" fmla="*/ 589915 h 6858000"/>
              <a:gd name="connsiteX123" fmla="*/ 1256776 w 9595474"/>
              <a:gd name="connsiteY123" fmla="*/ 584835 h 6858000"/>
              <a:gd name="connsiteX124" fmla="*/ 1253524 w 9595474"/>
              <a:gd name="connsiteY124" fmla="*/ 579755 h 6858000"/>
              <a:gd name="connsiteX125" fmla="*/ 1250864 w 9595474"/>
              <a:gd name="connsiteY125" fmla="*/ 574358 h 6858000"/>
              <a:gd name="connsiteX126" fmla="*/ 1247908 w 9595474"/>
              <a:gd name="connsiteY126" fmla="*/ 568960 h 6858000"/>
              <a:gd name="connsiteX127" fmla="*/ 1245839 w 9595474"/>
              <a:gd name="connsiteY127" fmla="*/ 563563 h 6858000"/>
              <a:gd name="connsiteX128" fmla="*/ 1243475 w 9595474"/>
              <a:gd name="connsiteY128" fmla="*/ 557848 h 6858000"/>
              <a:gd name="connsiteX129" fmla="*/ 1241701 w 9595474"/>
              <a:gd name="connsiteY129" fmla="*/ 552133 h 6858000"/>
              <a:gd name="connsiteX130" fmla="*/ 1239928 w 9595474"/>
              <a:gd name="connsiteY130" fmla="*/ 546418 h 6858000"/>
              <a:gd name="connsiteX131" fmla="*/ 1238746 w 9595474"/>
              <a:gd name="connsiteY131" fmla="*/ 540703 h 6858000"/>
              <a:gd name="connsiteX132" fmla="*/ 1237859 w 9595474"/>
              <a:gd name="connsiteY132" fmla="*/ 534988 h 6858000"/>
              <a:gd name="connsiteX133" fmla="*/ 1236972 w 9595474"/>
              <a:gd name="connsiteY133" fmla="*/ 528638 h 6858000"/>
              <a:gd name="connsiteX134" fmla="*/ 1236677 w 9595474"/>
              <a:gd name="connsiteY134" fmla="*/ 522923 h 6858000"/>
              <a:gd name="connsiteX135" fmla="*/ 1236381 w 9595474"/>
              <a:gd name="connsiteY135" fmla="*/ 516890 h 6858000"/>
              <a:gd name="connsiteX136" fmla="*/ 1236677 w 9595474"/>
              <a:gd name="connsiteY136" fmla="*/ 511175 h 6858000"/>
              <a:gd name="connsiteX137" fmla="*/ 1236972 w 9595474"/>
              <a:gd name="connsiteY137" fmla="*/ 505460 h 6858000"/>
              <a:gd name="connsiteX138" fmla="*/ 1237859 w 9595474"/>
              <a:gd name="connsiteY138" fmla="*/ 499428 h 6858000"/>
              <a:gd name="connsiteX139" fmla="*/ 1238746 w 9595474"/>
              <a:gd name="connsiteY139" fmla="*/ 493713 h 6858000"/>
              <a:gd name="connsiteX140" fmla="*/ 1239928 w 9595474"/>
              <a:gd name="connsiteY140" fmla="*/ 487680 h 6858000"/>
              <a:gd name="connsiteX141" fmla="*/ 1241701 w 9595474"/>
              <a:gd name="connsiteY141" fmla="*/ 481965 h 6858000"/>
              <a:gd name="connsiteX142" fmla="*/ 1243475 w 9595474"/>
              <a:gd name="connsiteY142" fmla="*/ 476250 h 6858000"/>
              <a:gd name="connsiteX143" fmla="*/ 1245839 w 9595474"/>
              <a:gd name="connsiteY143" fmla="*/ 470535 h 6858000"/>
              <a:gd name="connsiteX144" fmla="*/ 1247908 w 9595474"/>
              <a:gd name="connsiteY144" fmla="*/ 465138 h 6858000"/>
              <a:gd name="connsiteX145" fmla="*/ 1250864 w 9595474"/>
              <a:gd name="connsiteY145" fmla="*/ 459740 h 6858000"/>
              <a:gd name="connsiteX146" fmla="*/ 1253524 w 9595474"/>
              <a:gd name="connsiteY146" fmla="*/ 454343 h 6858000"/>
              <a:gd name="connsiteX147" fmla="*/ 1256776 w 9595474"/>
              <a:gd name="connsiteY147" fmla="*/ 449263 h 6858000"/>
              <a:gd name="connsiteX148" fmla="*/ 1260322 w 9595474"/>
              <a:gd name="connsiteY148" fmla="*/ 444500 h 6858000"/>
              <a:gd name="connsiteX149" fmla="*/ 1264165 w 9595474"/>
              <a:gd name="connsiteY149" fmla="*/ 439420 h 6858000"/>
              <a:gd name="connsiteX150" fmla="*/ 1268303 w 9595474"/>
              <a:gd name="connsiteY150" fmla="*/ 434658 h 6858000"/>
              <a:gd name="connsiteX151" fmla="*/ 1272736 w 9595474"/>
              <a:gd name="connsiteY151" fmla="*/ 429895 h 6858000"/>
              <a:gd name="connsiteX152" fmla="*/ 1277466 w 9595474"/>
              <a:gd name="connsiteY152" fmla="*/ 425768 h 6858000"/>
              <a:gd name="connsiteX153" fmla="*/ 1281899 w 9595474"/>
              <a:gd name="connsiteY153" fmla="*/ 421323 h 6858000"/>
              <a:gd name="connsiteX154" fmla="*/ 1286924 w 9595474"/>
              <a:gd name="connsiteY154" fmla="*/ 417830 h 6858000"/>
              <a:gd name="connsiteX155" fmla="*/ 1291949 w 9595474"/>
              <a:gd name="connsiteY155" fmla="*/ 414338 h 6858000"/>
              <a:gd name="connsiteX156" fmla="*/ 1296973 w 9595474"/>
              <a:gd name="connsiteY156" fmla="*/ 410845 h 6858000"/>
              <a:gd name="connsiteX157" fmla="*/ 1302589 w 9595474"/>
              <a:gd name="connsiteY157" fmla="*/ 407988 h 6858000"/>
              <a:gd name="connsiteX158" fmla="*/ 1307910 w 9595474"/>
              <a:gd name="connsiteY158" fmla="*/ 405130 h 6858000"/>
              <a:gd name="connsiteX159" fmla="*/ 1313230 w 9595474"/>
              <a:gd name="connsiteY159" fmla="*/ 402908 h 6858000"/>
              <a:gd name="connsiteX160" fmla="*/ 1318846 w 9595474"/>
              <a:gd name="connsiteY160" fmla="*/ 401003 h 6858000"/>
              <a:gd name="connsiteX161" fmla="*/ 1324757 w 9595474"/>
              <a:gd name="connsiteY161" fmla="*/ 399098 h 6858000"/>
              <a:gd name="connsiteX162" fmla="*/ 1330373 w 9595474"/>
              <a:gd name="connsiteY162" fmla="*/ 397193 h 6858000"/>
              <a:gd name="connsiteX163" fmla="*/ 1336285 w 9595474"/>
              <a:gd name="connsiteY163" fmla="*/ 396240 h 6858000"/>
              <a:gd name="connsiteX164" fmla="*/ 1341901 w 9595474"/>
              <a:gd name="connsiteY164" fmla="*/ 395288 h 6858000"/>
              <a:gd name="connsiteX165" fmla="*/ 1348108 w 9595474"/>
              <a:gd name="connsiteY165" fmla="*/ 394335 h 6858000"/>
              <a:gd name="connsiteX166" fmla="*/ 1353723 w 9595474"/>
              <a:gd name="connsiteY166" fmla="*/ 394018 h 6858000"/>
              <a:gd name="connsiteX167" fmla="*/ 1359930 w 9595474"/>
              <a:gd name="connsiteY167" fmla="*/ 393700 h 6858000"/>
              <a:gd name="connsiteX168" fmla="*/ 1365546 w 9595474"/>
              <a:gd name="connsiteY168" fmla="*/ 394018 h 6858000"/>
              <a:gd name="connsiteX169" fmla="*/ 1371458 w 9595474"/>
              <a:gd name="connsiteY169" fmla="*/ 394335 h 6858000"/>
              <a:gd name="connsiteX170" fmla="*/ 1377665 w 9595474"/>
              <a:gd name="connsiteY170" fmla="*/ 395288 h 6858000"/>
              <a:gd name="connsiteX171" fmla="*/ 1383281 w 9595474"/>
              <a:gd name="connsiteY171" fmla="*/ 396240 h 6858000"/>
              <a:gd name="connsiteX172" fmla="*/ 1388897 w 9595474"/>
              <a:gd name="connsiteY172" fmla="*/ 397193 h 6858000"/>
              <a:gd name="connsiteX173" fmla="*/ 1394808 w 9595474"/>
              <a:gd name="connsiteY173" fmla="*/ 399098 h 6858000"/>
              <a:gd name="connsiteX174" fmla="*/ 1400424 w 9595474"/>
              <a:gd name="connsiteY174" fmla="*/ 401003 h 6858000"/>
              <a:gd name="connsiteX175" fmla="*/ 1406335 w 9595474"/>
              <a:gd name="connsiteY175" fmla="*/ 402908 h 6858000"/>
              <a:gd name="connsiteX176" fmla="*/ 1411656 w 9595474"/>
              <a:gd name="connsiteY176" fmla="*/ 405130 h 6858000"/>
              <a:gd name="connsiteX177" fmla="*/ 1416976 w 9595474"/>
              <a:gd name="connsiteY177" fmla="*/ 407988 h 6858000"/>
              <a:gd name="connsiteX178" fmla="*/ 1422296 w 9595474"/>
              <a:gd name="connsiteY178" fmla="*/ 410845 h 6858000"/>
              <a:gd name="connsiteX179" fmla="*/ 1427617 w 9595474"/>
              <a:gd name="connsiteY179" fmla="*/ 414338 h 6858000"/>
              <a:gd name="connsiteX180" fmla="*/ 1432641 w 9595474"/>
              <a:gd name="connsiteY180" fmla="*/ 417830 h 6858000"/>
              <a:gd name="connsiteX181" fmla="*/ 1437666 w 9595474"/>
              <a:gd name="connsiteY181" fmla="*/ 421323 h 6858000"/>
              <a:gd name="connsiteX182" fmla="*/ 1442100 w 9595474"/>
              <a:gd name="connsiteY182" fmla="*/ 425768 h 6858000"/>
              <a:gd name="connsiteX183" fmla="*/ 1446829 w 9595474"/>
              <a:gd name="connsiteY183" fmla="*/ 429895 h 6858000"/>
              <a:gd name="connsiteX184" fmla="*/ 1907036 w 9595474"/>
              <a:gd name="connsiteY184" fmla="*/ 890270 h 6858000"/>
              <a:gd name="connsiteX185" fmla="*/ 2165662 w 9595474"/>
              <a:gd name="connsiteY185" fmla="*/ 1148715 h 6858000"/>
              <a:gd name="connsiteX186" fmla="*/ 2170391 w 9595474"/>
              <a:gd name="connsiteY186" fmla="*/ 1153160 h 6858000"/>
              <a:gd name="connsiteX187" fmla="*/ 2175416 w 9595474"/>
              <a:gd name="connsiteY187" fmla="*/ 1157288 h 6858000"/>
              <a:gd name="connsiteX188" fmla="*/ 2180145 w 9595474"/>
              <a:gd name="connsiteY188" fmla="*/ 1161098 h 6858000"/>
              <a:gd name="connsiteX189" fmla="*/ 2185170 w 9595474"/>
              <a:gd name="connsiteY189" fmla="*/ 1164590 h 6858000"/>
              <a:gd name="connsiteX190" fmla="*/ 2190490 w 9595474"/>
              <a:gd name="connsiteY190" fmla="*/ 1167765 h 6858000"/>
              <a:gd name="connsiteX191" fmla="*/ 2195810 w 9595474"/>
              <a:gd name="connsiteY191" fmla="*/ 1170623 h 6858000"/>
              <a:gd name="connsiteX192" fmla="*/ 2201130 w 9595474"/>
              <a:gd name="connsiteY192" fmla="*/ 1173480 h 6858000"/>
              <a:gd name="connsiteX193" fmla="*/ 2206746 w 9595474"/>
              <a:gd name="connsiteY193" fmla="*/ 1176020 h 6858000"/>
              <a:gd name="connsiteX194" fmla="*/ 2212362 w 9595474"/>
              <a:gd name="connsiteY194" fmla="*/ 1177925 h 6858000"/>
              <a:gd name="connsiteX195" fmla="*/ 2217683 w 9595474"/>
              <a:gd name="connsiteY195" fmla="*/ 1180148 h 6858000"/>
              <a:gd name="connsiteX196" fmla="*/ 2223594 w 9595474"/>
              <a:gd name="connsiteY196" fmla="*/ 1181418 h 6858000"/>
              <a:gd name="connsiteX197" fmla="*/ 2229505 w 9595474"/>
              <a:gd name="connsiteY197" fmla="*/ 1182688 h 6858000"/>
              <a:gd name="connsiteX198" fmla="*/ 2235417 w 9595474"/>
              <a:gd name="connsiteY198" fmla="*/ 1183640 h 6858000"/>
              <a:gd name="connsiteX199" fmla="*/ 2241033 w 9595474"/>
              <a:gd name="connsiteY199" fmla="*/ 1184275 h 6858000"/>
              <a:gd name="connsiteX200" fmla="*/ 2247240 w 9595474"/>
              <a:gd name="connsiteY200" fmla="*/ 1184593 h 6858000"/>
              <a:gd name="connsiteX201" fmla="*/ 2252856 w 9595474"/>
              <a:gd name="connsiteY201" fmla="*/ 1185228 h 6858000"/>
              <a:gd name="connsiteX202" fmla="*/ 2259063 w 9595474"/>
              <a:gd name="connsiteY202" fmla="*/ 1184593 h 6858000"/>
              <a:gd name="connsiteX203" fmla="*/ 2264679 w 9595474"/>
              <a:gd name="connsiteY203" fmla="*/ 1184275 h 6858000"/>
              <a:gd name="connsiteX204" fmla="*/ 2270590 w 9595474"/>
              <a:gd name="connsiteY204" fmla="*/ 1183640 h 6858000"/>
              <a:gd name="connsiteX205" fmla="*/ 2276797 w 9595474"/>
              <a:gd name="connsiteY205" fmla="*/ 1182688 h 6858000"/>
              <a:gd name="connsiteX206" fmla="*/ 2282413 w 9595474"/>
              <a:gd name="connsiteY206" fmla="*/ 1181418 h 6858000"/>
              <a:gd name="connsiteX207" fmla="*/ 2288029 w 9595474"/>
              <a:gd name="connsiteY207" fmla="*/ 1180148 h 6858000"/>
              <a:gd name="connsiteX208" fmla="*/ 2293940 w 9595474"/>
              <a:gd name="connsiteY208" fmla="*/ 1177925 h 6858000"/>
              <a:gd name="connsiteX209" fmla="*/ 2299261 w 9595474"/>
              <a:gd name="connsiteY209" fmla="*/ 1176020 h 6858000"/>
              <a:gd name="connsiteX210" fmla="*/ 2304581 w 9595474"/>
              <a:gd name="connsiteY210" fmla="*/ 1173480 h 6858000"/>
              <a:gd name="connsiteX211" fmla="*/ 2310492 w 9595474"/>
              <a:gd name="connsiteY211" fmla="*/ 1170623 h 6858000"/>
              <a:gd name="connsiteX212" fmla="*/ 2315517 w 9595474"/>
              <a:gd name="connsiteY212" fmla="*/ 1167765 h 6858000"/>
              <a:gd name="connsiteX213" fmla="*/ 2320837 w 9595474"/>
              <a:gd name="connsiteY213" fmla="*/ 1164590 h 6858000"/>
              <a:gd name="connsiteX214" fmla="*/ 2325862 w 9595474"/>
              <a:gd name="connsiteY214" fmla="*/ 1161098 h 6858000"/>
              <a:gd name="connsiteX215" fmla="*/ 2330887 w 9595474"/>
              <a:gd name="connsiteY215" fmla="*/ 1157288 h 6858000"/>
              <a:gd name="connsiteX216" fmla="*/ 2335616 w 9595474"/>
              <a:gd name="connsiteY216" fmla="*/ 1153160 h 6858000"/>
              <a:gd name="connsiteX217" fmla="*/ 2340345 w 9595474"/>
              <a:gd name="connsiteY217" fmla="*/ 1148715 h 6858000"/>
              <a:gd name="connsiteX218" fmla="*/ 2344483 w 9595474"/>
              <a:gd name="connsiteY218" fmla="*/ 1144270 h 6858000"/>
              <a:gd name="connsiteX219" fmla="*/ 2348621 w 9595474"/>
              <a:gd name="connsiteY219" fmla="*/ 1139508 h 6858000"/>
              <a:gd name="connsiteX220" fmla="*/ 2352464 w 9595474"/>
              <a:gd name="connsiteY220" fmla="*/ 1134428 h 6858000"/>
              <a:gd name="connsiteX221" fmla="*/ 2356011 w 9595474"/>
              <a:gd name="connsiteY221" fmla="*/ 1129348 h 6858000"/>
              <a:gd name="connsiteX222" fmla="*/ 2359262 w 9595474"/>
              <a:gd name="connsiteY222" fmla="*/ 1124268 h 6858000"/>
              <a:gd name="connsiteX223" fmla="*/ 2362218 w 9595474"/>
              <a:gd name="connsiteY223" fmla="*/ 1118870 h 6858000"/>
              <a:gd name="connsiteX224" fmla="*/ 2364582 w 9595474"/>
              <a:gd name="connsiteY224" fmla="*/ 1113473 h 6858000"/>
              <a:gd name="connsiteX225" fmla="*/ 2367242 w 9595474"/>
              <a:gd name="connsiteY225" fmla="*/ 1108075 h 6858000"/>
              <a:gd name="connsiteX226" fmla="*/ 2369311 w 9595474"/>
              <a:gd name="connsiteY226" fmla="*/ 1102360 h 6858000"/>
              <a:gd name="connsiteX227" fmla="*/ 2371085 w 9595474"/>
              <a:gd name="connsiteY227" fmla="*/ 1096645 h 6858000"/>
              <a:gd name="connsiteX228" fmla="*/ 2372563 w 9595474"/>
              <a:gd name="connsiteY228" fmla="*/ 1090930 h 6858000"/>
              <a:gd name="connsiteX229" fmla="*/ 2374041 w 9595474"/>
              <a:gd name="connsiteY229" fmla="*/ 1085215 h 6858000"/>
              <a:gd name="connsiteX230" fmla="*/ 2375223 w 9595474"/>
              <a:gd name="connsiteY230" fmla="*/ 1079500 h 6858000"/>
              <a:gd name="connsiteX231" fmla="*/ 2375814 w 9595474"/>
              <a:gd name="connsiteY231" fmla="*/ 1073785 h 6858000"/>
              <a:gd name="connsiteX232" fmla="*/ 2376110 w 9595474"/>
              <a:gd name="connsiteY232" fmla="*/ 1067753 h 6858000"/>
              <a:gd name="connsiteX233" fmla="*/ 2376110 w 9595474"/>
              <a:gd name="connsiteY233" fmla="*/ 1061720 h 6858000"/>
              <a:gd name="connsiteX234" fmla="*/ 2376110 w 9595474"/>
              <a:gd name="connsiteY234" fmla="*/ 1055688 h 6858000"/>
              <a:gd name="connsiteX235" fmla="*/ 2375814 w 9595474"/>
              <a:gd name="connsiteY235" fmla="*/ 1049973 h 6858000"/>
              <a:gd name="connsiteX236" fmla="*/ 2375223 w 9595474"/>
              <a:gd name="connsiteY236" fmla="*/ 1043940 h 6858000"/>
              <a:gd name="connsiteX237" fmla="*/ 2374041 w 9595474"/>
              <a:gd name="connsiteY237" fmla="*/ 1038225 h 6858000"/>
              <a:gd name="connsiteX238" fmla="*/ 2372563 w 9595474"/>
              <a:gd name="connsiteY238" fmla="*/ 1032510 h 6858000"/>
              <a:gd name="connsiteX239" fmla="*/ 2371085 w 9595474"/>
              <a:gd name="connsiteY239" fmla="*/ 1026795 h 6858000"/>
              <a:gd name="connsiteX240" fmla="*/ 2369311 w 9595474"/>
              <a:gd name="connsiteY240" fmla="*/ 1021080 h 6858000"/>
              <a:gd name="connsiteX241" fmla="*/ 2367242 w 9595474"/>
              <a:gd name="connsiteY241" fmla="*/ 1015683 h 6858000"/>
              <a:gd name="connsiteX242" fmla="*/ 2364582 w 9595474"/>
              <a:gd name="connsiteY242" fmla="*/ 1009650 h 6858000"/>
              <a:gd name="connsiteX243" fmla="*/ 2362218 w 9595474"/>
              <a:gd name="connsiteY243" fmla="*/ 1004253 h 6858000"/>
              <a:gd name="connsiteX244" fmla="*/ 2359262 w 9595474"/>
              <a:gd name="connsiteY244" fmla="*/ 998855 h 6858000"/>
              <a:gd name="connsiteX245" fmla="*/ 2356011 w 9595474"/>
              <a:gd name="connsiteY245" fmla="*/ 994093 h 6858000"/>
              <a:gd name="connsiteX246" fmla="*/ 2352464 w 9595474"/>
              <a:gd name="connsiteY246" fmla="*/ 989013 h 6858000"/>
              <a:gd name="connsiteX247" fmla="*/ 2348621 w 9595474"/>
              <a:gd name="connsiteY247" fmla="*/ 983933 h 6858000"/>
              <a:gd name="connsiteX248" fmla="*/ 2344483 w 9595474"/>
              <a:gd name="connsiteY248" fmla="*/ 979170 h 6858000"/>
              <a:gd name="connsiteX249" fmla="*/ 2340345 w 9595474"/>
              <a:gd name="connsiteY249" fmla="*/ 974725 h 6858000"/>
              <a:gd name="connsiteX250" fmla="*/ 2240737 w 9595474"/>
              <a:gd name="connsiteY250" fmla="*/ 875030 h 6858000"/>
              <a:gd name="connsiteX251" fmla="*/ 1991865 w 9595474"/>
              <a:gd name="connsiteY251" fmla="*/ 626428 h 6858000"/>
              <a:gd name="connsiteX252" fmla="*/ 1987431 w 9595474"/>
              <a:gd name="connsiteY252" fmla="*/ 621665 h 6858000"/>
              <a:gd name="connsiteX253" fmla="*/ 1983589 w 9595474"/>
              <a:gd name="connsiteY253" fmla="*/ 616903 h 6858000"/>
              <a:gd name="connsiteX254" fmla="*/ 1979451 w 9595474"/>
              <a:gd name="connsiteY254" fmla="*/ 612140 h 6858000"/>
              <a:gd name="connsiteX255" fmla="*/ 1975904 w 9595474"/>
              <a:gd name="connsiteY255" fmla="*/ 607060 h 6858000"/>
              <a:gd name="connsiteX256" fmla="*/ 1972653 w 9595474"/>
              <a:gd name="connsiteY256" fmla="*/ 601663 h 6858000"/>
              <a:gd name="connsiteX257" fmla="*/ 1969993 w 9595474"/>
              <a:gd name="connsiteY257" fmla="*/ 596265 h 6858000"/>
              <a:gd name="connsiteX258" fmla="*/ 1967037 w 9595474"/>
              <a:gd name="connsiteY258" fmla="*/ 590868 h 6858000"/>
              <a:gd name="connsiteX259" fmla="*/ 1964968 w 9595474"/>
              <a:gd name="connsiteY259" fmla="*/ 585470 h 6858000"/>
              <a:gd name="connsiteX260" fmla="*/ 1962603 w 9595474"/>
              <a:gd name="connsiteY260" fmla="*/ 579755 h 6858000"/>
              <a:gd name="connsiteX261" fmla="*/ 1960830 w 9595474"/>
              <a:gd name="connsiteY261" fmla="*/ 574358 h 6858000"/>
              <a:gd name="connsiteX262" fmla="*/ 1959056 w 9595474"/>
              <a:gd name="connsiteY262" fmla="*/ 568643 h 6858000"/>
              <a:gd name="connsiteX263" fmla="*/ 1958170 w 9595474"/>
              <a:gd name="connsiteY263" fmla="*/ 562610 h 6858000"/>
              <a:gd name="connsiteX264" fmla="*/ 1956987 w 9595474"/>
              <a:gd name="connsiteY264" fmla="*/ 556895 h 6858000"/>
              <a:gd name="connsiteX265" fmla="*/ 1956396 w 9595474"/>
              <a:gd name="connsiteY265" fmla="*/ 551180 h 6858000"/>
              <a:gd name="connsiteX266" fmla="*/ 1955805 w 9595474"/>
              <a:gd name="connsiteY266" fmla="*/ 544830 h 6858000"/>
              <a:gd name="connsiteX267" fmla="*/ 1955805 w 9595474"/>
              <a:gd name="connsiteY267" fmla="*/ 539115 h 6858000"/>
              <a:gd name="connsiteX268" fmla="*/ 1955805 w 9595474"/>
              <a:gd name="connsiteY268" fmla="*/ 533083 h 6858000"/>
              <a:gd name="connsiteX269" fmla="*/ 1956396 w 9595474"/>
              <a:gd name="connsiteY269" fmla="*/ 527368 h 6858000"/>
              <a:gd name="connsiteX270" fmla="*/ 1956987 w 9595474"/>
              <a:gd name="connsiteY270" fmla="*/ 521653 h 6858000"/>
              <a:gd name="connsiteX271" fmla="*/ 1958170 w 9595474"/>
              <a:gd name="connsiteY271" fmla="*/ 515620 h 6858000"/>
              <a:gd name="connsiteX272" fmla="*/ 1959056 w 9595474"/>
              <a:gd name="connsiteY272" fmla="*/ 509588 h 6858000"/>
              <a:gd name="connsiteX273" fmla="*/ 1960830 w 9595474"/>
              <a:gd name="connsiteY273" fmla="*/ 503873 h 6858000"/>
              <a:gd name="connsiteX274" fmla="*/ 1962603 w 9595474"/>
              <a:gd name="connsiteY274" fmla="*/ 498158 h 6858000"/>
              <a:gd name="connsiteX275" fmla="*/ 1964968 w 9595474"/>
              <a:gd name="connsiteY275" fmla="*/ 492760 h 6858000"/>
              <a:gd name="connsiteX276" fmla="*/ 1967037 w 9595474"/>
              <a:gd name="connsiteY276" fmla="*/ 487363 h 6858000"/>
              <a:gd name="connsiteX277" fmla="*/ 1969993 w 9595474"/>
              <a:gd name="connsiteY277" fmla="*/ 481648 h 6858000"/>
              <a:gd name="connsiteX278" fmla="*/ 1972653 w 9595474"/>
              <a:gd name="connsiteY278" fmla="*/ 476568 h 6858000"/>
              <a:gd name="connsiteX279" fmla="*/ 1975904 w 9595474"/>
              <a:gd name="connsiteY279" fmla="*/ 471170 h 6858000"/>
              <a:gd name="connsiteX280" fmla="*/ 1979451 w 9595474"/>
              <a:gd name="connsiteY280" fmla="*/ 466408 h 6858000"/>
              <a:gd name="connsiteX281" fmla="*/ 1983589 w 9595474"/>
              <a:gd name="connsiteY281" fmla="*/ 461328 h 6858000"/>
              <a:gd name="connsiteX282" fmla="*/ 1987431 w 9595474"/>
              <a:gd name="connsiteY282" fmla="*/ 456565 h 6858000"/>
              <a:gd name="connsiteX283" fmla="*/ 1991865 w 9595474"/>
              <a:gd name="connsiteY283" fmla="*/ 451803 h 6858000"/>
              <a:gd name="connsiteX284" fmla="*/ 1996594 w 9595474"/>
              <a:gd name="connsiteY284" fmla="*/ 447675 h 6858000"/>
              <a:gd name="connsiteX285" fmla="*/ 2001028 w 9595474"/>
              <a:gd name="connsiteY285" fmla="*/ 443548 h 6858000"/>
              <a:gd name="connsiteX286" fmla="*/ 2006052 w 9595474"/>
              <a:gd name="connsiteY286" fmla="*/ 439738 h 6858000"/>
              <a:gd name="connsiteX287" fmla="*/ 2011077 w 9595474"/>
              <a:gd name="connsiteY287" fmla="*/ 436245 h 6858000"/>
              <a:gd name="connsiteX288" fmla="*/ 2016102 w 9595474"/>
              <a:gd name="connsiteY288" fmla="*/ 432753 h 6858000"/>
              <a:gd name="connsiteX289" fmla="*/ 2021718 w 9595474"/>
              <a:gd name="connsiteY289" fmla="*/ 429895 h 6858000"/>
              <a:gd name="connsiteX290" fmla="*/ 2027038 w 9595474"/>
              <a:gd name="connsiteY290" fmla="*/ 427355 h 6858000"/>
              <a:gd name="connsiteX291" fmla="*/ 2032654 w 9595474"/>
              <a:gd name="connsiteY291" fmla="*/ 424815 h 6858000"/>
              <a:gd name="connsiteX292" fmla="*/ 2038270 w 9595474"/>
              <a:gd name="connsiteY292" fmla="*/ 422910 h 6858000"/>
              <a:gd name="connsiteX293" fmla="*/ 2043886 w 9595474"/>
              <a:gd name="connsiteY293" fmla="*/ 421005 h 6858000"/>
              <a:gd name="connsiteX294" fmla="*/ 2049502 w 9595474"/>
              <a:gd name="connsiteY294" fmla="*/ 419735 h 6858000"/>
              <a:gd name="connsiteX295" fmla="*/ 2055413 w 9595474"/>
              <a:gd name="connsiteY295" fmla="*/ 418148 h 6858000"/>
              <a:gd name="connsiteX296" fmla="*/ 2061029 w 9595474"/>
              <a:gd name="connsiteY296" fmla="*/ 417195 h 6858000"/>
              <a:gd name="connsiteX297" fmla="*/ 2067236 w 9595474"/>
              <a:gd name="connsiteY297" fmla="*/ 416243 h 6858000"/>
              <a:gd name="connsiteX298" fmla="*/ 2072852 w 9595474"/>
              <a:gd name="connsiteY298" fmla="*/ 415925 h 6858000"/>
              <a:gd name="connsiteX299" fmla="*/ 2079059 w 9595474"/>
              <a:gd name="connsiteY299" fmla="*/ 415925 h 6858000"/>
              <a:gd name="connsiteX300" fmla="*/ 2084970 w 9595474"/>
              <a:gd name="connsiteY300" fmla="*/ 415925 h 6858000"/>
              <a:gd name="connsiteX301" fmla="*/ 2090882 w 9595474"/>
              <a:gd name="connsiteY301" fmla="*/ 416243 h 6858000"/>
              <a:gd name="connsiteX302" fmla="*/ 2096793 w 9595474"/>
              <a:gd name="connsiteY302" fmla="*/ 417195 h 6858000"/>
              <a:gd name="connsiteX303" fmla="*/ 2102409 w 9595474"/>
              <a:gd name="connsiteY303" fmla="*/ 418148 h 6858000"/>
              <a:gd name="connsiteX304" fmla="*/ 2108321 w 9595474"/>
              <a:gd name="connsiteY304" fmla="*/ 419735 h 6858000"/>
              <a:gd name="connsiteX305" fmla="*/ 2113936 w 9595474"/>
              <a:gd name="connsiteY305" fmla="*/ 421005 h 6858000"/>
              <a:gd name="connsiteX306" fmla="*/ 2119552 w 9595474"/>
              <a:gd name="connsiteY306" fmla="*/ 422910 h 6858000"/>
              <a:gd name="connsiteX307" fmla="*/ 2125464 w 9595474"/>
              <a:gd name="connsiteY307" fmla="*/ 424815 h 6858000"/>
              <a:gd name="connsiteX308" fmla="*/ 2130784 w 9595474"/>
              <a:gd name="connsiteY308" fmla="*/ 427355 h 6858000"/>
              <a:gd name="connsiteX309" fmla="*/ 2136104 w 9595474"/>
              <a:gd name="connsiteY309" fmla="*/ 429895 h 6858000"/>
              <a:gd name="connsiteX310" fmla="*/ 2141720 w 9595474"/>
              <a:gd name="connsiteY310" fmla="*/ 432753 h 6858000"/>
              <a:gd name="connsiteX311" fmla="*/ 2146745 w 9595474"/>
              <a:gd name="connsiteY311" fmla="*/ 436245 h 6858000"/>
              <a:gd name="connsiteX312" fmla="*/ 2152065 w 9595474"/>
              <a:gd name="connsiteY312" fmla="*/ 439738 h 6858000"/>
              <a:gd name="connsiteX313" fmla="*/ 2156795 w 9595474"/>
              <a:gd name="connsiteY313" fmla="*/ 443548 h 6858000"/>
              <a:gd name="connsiteX314" fmla="*/ 2161819 w 9595474"/>
              <a:gd name="connsiteY314" fmla="*/ 447675 h 6858000"/>
              <a:gd name="connsiteX315" fmla="*/ 2165957 w 9595474"/>
              <a:gd name="connsiteY315" fmla="*/ 451803 h 6858000"/>
              <a:gd name="connsiteX316" fmla="*/ 2966073 w 9595474"/>
              <a:gd name="connsiteY316" fmla="*/ 1251903 h 6858000"/>
              <a:gd name="connsiteX317" fmla="*/ 5612631 w 9595474"/>
              <a:gd name="connsiteY317" fmla="*/ 3898583 h 6858000"/>
              <a:gd name="connsiteX318" fmla="*/ 5617360 w 9595474"/>
              <a:gd name="connsiteY318" fmla="*/ 3903345 h 6858000"/>
              <a:gd name="connsiteX319" fmla="*/ 5621498 w 9595474"/>
              <a:gd name="connsiteY319" fmla="*/ 3908425 h 6858000"/>
              <a:gd name="connsiteX320" fmla="*/ 5625341 w 9595474"/>
              <a:gd name="connsiteY320" fmla="*/ 3913505 h 6858000"/>
              <a:gd name="connsiteX321" fmla="*/ 5628888 w 9595474"/>
              <a:gd name="connsiteY321" fmla="*/ 3918585 h 6858000"/>
              <a:gd name="connsiteX322" fmla="*/ 5632139 w 9595474"/>
              <a:gd name="connsiteY322" fmla="*/ 3923348 h 6858000"/>
              <a:gd name="connsiteX323" fmla="*/ 5635094 w 9595474"/>
              <a:gd name="connsiteY323" fmla="*/ 3928745 h 6858000"/>
              <a:gd name="connsiteX324" fmla="*/ 5638050 w 9595474"/>
              <a:gd name="connsiteY324" fmla="*/ 3934460 h 6858000"/>
              <a:gd name="connsiteX325" fmla="*/ 5640415 w 9595474"/>
              <a:gd name="connsiteY325" fmla="*/ 3939858 h 6858000"/>
              <a:gd name="connsiteX326" fmla="*/ 5642484 w 9595474"/>
              <a:gd name="connsiteY326" fmla="*/ 3945890 h 6858000"/>
              <a:gd name="connsiteX327" fmla="*/ 5644257 w 9595474"/>
              <a:gd name="connsiteY327" fmla="*/ 3951605 h 6858000"/>
              <a:gd name="connsiteX328" fmla="*/ 5645735 w 9595474"/>
              <a:gd name="connsiteY328" fmla="*/ 3957320 h 6858000"/>
              <a:gd name="connsiteX329" fmla="*/ 5647213 w 9595474"/>
              <a:gd name="connsiteY329" fmla="*/ 3963353 h 6858000"/>
              <a:gd name="connsiteX330" fmla="*/ 5648100 w 9595474"/>
              <a:gd name="connsiteY330" fmla="*/ 3969068 h 6858000"/>
              <a:gd name="connsiteX331" fmla="*/ 5648691 w 9595474"/>
              <a:gd name="connsiteY331" fmla="*/ 3975100 h 6858000"/>
              <a:gd name="connsiteX332" fmla="*/ 5649282 w 9595474"/>
              <a:gd name="connsiteY332" fmla="*/ 3980815 h 6858000"/>
              <a:gd name="connsiteX333" fmla="*/ 5649282 w 9595474"/>
              <a:gd name="connsiteY333" fmla="*/ 3987165 h 6858000"/>
              <a:gd name="connsiteX334" fmla="*/ 5649282 w 9595474"/>
              <a:gd name="connsiteY334" fmla="*/ 3992880 h 6858000"/>
              <a:gd name="connsiteX335" fmla="*/ 5648691 w 9595474"/>
              <a:gd name="connsiteY335" fmla="*/ 3998913 h 6858000"/>
              <a:gd name="connsiteX336" fmla="*/ 5648100 w 9595474"/>
              <a:gd name="connsiteY336" fmla="*/ 4004945 h 6858000"/>
              <a:gd name="connsiteX337" fmla="*/ 5647213 w 9595474"/>
              <a:gd name="connsiteY337" fmla="*/ 4010660 h 6858000"/>
              <a:gd name="connsiteX338" fmla="*/ 5645735 w 9595474"/>
              <a:gd name="connsiteY338" fmla="*/ 4016375 h 6858000"/>
              <a:gd name="connsiteX339" fmla="*/ 5644257 w 9595474"/>
              <a:gd name="connsiteY339" fmla="*/ 4022725 h 6858000"/>
              <a:gd name="connsiteX340" fmla="*/ 5642484 w 9595474"/>
              <a:gd name="connsiteY340" fmla="*/ 4028440 h 6858000"/>
              <a:gd name="connsiteX341" fmla="*/ 5640415 w 9595474"/>
              <a:gd name="connsiteY341" fmla="*/ 4033838 h 6858000"/>
              <a:gd name="connsiteX342" fmla="*/ 5638050 w 9595474"/>
              <a:gd name="connsiteY342" fmla="*/ 4039553 h 6858000"/>
              <a:gd name="connsiteX343" fmla="*/ 5635094 w 9595474"/>
              <a:gd name="connsiteY343" fmla="*/ 4044950 h 6858000"/>
              <a:gd name="connsiteX344" fmla="*/ 5632139 w 9595474"/>
              <a:gd name="connsiteY344" fmla="*/ 4050348 h 6858000"/>
              <a:gd name="connsiteX345" fmla="*/ 5628888 w 9595474"/>
              <a:gd name="connsiteY345" fmla="*/ 4055745 h 6858000"/>
              <a:gd name="connsiteX346" fmla="*/ 5625341 w 9595474"/>
              <a:gd name="connsiteY346" fmla="*/ 4060825 h 6858000"/>
              <a:gd name="connsiteX347" fmla="*/ 5621498 w 9595474"/>
              <a:gd name="connsiteY347" fmla="*/ 4065588 h 6858000"/>
              <a:gd name="connsiteX348" fmla="*/ 5617360 w 9595474"/>
              <a:gd name="connsiteY348" fmla="*/ 4070350 h 6858000"/>
              <a:gd name="connsiteX349" fmla="*/ 5612631 w 9595474"/>
              <a:gd name="connsiteY349" fmla="*/ 4075113 h 6858000"/>
              <a:gd name="connsiteX350" fmla="*/ 5608198 w 9595474"/>
              <a:gd name="connsiteY350" fmla="*/ 4079875 h 6858000"/>
              <a:gd name="connsiteX351" fmla="*/ 5603468 w 9595474"/>
              <a:gd name="connsiteY351" fmla="*/ 4083685 h 6858000"/>
              <a:gd name="connsiteX352" fmla="*/ 5598443 w 9595474"/>
              <a:gd name="connsiteY352" fmla="*/ 4087495 h 6858000"/>
              <a:gd name="connsiteX353" fmla="*/ 5593419 w 9595474"/>
              <a:gd name="connsiteY353" fmla="*/ 4091305 h 6858000"/>
              <a:gd name="connsiteX354" fmla="*/ 5588098 w 9595474"/>
              <a:gd name="connsiteY354" fmla="*/ 4094480 h 6858000"/>
              <a:gd name="connsiteX355" fmla="*/ 5582482 w 9595474"/>
              <a:gd name="connsiteY355" fmla="*/ 4097338 h 6858000"/>
              <a:gd name="connsiteX356" fmla="*/ 5577162 w 9595474"/>
              <a:gd name="connsiteY356" fmla="*/ 4100195 h 6858000"/>
              <a:gd name="connsiteX357" fmla="*/ 5571842 w 9595474"/>
              <a:gd name="connsiteY357" fmla="*/ 4102418 h 6858000"/>
              <a:gd name="connsiteX358" fmla="*/ 5565931 w 9595474"/>
              <a:gd name="connsiteY358" fmla="*/ 4104640 h 6858000"/>
              <a:gd name="connsiteX359" fmla="*/ 5560315 w 9595474"/>
              <a:gd name="connsiteY359" fmla="*/ 4106545 h 6858000"/>
              <a:gd name="connsiteX360" fmla="*/ 5554699 w 9595474"/>
              <a:gd name="connsiteY360" fmla="*/ 4108133 h 6858000"/>
              <a:gd name="connsiteX361" fmla="*/ 5548492 w 9595474"/>
              <a:gd name="connsiteY361" fmla="*/ 4109403 h 6858000"/>
              <a:gd name="connsiteX362" fmla="*/ 5542580 w 9595474"/>
              <a:gd name="connsiteY362" fmla="*/ 4110355 h 6858000"/>
              <a:gd name="connsiteX363" fmla="*/ 5536669 w 9595474"/>
              <a:gd name="connsiteY363" fmla="*/ 4110990 h 6858000"/>
              <a:gd name="connsiteX364" fmla="*/ 5530758 w 9595474"/>
              <a:gd name="connsiteY364" fmla="*/ 4111308 h 6858000"/>
              <a:gd name="connsiteX365" fmla="*/ 5524846 w 9595474"/>
              <a:gd name="connsiteY365" fmla="*/ 4111625 h 6858000"/>
              <a:gd name="connsiteX366" fmla="*/ 5518639 w 9595474"/>
              <a:gd name="connsiteY366" fmla="*/ 4111308 h 6858000"/>
              <a:gd name="connsiteX367" fmla="*/ 5513023 w 9595474"/>
              <a:gd name="connsiteY367" fmla="*/ 4110990 h 6858000"/>
              <a:gd name="connsiteX368" fmla="*/ 5506816 w 9595474"/>
              <a:gd name="connsiteY368" fmla="*/ 4110355 h 6858000"/>
              <a:gd name="connsiteX369" fmla="*/ 5501200 w 9595474"/>
              <a:gd name="connsiteY369" fmla="*/ 4109403 h 6858000"/>
              <a:gd name="connsiteX370" fmla="*/ 5494993 w 9595474"/>
              <a:gd name="connsiteY370" fmla="*/ 4108133 h 6858000"/>
              <a:gd name="connsiteX371" fmla="*/ 5489081 w 9595474"/>
              <a:gd name="connsiteY371" fmla="*/ 4106545 h 6858000"/>
              <a:gd name="connsiteX372" fmla="*/ 5483466 w 9595474"/>
              <a:gd name="connsiteY372" fmla="*/ 4104640 h 6858000"/>
              <a:gd name="connsiteX373" fmla="*/ 5477850 w 9595474"/>
              <a:gd name="connsiteY373" fmla="*/ 4102418 h 6858000"/>
              <a:gd name="connsiteX374" fmla="*/ 5472234 w 9595474"/>
              <a:gd name="connsiteY374" fmla="*/ 4100195 h 6858000"/>
              <a:gd name="connsiteX375" fmla="*/ 5466913 w 9595474"/>
              <a:gd name="connsiteY375" fmla="*/ 4097338 h 6858000"/>
              <a:gd name="connsiteX376" fmla="*/ 5461593 w 9595474"/>
              <a:gd name="connsiteY376" fmla="*/ 4094480 h 6858000"/>
              <a:gd name="connsiteX377" fmla="*/ 5456273 w 9595474"/>
              <a:gd name="connsiteY377" fmla="*/ 4091305 h 6858000"/>
              <a:gd name="connsiteX378" fmla="*/ 5451248 w 9595474"/>
              <a:gd name="connsiteY378" fmla="*/ 4087495 h 6858000"/>
              <a:gd name="connsiteX379" fmla="*/ 5446223 w 9595474"/>
              <a:gd name="connsiteY379" fmla="*/ 4083685 h 6858000"/>
              <a:gd name="connsiteX380" fmla="*/ 5441495 w 9595474"/>
              <a:gd name="connsiteY380" fmla="*/ 4079875 h 6858000"/>
              <a:gd name="connsiteX381" fmla="*/ 5436765 w 9595474"/>
              <a:gd name="connsiteY381" fmla="*/ 4075113 h 6858000"/>
              <a:gd name="connsiteX382" fmla="*/ 5322379 w 9595474"/>
              <a:gd name="connsiteY382" fmla="*/ 3960813 h 6858000"/>
              <a:gd name="connsiteX383" fmla="*/ 5317945 w 9595474"/>
              <a:gd name="connsiteY383" fmla="*/ 3956368 h 6858000"/>
              <a:gd name="connsiteX384" fmla="*/ 5312921 w 9595474"/>
              <a:gd name="connsiteY384" fmla="*/ 3952240 h 6858000"/>
              <a:gd name="connsiteX385" fmla="*/ 5307896 w 9595474"/>
              <a:gd name="connsiteY385" fmla="*/ 3948748 h 6858000"/>
              <a:gd name="connsiteX386" fmla="*/ 5302871 w 9595474"/>
              <a:gd name="connsiteY386" fmla="*/ 3944938 h 6858000"/>
              <a:gd name="connsiteX387" fmla="*/ 5297255 w 9595474"/>
              <a:gd name="connsiteY387" fmla="*/ 3941763 h 6858000"/>
              <a:gd name="connsiteX388" fmla="*/ 5292230 w 9595474"/>
              <a:gd name="connsiteY388" fmla="*/ 3938588 h 6858000"/>
              <a:gd name="connsiteX389" fmla="*/ 5286615 w 9595474"/>
              <a:gd name="connsiteY389" fmla="*/ 3936048 h 6858000"/>
              <a:gd name="connsiteX390" fmla="*/ 5281294 w 9595474"/>
              <a:gd name="connsiteY390" fmla="*/ 3933508 h 6858000"/>
              <a:gd name="connsiteX391" fmla="*/ 5275383 w 9595474"/>
              <a:gd name="connsiteY391" fmla="*/ 3931285 h 6858000"/>
              <a:gd name="connsiteX392" fmla="*/ 5269767 w 9595474"/>
              <a:gd name="connsiteY392" fmla="*/ 3929698 h 6858000"/>
              <a:gd name="connsiteX393" fmla="*/ 5263855 w 9595474"/>
              <a:gd name="connsiteY393" fmla="*/ 3927793 h 6858000"/>
              <a:gd name="connsiteX394" fmla="*/ 5257944 w 9595474"/>
              <a:gd name="connsiteY394" fmla="*/ 3926840 h 6858000"/>
              <a:gd name="connsiteX395" fmla="*/ 5252033 w 9595474"/>
              <a:gd name="connsiteY395" fmla="*/ 3925570 h 6858000"/>
              <a:gd name="connsiteX396" fmla="*/ 5246121 w 9595474"/>
              <a:gd name="connsiteY396" fmla="*/ 3924935 h 6858000"/>
              <a:gd name="connsiteX397" fmla="*/ 5240210 w 9595474"/>
              <a:gd name="connsiteY397" fmla="*/ 3924618 h 6858000"/>
              <a:gd name="connsiteX398" fmla="*/ 5234298 w 9595474"/>
              <a:gd name="connsiteY398" fmla="*/ 3924618 h 6858000"/>
              <a:gd name="connsiteX399" fmla="*/ 5228091 w 9595474"/>
              <a:gd name="connsiteY399" fmla="*/ 3924618 h 6858000"/>
              <a:gd name="connsiteX400" fmla="*/ 5222180 w 9595474"/>
              <a:gd name="connsiteY400" fmla="*/ 3924935 h 6858000"/>
              <a:gd name="connsiteX401" fmla="*/ 5216268 w 9595474"/>
              <a:gd name="connsiteY401" fmla="*/ 3925570 h 6858000"/>
              <a:gd name="connsiteX402" fmla="*/ 5210357 w 9595474"/>
              <a:gd name="connsiteY402" fmla="*/ 3926840 h 6858000"/>
              <a:gd name="connsiteX403" fmla="*/ 5204741 w 9595474"/>
              <a:gd name="connsiteY403" fmla="*/ 3927793 h 6858000"/>
              <a:gd name="connsiteX404" fmla="*/ 5198534 w 9595474"/>
              <a:gd name="connsiteY404" fmla="*/ 3929698 h 6858000"/>
              <a:gd name="connsiteX405" fmla="*/ 5192918 w 9595474"/>
              <a:gd name="connsiteY405" fmla="*/ 3931285 h 6858000"/>
              <a:gd name="connsiteX406" fmla="*/ 5187598 w 9595474"/>
              <a:gd name="connsiteY406" fmla="*/ 3933508 h 6858000"/>
              <a:gd name="connsiteX407" fmla="*/ 5181686 w 9595474"/>
              <a:gd name="connsiteY407" fmla="*/ 3936048 h 6858000"/>
              <a:gd name="connsiteX408" fmla="*/ 5176366 w 9595474"/>
              <a:gd name="connsiteY408" fmla="*/ 3938588 h 6858000"/>
              <a:gd name="connsiteX409" fmla="*/ 5171046 w 9595474"/>
              <a:gd name="connsiteY409" fmla="*/ 3941763 h 6858000"/>
              <a:gd name="connsiteX410" fmla="*/ 5165430 w 9595474"/>
              <a:gd name="connsiteY410" fmla="*/ 3944938 h 6858000"/>
              <a:gd name="connsiteX411" fmla="*/ 5160405 w 9595474"/>
              <a:gd name="connsiteY411" fmla="*/ 3948748 h 6858000"/>
              <a:gd name="connsiteX412" fmla="*/ 5155380 w 9595474"/>
              <a:gd name="connsiteY412" fmla="*/ 3952240 h 6858000"/>
              <a:gd name="connsiteX413" fmla="*/ 5150947 w 9595474"/>
              <a:gd name="connsiteY413" fmla="*/ 3956368 h 6858000"/>
              <a:gd name="connsiteX414" fmla="*/ 5146218 w 9595474"/>
              <a:gd name="connsiteY414" fmla="*/ 3960813 h 6858000"/>
              <a:gd name="connsiteX415" fmla="*/ 5141488 w 9595474"/>
              <a:gd name="connsiteY415" fmla="*/ 3965575 h 6858000"/>
              <a:gd name="connsiteX416" fmla="*/ 5137646 w 9595474"/>
              <a:gd name="connsiteY416" fmla="*/ 3970655 h 6858000"/>
              <a:gd name="connsiteX417" fmla="*/ 5133508 w 9595474"/>
              <a:gd name="connsiteY417" fmla="*/ 3975100 h 6858000"/>
              <a:gd name="connsiteX418" fmla="*/ 5129961 w 9595474"/>
              <a:gd name="connsiteY418" fmla="*/ 3980498 h 6858000"/>
              <a:gd name="connsiteX419" fmla="*/ 5126710 w 9595474"/>
              <a:gd name="connsiteY419" fmla="*/ 3985578 h 6858000"/>
              <a:gd name="connsiteX420" fmla="*/ 5123754 w 9595474"/>
              <a:gd name="connsiteY420" fmla="*/ 3990975 h 6858000"/>
              <a:gd name="connsiteX421" fmla="*/ 5121094 w 9595474"/>
              <a:gd name="connsiteY421" fmla="*/ 3996373 h 6858000"/>
              <a:gd name="connsiteX422" fmla="*/ 5118729 w 9595474"/>
              <a:gd name="connsiteY422" fmla="*/ 4002088 h 6858000"/>
              <a:gd name="connsiteX423" fmla="*/ 5116660 w 9595474"/>
              <a:gd name="connsiteY423" fmla="*/ 4007803 h 6858000"/>
              <a:gd name="connsiteX424" fmla="*/ 5114591 w 9595474"/>
              <a:gd name="connsiteY424" fmla="*/ 4013518 h 6858000"/>
              <a:gd name="connsiteX425" fmla="*/ 5113113 w 9595474"/>
              <a:gd name="connsiteY425" fmla="*/ 4019233 h 6858000"/>
              <a:gd name="connsiteX426" fmla="*/ 5111636 w 9595474"/>
              <a:gd name="connsiteY426" fmla="*/ 4025265 h 6858000"/>
              <a:gd name="connsiteX427" fmla="*/ 5111044 w 9595474"/>
              <a:gd name="connsiteY427" fmla="*/ 4031298 h 6858000"/>
              <a:gd name="connsiteX428" fmla="*/ 5110158 w 9595474"/>
              <a:gd name="connsiteY428" fmla="*/ 4037013 h 6858000"/>
              <a:gd name="connsiteX429" fmla="*/ 5109862 w 9595474"/>
              <a:gd name="connsiteY429" fmla="*/ 4043045 h 6858000"/>
              <a:gd name="connsiteX430" fmla="*/ 5109567 w 9595474"/>
              <a:gd name="connsiteY430" fmla="*/ 4049078 h 6858000"/>
              <a:gd name="connsiteX431" fmla="*/ 5109862 w 9595474"/>
              <a:gd name="connsiteY431" fmla="*/ 4055110 h 6858000"/>
              <a:gd name="connsiteX432" fmla="*/ 5110158 w 9595474"/>
              <a:gd name="connsiteY432" fmla="*/ 4061143 h 6858000"/>
              <a:gd name="connsiteX433" fmla="*/ 5111044 w 9595474"/>
              <a:gd name="connsiteY433" fmla="*/ 4066858 h 6858000"/>
              <a:gd name="connsiteX434" fmla="*/ 5111636 w 9595474"/>
              <a:gd name="connsiteY434" fmla="*/ 4072890 h 6858000"/>
              <a:gd name="connsiteX435" fmla="*/ 5113113 w 9595474"/>
              <a:gd name="connsiteY435" fmla="*/ 4078605 h 6858000"/>
              <a:gd name="connsiteX436" fmla="*/ 5114591 w 9595474"/>
              <a:gd name="connsiteY436" fmla="*/ 4084320 h 6858000"/>
              <a:gd name="connsiteX437" fmla="*/ 5116660 w 9595474"/>
              <a:gd name="connsiteY437" fmla="*/ 4090035 h 6858000"/>
              <a:gd name="connsiteX438" fmla="*/ 5118729 w 9595474"/>
              <a:gd name="connsiteY438" fmla="*/ 4095750 h 6858000"/>
              <a:gd name="connsiteX439" fmla="*/ 5121094 w 9595474"/>
              <a:gd name="connsiteY439" fmla="*/ 4101783 h 6858000"/>
              <a:gd name="connsiteX440" fmla="*/ 5123754 w 9595474"/>
              <a:gd name="connsiteY440" fmla="*/ 4107180 h 6858000"/>
              <a:gd name="connsiteX441" fmla="*/ 5126710 w 9595474"/>
              <a:gd name="connsiteY441" fmla="*/ 4112578 h 6858000"/>
              <a:gd name="connsiteX442" fmla="*/ 5129961 w 9595474"/>
              <a:gd name="connsiteY442" fmla="*/ 4117975 h 6858000"/>
              <a:gd name="connsiteX443" fmla="*/ 5133508 w 9595474"/>
              <a:gd name="connsiteY443" fmla="*/ 4122738 h 6858000"/>
              <a:gd name="connsiteX444" fmla="*/ 5137646 w 9595474"/>
              <a:gd name="connsiteY444" fmla="*/ 4127818 h 6858000"/>
              <a:gd name="connsiteX445" fmla="*/ 5141488 w 9595474"/>
              <a:gd name="connsiteY445" fmla="*/ 4132580 h 6858000"/>
              <a:gd name="connsiteX446" fmla="*/ 5146218 w 9595474"/>
              <a:gd name="connsiteY446" fmla="*/ 4137343 h 6858000"/>
              <a:gd name="connsiteX447" fmla="*/ 5870075 w 9595474"/>
              <a:gd name="connsiteY447" fmla="*/ 4860925 h 6858000"/>
              <a:gd name="connsiteX448" fmla="*/ 5874509 w 9595474"/>
              <a:gd name="connsiteY448" fmla="*/ 4865688 h 6858000"/>
              <a:gd name="connsiteX449" fmla="*/ 5878646 w 9595474"/>
              <a:gd name="connsiteY449" fmla="*/ 4870768 h 6858000"/>
              <a:gd name="connsiteX450" fmla="*/ 5882489 w 9595474"/>
              <a:gd name="connsiteY450" fmla="*/ 4875848 h 6858000"/>
              <a:gd name="connsiteX451" fmla="*/ 5886036 w 9595474"/>
              <a:gd name="connsiteY451" fmla="*/ 4880928 h 6858000"/>
              <a:gd name="connsiteX452" fmla="*/ 5889287 w 9595474"/>
              <a:gd name="connsiteY452" fmla="*/ 4885690 h 6858000"/>
              <a:gd name="connsiteX453" fmla="*/ 5892243 w 9595474"/>
              <a:gd name="connsiteY453" fmla="*/ 4891088 h 6858000"/>
              <a:gd name="connsiteX454" fmla="*/ 5895199 w 9595474"/>
              <a:gd name="connsiteY454" fmla="*/ 4897120 h 6858000"/>
              <a:gd name="connsiteX455" fmla="*/ 5897268 w 9595474"/>
              <a:gd name="connsiteY455" fmla="*/ 4902518 h 6858000"/>
              <a:gd name="connsiteX456" fmla="*/ 5899336 w 9595474"/>
              <a:gd name="connsiteY456" fmla="*/ 4908233 h 6858000"/>
              <a:gd name="connsiteX457" fmla="*/ 5901701 w 9595474"/>
              <a:gd name="connsiteY457" fmla="*/ 4913948 h 6858000"/>
              <a:gd name="connsiteX458" fmla="*/ 5902883 w 9595474"/>
              <a:gd name="connsiteY458" fmla="*/ 4919663 h 6858000"/>
              <a:gd name="connsiteX459" fmla="*/ 5904066 w 9595474"/>
              <a:gd name="connsiteY459" fmla="*/ 4925695 h 6858000"/>
              <a:gd name="connsiteX460" fmla="*/ 5905248 w 9595474"/>
              <a:gd name="connsiteY460" fmla="*/ 4931410 h 6858000"/>
              <a:gd name="connsiteX461" fmla="*/ 5905840 w 9595474"/>
              <a:gd name="connsiteY461" fmla="*/ 4937443 h 6858000"/>
              <a:gd name="connsiteX462" fmla="*/ 5906135 w 9595474"/>
              <a:gd name="connsiteY462" fmla="*/ 4943475 h 6858000"/>
              <a:gd name="connsiteX463" fmla="*/ 5906726 w 9595474"/>
              <a:gd name="connsiteY463" fmla="*/ 4949508 h 6858000"/>
              <a:gd name="connsiteX464" fmla="*/ 5906135 w 9595474"/>
              <a:gd name="connsiteY464" fmla="*/ 4955223 h 6858000"/>
              <a:gd name="connsiteX465" fmla="*/ 5905840 w 9595474"/>
              <a:gd name="connsiteY465" fmla="*/ 4961255 h 6858000"/>
              <a:gd name="connsiteX466" fmla="*/ 5905248 w 9595474"/>
              <a:gd name="connsiteY466" fmla="*/ 4967288 h 6858000"/>
              <a:gd name="connsiteX467" fmla="*/ 5904066 w 9595474"/>
              <a:gd name="connsiteY467" fmla="*/ 4973003 h 6858000"/>
              <a:gd name="connsiteX468" fmla="*/ 5902883 w 9595474"/>
              <a:gd name="connsiteY468" fmla="*/ 4979035 h 6858000"/>
              <a:gd name="connsiteX469" fmla="*/ 5901701 w 9595474"/>
              <a:gd name="connsiteY469" fmla="*/ 4985068 h 6858000"/>
              <a:gd name="connsiteX470" fmla="*/ 5899336 w 9595474"/>
              <a:gd name="connsiteY470" fmla="*/ 4990783 h 6858000"/>
              <a:gd name="connsiteX471" fmla="*/ 5897268 w 9595474"/>
              <a:gd name="connsiteY471" fmla="*/ 4996180 h 6858000"/>
              <a:gd name="connsiteX472" fmla="*/ 5895199 w 9595474"/>
              <a:gd name="connsiteY472" fmla="*/ 5001895 h 6858000"/>
              <a:gd name="connsiteX473" fmla="*/ 5892243 w 9595474"/>
              <a:gd name="connsiteY473" fmla="*/ 5007293 h 6858000"/>
              <a:gd name="connsiteX474" fmla="*/ 5889287 w 9595474"/>
              <a:gd name="connsiteY474" fmla="*/ 5012690 h 6858000"/>
              <a:gd name="connsiteX475" fmla="*/ 5886036 w 9595474"/>
              <a:gd name="connsiteY475" fmla="*/ 5018088 h 6858000"/>
              <a:gd name="connsiteX476" fmla="*/ 5882489 w 9595474"/>
              <a:gd name="connsiteY476" fmla="*/ 5023168 h 6858000"/>
              <a:gd name="connsiteX477" fmla="*/ 5878646 w 9595474"/>
              <a:gd name="connsiteY477" fmla="*/ 5028248 h 6858000"/>
              <a:gd name="connsiteX478" fmla="*/ 5874509 w 9595474"/>
              <a:gd name="connsiteY478" fmla="*/ 5032693 h 6858000"/>
              <a:gd name="connsiteX479" fmla="*/ 5870075 w 9595474"/>
              <a:gd name="connsiteY479" fmla="*/ 5037455 h 6858000"/>
              <a:gd name="connsiteX480" fmla="*/ 5865346 w 9595474"/>
              <a:gd name="connsiteY480" fmla="*/ 5041900 h 6858000"/>
              <a:gd name="connsiteX481" fmla="*/ 5860617 w 9595474"/>
              <a:gd name="connsiteY481" fmla="*/ 5046028 h 6858000"/>
              <a:gd name="connsiteX482" fmla="*/ 5855592 w 9595474"/>
              <a:gd name="connsiteY482" fmla="*/ 5050155 h 6858000"/>
              <a:gd name="connsiteX483" fmla="*/ 5850567 w 9595474"/>
              <a:gd name="connsiteY483" fmla="*/ 5053648 h 6858000"/>
              <a:gd name="connsiteX484" fmla="*/ 5845247 w 9595474"/>
              <a:gd name="connsiteY484" fmla="*/ 5056823 h 6858000"/>
              <a:gd name="connsiteX485" fmla="*/ 5839926 w 9595474"/>
              <a:gd name="connsiteY485" fmla="*/ 5059680 h 6858000"/>
              <a:gd name="connsiteX486" fmla="*/ 5834311 w 9595474"/>
              <a:gd name="connsiteY486" fmla="*/ 5062538 h 6858000"/>
              <a:gd name="connsiteX487" fmla="*/ 5828695 w 9595474"/>
              <a:gd name="connsiteY487" fmla="*/ 5064760 h 6858000"/>
              <a:gd name="connsiteX488" fmla="*/ 5823375 w 9595474"/>
              <a:gd name="connsiteY488" fmla="*/ 5066983 h 6858000"/>
              <a:gd name="connsiteX489" fmla="*/ 5817463 w 9595474"/>
              <a:gd name="connsiteY489" fmla="*/ 5069205 h 6858000"/>
              <a:gd name="connsiteX490" fmla="*/ 5811552 w 9595474"/>
              <a:gd name="connsiteY490" fmla="*/ 5070475 h 6858000"/>
              <a:gd name="connsiteX491" fmla="*/ 5805640 w 9595474"/>
              <a:gd name="connsiteY491" fmla="*/ 5071428 h 6858000"/>
              <a:gd name="connsiteX492" fmla="*/ 5800024 w 9595474"/>
              <a:gd name="connsiteY492" fmla="*/ 5072698 h 6858000"/>
              <a:gd name="connsiteX493" fmla="*/ 5793817 w 9595474"/>
              <a:gd name="connsiteY493" fmla="*/ 5073333 h 6858000"/>
              <a:gd name="connsiteX494" fmla="*/ 5787610 w 9595474"/>
              <a:gd name="connsiteY494" fmla="*/ 5073650 h 6858000"/>
              <a:gd name="connsiteX495" fmla="*/ 5781994 w 9595474"/>
              <a:gd name="connsiteY495" fmla="*/ 5073968 h 6858000"/>
              <a:gd name="connsiteX496" fmla="*/ 5775787 w 9595474"/>
              <a:gd name="connsiteY496" fmla="*/ 5073650 h 6858000"/>
              <a:gd name="connsiteX497" fmla="*/ 5770171 w 9595474"/>
              <a:gd name="connsiteY497" fmla="*/ 5073333 h 6858000"/>
              <a:gd name="connsiteX498" fmla="*/ 5763965 w 9595474"/>
              <a:gd name="connsiteY498" fmla="*/ 5072698 h 6858000"/>
              <a:gd name="connsiteX499" fmla="*/ 5758349 w 9595474"/>
              <a:gd name="connsiteY499" fmla="*/ 5071428 h 6858000"/>
              <a:gd name="connsiteX500" fmla="*/ 5752141 w 9595474"/>
              <a:gd name="connsiteY500" fmla="*/ 5070475 h 6858000"/>
              <a:gd name="connsiteX501" fmla="*/ 5746526 w 9595474"/>
              <a:gd name="connsiteY501" fmla="*/ 5069205 h 6858000"/>
              <a:gd name="connsiteX502" fmla="*/ 5740614 w 9595474"/>
              <a:gd name="connsiteY502" fmla="*/ 5066983 h 6858000"/>
              <a:gd name="connsiteX503" fmla="*/ 5734998 w 9595474"/>
              <a:gd name="connsiteY503" fmla="*/ 5064760 h 6858000"/>
              <a:gd name="connsiteX504" fmla="*/ 5729382 w 9595474"/>
              <a:gd name="connsiteY504" fmla="*/ 5062538 h 6858000"/>
              <a:gd name="connsiteX505" fmla="*/ 5723767 w 9595474"/>
              <a:gd name="connsiteY505" fmla="*/ 5059680 h 6858000"/>
              <a:gd name="connsiteX506" fmla="*/ 5718446 w 9595474"/>
              <a:gd name="connsiteY506" fmla="*/ 5056823 h 6858000"/>
              <a:gd name="connsiteX507" fmla="*/ 5713421 w 9595474"/>
              <a:gd name="connsiteY507" fmla="*/ 5053648 h 6858000"/>
              <a:gd name="connsiteX508" fmla="*/ 5708396 w 9595474"/>
              <a:gd name="connsiteY508" fmla="*/ 5050155 h 6858000"/>
              <a:gd name="connsiteX509" fmla="*/ 5703372 w 9595474"/>
              <a:gd name="connsiteY509" fmla="*/ 5046028 h 6858000"/>
              <a:gd name="connsiteX510" fmla="*/ 5698347 w 9595474"/>
              <a:gd name="connsiteY510" fmla="*/ 5041900 h 6858000"/>
              <a:gd name="connsiteX511" fmla="*/ 5693618 w 9595474"/>
              <a:gd name="connsiteY511" fmla="*/ 5037455 h 6858000"/>
              <a:gd name="connsiteX512" fmla="*/ 5598148 w 9595474"/>
              <a:gd name="connsiteY512" fmla="*/ 4941888 h 6858000"/>
              <a:gd name="connsiteX513" fmla="*/ 5490560 w 9595474"/>
              <a:gd name="connsiteY513" fmla="*/ 4834573 h 6858000"/>
              <a:gd name="connsiteX514" fmla="*/ 5485830 w 9595474"/>
              <a:gd name="connsiteY514" fmla="*/ 4830128 h 6858000"/>
              <a:gd name="connsiteX515" fmla="*/ 5481397 w 9595474"/>
              <a:gd name="connsiteY515" fmla="*/ 4826000 h 6858000"/>
              <a:gd name="connsiteX516" fmla="*/ 5476372 w 9595474"/>
              <a:gd name="connsiteY516" fmla="*/ 4821873 h 6858000"/>
              <a:gd name="connsiteX517" fmla="*/ 5471348 w 9595474"/>
              <a:gd name="connsiteY517" fmla="*/ 4818380 h 6858000"/>
              <a:gd name="connsiteX518" fmla="*/ 5465732 w 9595474"/>
              <a:gd name="connsiteY518" fmla="*/ 4815205 h 6858000"/>
              <a:gd name="connsiteX519" fmla="*/ 5460411 w 9595474"/>
              <a:gd name="connsiteY519" fmla="*/ 4812348 h 6858000"/>
              <a:gd name="connsiteX520" fmla="*/ 5455091 w 9595474"/>
              <a:gd name="connsiteY520" fmla="*/ 4809173 h 6858000"/>
              <a:gd name="connsiteX521" fmla="*/ 5449475 w 9595474"/>
              <a:gd name="connsiteY521" fmla="*/ 4807268 h 6858000"/>
              <a:gd name="connsiteX522" fmla="*/ 5443563 w 9595474"/>
              <a:gd name="connsiteY522" fmla="*/ 4805045 h 6858000"/>
              <a:gd name="connsiteX523" fmla="*/ 5437948 w 9595474"/>
              <a:gd name="connsiteY523" fmla="*/ 4802823 h 6858000"/>
              <a:gd name="connsiteX524" fmla="*/ 5432036 w 9595474"/>
              <a:gd name="connsiteY524" fmla="*/ 4801553 h 6858000"/>
              <a:gd name="connsiteX525" fmla="*/ 5426420 w 9595474"/>
              <a:gd name="connsiteY525" fmla="*/ 4800283 h 6858000"/>
              <a:gd name="connsiteX526" fmla="*/ 5420509 w 9595474"/>
              <a:gd name="connsiteY526" fmla="*/ 4799330 h 6858000"/>
              <a:gd name="connsiteX527" fmla="*/ 5414597 w 9595474"/>
              <a:gd name="connsiteY527" fmla="*/ 4798695 h 6858000"/>
              <a:gd name="connsiteX528" fmla="*/ 5408391 w 9595474"/>
              <a:gd name="connsiteY528" fmla="*/ 4798060 h 6858000"/>
              <a:gd name="connsiteX529" fmla="*/ 5402775 w 9595474"/>
              <a:gd name="connsiteY529" fmla="*/ 4797743 h 6858000"/>
              <a:gd name="connsiteX530" fmla="*/ 5396568 w 9595474"/>
              <a:gd name="connsiteY530" fmla="*/ 4798060 h 6858000"/>
              <a:gd name="connsiteX531" fmla="*/ 5390361 w 9595474"/>
              <a:gd name="connsiteY531" fmla="*/ 4798695 h 6858000"/>
              <a:gd name="connsiteX532" fmla="*/ 5384745 w 9595474"/>
              <a:gd name="connsiteY532" fmla="*/ 4799330 h 6858000"/>
              <a:gd name="connsiteX533" fmla="*/ 5378538 w 9595474"/>
              <a:gd name="connsiteY533" fmla="*/ 4800283 h 6858000"/>
              <a:gd name="connsiteX534" fmla="*/ 5372922 w 9595474"/>
              <a:gd name="connsiteY534" fmla="*/ 4801553 h 6858000"/>
              <a:gd name="connsiteX535" fmla="*/ 5367010 w 9595474"/>
              <a:gd name="connsiteY535" fmla="*/ 4802823 h 6858000"/>
              <a:gd name="connsiteX536" fmla="*/ 5361394 w 9595474"/>
              <a:gd name="connsiteY536" fmla="*/ 4805045 h 6858000"/>
              <a:gd name="connsiteX537" fmla="*/ 5355483 w 9595474"/>
              <a:gd name="connsiteY537" fmla="*/ 4807268 h 6858000"/>
              <a:gd name="connsiteX538" fmla="*/ 5350163 w 9595474"/>
              <a:gd name="connsiteY538" fmla="*/ 4809173 h 6858000"/>
              <a:gd name="connsiteX539" fmla="*/ 5344547 w 9595474"/>
              <a:gd name="connsiteY539" fmla="*/ 4812348 h 6858000"/>
              <a:gd name="connsiteX540" fmla="*/ 5338931 w 9595474"/>
              <a:gd name="connsiteY540" fmla="*/ 4815205 h 6858000"/>
              <a:gd name="connsiteX541" fmla="*/ 5333906 w 9595474"/>
              <a:gd name="connsiteY541" fmla="*/ 4818380 h 6858000"/>
              <a:gd name="connsiteX542" fmla="*/ 5328881 w 9595474"/>
              <a:gd name="connsiteY542" fmla="*/ 4821873 h 6858000"/>
              <a:gd name="connsiteX543" fmla="*/ 5323857 w 9595474"/>
              <a:gd name="connsiteY543" fmla="*/ 4826000 h 6858000"/>
              <a:gd name="connsiteX544" fmla="*/ 5318832 w 9595474"/>
              <a:gd name="connsiteY544" fmla="*/ 4830128 h 6858000"/>
              <a:gd name="connsiteX545" fmla="*/ 5314398 w 9595474"/>
              <a:gd name="connsiteY545" fmla="*/ 4834573 h 6858000"/>
              <a:gd name="connsiteX546" fmla="*/ 5307305 w 9595474"/>
              <a:gd name="connsiteY546" fmla="*/ 4841875 h 6858000"/>
              <a:gd name="connsiteX547" fmla="*/ 5301393 w 9595474"/>
              <a:gd name="connsiteY547" fmla="*/ 4849813 h 6858000"/>
              <a:gd name="connsiteX548" fmla="*/ 5295482 w 9595474"/>
              <a:gd name="connsiteY548" fmla="*/ 4858068 h 6858000"/>
              <a:gd name="connsiteX549" fmla="*/ 5291048 w 9595474"/>
              <a:gd name="connsiteY549" fmla="*/ 4867275 h 6858000"/>
              <a:gd name="connsiteX550" fmla="*/ 5286910 w 9595474"/>
              <a:gd name="connsiteY550" fmla="*/ 4875848 h 6858000"/>
              <a:gd name="connsiteX551" fmla="*/ 5283659 w 9595474"/>
              <a:gd name="connsiteY551" fmla="*/ 4885055 h 6858000"/>
              <a:gd name="connsiteX552" fmla="*/ 5281294 w 9595474"/>
              <a:gd name="connsiteY552" fmla="*/ 4894580 h 6858000"/>
              <a:gd name="connsiteX553" fmla="*/ 5279521 w 9595474"/>
              <a:gd name="connsiteY553" fmla="*/ 4903788 h 6858000"/>
              <a:gd name="connsiteX554" fmla="*/ 5278339 w 9595474"/>
              <a:gd name="connsiteY554" fmla="*/ 4913630 h 6858000"/>
              <a:gd name="connsiteX555" fmla="*/ 5278339 w 9595474"/>
              <a:gd name="connsiteY555" fmla="*/ 4923155 h 6858000"/>
              <a:gd name="connsiteX556" fmla="*/ 5278634 w 9595474"/>
              <a:gd name="connsiteY556" fmla="*/ 4932998 h 6858000"/>
              <a:gd name="connsiteX557" fmla="*/ 5279816 w 9595474"/>
              <a:gd name="connsiteY557" fmla="*/ 4942205 h 6858000"/>
              <a:gd name="connsiteX558" fmla="*/ 5281885 w 9595474"/>
              <a:gd name="connsiteY558" fmla="*/ 4952048 h 6858000"/>
              <a:gd name="connsiteX559" fmla="*/ 5284546 w 9595474"/>
              <a:gd name="connsiteY559" fmla="*/ 4960938 h 6858000"/>
              <a:gd name="connsiteX560" fmla="*/ 5288092 w 9595474"/>
              <a:gd name="connsiteY560" fmla="*/ 4970145 h 6858000"/>
              <a:gd name="connsiteX561" fmla="*/ 5291935 w 9595474"/>
              <a:gd name="connsiteY561" fmla="*/ 4979353 h 6858000"/>
              <a:gd name="connsiteX562" fmla="*/ 5583665 w 9595474"/>
              <a:gd name="connsiteY562" fmla="*/ 5270500 h 6858000"/>
              <a:gd name="connsiteX563" fmla="*/ 5588098 w 9595474"/>
              <a:gd name="connsiteY563" fmla="*/ 5275263 h 6858000"/>
              <a:gd name="connsiteX564" fmla="*/ 5592237 w 9595474"/>
              <a:gd name="connsiteY564" fmla="*/ 5280343 h 6858000"/>
              <a:gd name="connsiteX565" fmla="*/ 5595784 w 9595474"/>
              <a:gd name="connsiteY565" fmla="*/ 5284788 h 6858000"/>
              <a:gd name="connsiteX566" fmla="*/ 5599626 w 9595474"/>
              <a:gd name="connsiteY566" fmla="*/ 5290185 h 6858000"/>
              <a:gd name="connsiteX567" fmla="*/ 5602582 w 9595474"/>
              <a:gd name="connsiteY567" fmla="*/ 5295265 h 6858000"/>
              <a:gd name="connsiteX568" fmla="*/ 5605833 w 9595474"/>
              <a:gd name="connsiteY568" fmla="*/ 5300663 h 6858000"/>
              <a:gd name="connsiteX569" fmla="*/ 5608493 w 9595474"/>
              <a:gd name="connsiteY569" fmla="*/ 5306060 h 6858000"/>
              <a:gd name="connsiteX570" fmla="*/ 5610857 w 9595474"/>
              <a:gd name="connsiteY570" fmla="*/ 5311775 h 6858000"/>
              <a:gd name="connsiteX571" fmla="*/ 5613222 w 9595474"/>
              <a:gd name="connsiteY571" fmla="*/ 5317490 h 6858000"/>
              <a:gd name="connsiteX572" fmla="*/ 5614996 w 9595474"/>
              <a:gd name="connsiteY572" fmla="*/ 5323523 h 6858000"/>
              <a:gd name="connsiteX573" fmla="*/ 5616474 w 9595474"/>
              <a:gd name="connsiteY573" fmla="*/ 5329238 h 6858000"/>
              <a:gd name="connsiteX574" fmla="*/ 5617656 w 9595474"/>
              <a:gd name="connsiteY574" fmla="*/ 5334953 h 6858000"/>
              <a:gd name="connsiteX575" fmla="*/ 5618838 w 9595474"/>
              <a:gd name="connsiteY575" fmla="*/ 5340985 h 6858000"/>
              <a:gd name="connsiteX576" fmla="*/ 5619725 w 9595474"/>
              <a:gd name="connsiteY576" fmla="*/ 5346700 h 6858000"/>
              <a:gd name="connsiteX577" fmla="*/ 5620021 w 9595474"/>
              <a:gd name="connsiteY577" fmla="*/ 5352733 h 6858000"/>
              <a:gd name="connsiteX578" fmla="*/ 5620021 w 9595474"/>
              <a:gd name="connsiteY578" fmla="*/ 5359083 h 6858000"/>
              <a:gd name="connsiteX579" fmla="*/ 5620021 w 9595474"/>
              <a:gd name="connsiteY579" fmla="*/ 5364798 h 6858000"/>
              <a:gd name="connsiteX580" fmla="*/ 5619725 w 9595474"/>
              <a:gd name="connsiteY580" fmla="*/ 5370830 h 6858000"/>
              <a:gd name="connsiteX581" fmla="*/ 5618838 w 9595474"/>
              <a:gd name="connsiteY581" fmla="*/ 5376545 h 6858000"/>
              <a:gd name="connsiteX582" fmla="*/ 5617656 w 9595474"/>
              <a:gd name="connsiteY582" fmla="*/ 5382578 h 6858000"/>
              <a:gd name="connsiteX583" fmla="*/ 5616474 w 9595474"/>
              <a:gd name="connsiteY583" fmla="*/ 5388293 h 6858000"/>
              <a:gd name="connsiteX584" fmla="*/ 5614996 w 9595474"/>
              <a:gd name="connsiteY584" fmla="*/ 5394008 h 6858000"/>
              <a:gd name="connsiteX585" fmla="*/ 5613222 w 9595474"/>
              <a:gd name="connsiteY585" fmla="*/ 5400040 h 6858000"/>
              <a:gd name="connsiteX586" fmla="*/ 5610857 w 9595474"/>
              <a:gd name="connsiteY586" fmla="*/ 5405755 h 6858000"/>
              <a:gd name="connsiteX587" fmla="*/ 5608493 w 9595474"/>
              <a:gd name="connsiteY587" fmla="*/ 5411470 h 6858000"/>
              <a:gd name="connsiteX588" fmla="*/ 5605833 w 9595474"/>
              <a:gd name="connsiteY588" fmla="*/ 5416868 h 6858000"/>
              <a:gd name="connsiteX589" fmla="*/ 5602582 w 9595474"/>
              <a:gd name="connsiteY589" fmla="*/ 5422265 h 6858000"/>
              <a:gd name="connsiteX590" fmla="*/ 5599626 w 9595474"/>
              <a:gd name="connsiteY590" fmla="*/ 5427663 h 6858000"/>
              <a:gd name="connsiteX591" fmla="*/ 5595784 w 9595474"/>
              <a:gd name="connsiteY591" fmla="*/ 5432743 h 6858000"/>
              <a:gd name="connsiteX592" fmla="*/ 5592237 w 9595474"/>
              <a:gd name="connsiteY592" fmla="*/ 5437505 h 6858000"/>
              <a:gd name="connsiteX593" fmla="*/ 5588098 w 9595474"/>
              <a:gd name="connsiteY593" fmla="*/ 5442268 h 6858000"/>
              <a:gd name="connsiteX594" fmla="*/ 5583665 w 9595474"/>
              <a:gd name="connsiteY594" fmla="*/ 5447030 h 6858000"/>
              <a:gd name="connsiteX595" fmla="*/ 5578936 w 9595474"/>
              <a:gd name="connsiteY595" fmla="*/ 5451158 h 6858000"/>
              <a:gd name="connsiteX596" fmla="*/ 5573911 w 9595474"/>
              <a:gd name="connsiteY596" fmla="*/ 5455603 h 6858000"/>
              <a:gd name="connsiteX597" fmla="*/ 5569182 w 9595474"/>
              <a:gd name="connsiteY597" fmla="*/ 5459095 h 6858000"/>
              <a:gd name="connsiteX598" fmla="*/ 5563862 w 9595474"/>
              <a:gd name="connsiteY598" fmla="*/ 5462905 h 6858000"/>
              <a:gd name="connsiteX599" fmla="*/ 5558837 w 9595474"/>
              <a:gd name="connsiteY599" fmla="*/ 5466080 h 6858000"/>
              <a:gd name="connsiteX600" fmla="*/ 5553517 w 9595474"/>
              <a:gd name="connsiteY600" fmla="*/ 5469255 h 6858000"/>
              <a:gd name="connsiteX601" fmla="*/ 5548196 w 9595474"/>
              <a:gd name="connsiteY601" fmla="*/ 5471795 h 6858000"/>
              <a:gd name="connsiteX602" fmla="*/ 5542285 w 9595474"/>
              <a:gd name="connsiteY602" fmla="*/ 5474335 h 6858000"/>
              <a:gd name="connsiteX603" fmla="*/ 5536964 w 9595474"/>
              <a:gd name="connsiteY603" fmla="*/ 5476558 h 6858000"/>
              <a:gd name="connsiteX604" fmla="*/ 5531348 w 9595474"/>
              <a:gd name="connsiteY604" fmla="*/ 5478145 h 6858000"/>
              <a:gd name="connsiteX605" fmla="*/ 5525437 w 9595474"/>
              <a:gd name="connsiteY605" fmla="*/ 5479733 h 6858000"/>
              <a:gd name="connsiteX606" fmla="*/ 5519230 w 9595474"/>
              <a:gd name="connsiteY606" fmla="*/ 5481003 h 6858000"/>
              <a:gd name="connsiteX607" fmla="*/ 5513614 w 9595474"/>
              <a:gd name="connsiteY607" fmla="*/ 5482273 h 6858000"/>
              <a:gd name="connsiteX608" fmla="*/ 5507999 w 9595474"/>
              <a:gd name="connsiteY608" fmla="*/ 5482908 h 6858000"/>
              <a:gd name="connsiteX609" fmla="*/ 5501791 w 9595474"/>
              <a:gd name="connsiteY609" fmla="*/ 5483225 h 6858000"/>
              <a:gd name="connsiteX610" fmla="*/ 5495585 w 9595474"/>
              <a:gd name="connsiteY610" fmla="*/ 5483543 h 6858000"/>
              <a:gd name="connsiteX611" fmla="*/ 6873545 w 9595474"/>
              <a:gd name="connsiteY611" fmla="*/ 6858000 h 6858000"/>
              <a:gd name="connsiteX612" fmla="*/ 9595474 w 9595474"/>
              <a:gd name="connsiteY612" fmla="*/ 6858000 h 6858000"/>
              <a:gd name="connsiteX613" fmla="*/ 9595474 w 9595474"/>
              <a:gd name="connsiteY613" fmla="*/ 0 h 6858000"/>
              <a:gd name="connsiteX0" fmla="*/ 9595474 w 9595474"/>
              <a:gd name="connsiteY0" fmla="*/ 0 h 6858000"/>
              <a:gd name="connsiteX1" fmla="*/ 0 w 9595474"/>
              <a:gd name="connsiteY1" fmla="*/ 0 h 6858000"/>
              <a:gd name="connsiteX2" fmla="*/ 692823 w 9595474"/>
              <a:gd name="connsiteY2" fmla="*/ 691198 h 6858000"/>
              <a:gd name="connsiteX3" fmla="*/ 691345 w 9595474"/>
              <a:gd name="connsiteY3" fmla="*/ 683895 h 6858000"/>
              <a:gd name="connsiteX4" fmla="*/ 690754 w 9595474"/>
              <a:gd name="connsiteY4" fmla="*/ 676275 h 6858000"/>
              <a:gd name="connsiteX5" fmla="*/ 690754 w 9595474"/>
              <a:gd name="connsiteY5" fmla="*/ 669290 h 6858000"/>
              <a:gd name="connsiteX6" fmla="*/ 690754 w 9595474"/>
              <a:gd name="connsiteY6" fmla="*/ 661988 h 6858000"/>
              <a:gd name="connsiteX7" fmla="*/ 691345 w 9595474"/>
              <a:gd name="connsiteY7" fmla="*/ 654368 h 6858000"/>
              <a:gd name="connsiteX8" fmla="*/ 692527 w 9595474"/>
              <a:gd name="connsiteY8" fmla="*/ 647383 h 6858000"/>
              <a:gd name="connsiteX9" fmla="*/ 694005 w 9595474"/>
              <a:gd name="connsiteY9" fmla="*/ 640080 h 6858000"/>
              <a:gd name="connsiteX10" fmla="*/ 695778 w 9595474"/>
              <a:gd name="connsiteY10" fmla="*/ 633095 h 6858000"/>
              <a:gd name="connsiteX11" fmla="*/ 698143 w 9595474"/>
              <a:gd name="connsiteY11" fmla="*/ 625793 h 6858000"/>
              <a:gd name="connsiteX12" fmla="*/ 700803 w 9595474"/>
              <a:gd name="connsiteY12" fmla="*/ 618808 h 6858000"/>
              <a:gd name="connsiteX13" fmla="*/ 704054 w 9595474"/>
              <a:gd name="connsiteY13" fmla="*/ 612140 h 6858000"/>
              <a:gd name="connsiteX14" fmla="*/ 707601 w 9595474"/>
              <a:gd name="connsiteY14" fmla="*/ 605790 h 6858000"/>
              <a:gd name="connsiteX15" fmla="*/ 712035 w 9595474"/>
              <a:gd name="connsiteY15" fmla="*/ 599123 h 6858000"/>
              <a:gd name="connsiteX16" fmla="*/ 716173 w 9595474"/>
              <a:gd name="connsiteY16" fmla="*/ 592773 h 6858000"/>
              <a:gd name="connsiteX17" fmla="*/ 721198 w 9595474"/>
              <a:gd name="connsiteY17" fmla="*/ 587058 h 6858000"/>
              <a:gd name="connsiteX18" fmla="*/ 726518 w 9595474"/>
              <a:gd name="connsiteY18" fmla="*/ 581343 h 6858000"/>
              <a:gd name="connsiteX19" fmla="*/ 731247 w 9595474"/>
              <a:gd name="connsiteY19" fmla="*/ 576898 h 6858000"/>
              <a:gd name="connsiteX20" fmla="*/ 735976 w 9595474"/>
              <a:gd name="connsiteY20" fmla="*/ 572453 h 6858000"/>
              <a:gd name="connsiteX21" fmla="*/ 741001 w 9595474"/>
              <a:gd name="connsiteY21" fmla="*/ 568960 h 6858000"/>
              <a:gd name="connsiteX22" fmla="*/ 746026 w 9595474"/>
              <a:gd name="connsiteY22" fmla="*/ 565468 h 6858000"/>
              <a:gd name="connsiteX23" fmla="*/ 751050 w 9595474"/>
              <a:gd name="connsiteY23" fmla="*/ 562293 h 6858000"/>
              <a:gd name="connsiteX24" fmla="*/ 756371 w 9595474"/>
              <a:gd name="connsiteY24" fmla="*/ 558800 h 6858000"/>
              <a:gd name="connsiteX25" fmla="*/ 761691 w 9595474"/>
              <a:gd name="connsiteY25" fmla="*/ 556578 h 6858000"/>
              <a:gd name="connsiteX26" fmla="*/ 767602 w 9595474"/>
              <a:gd name="connsiteY26" fmla="*/ 554038 h 6858000"/>
              <a:gd name="connsiteX27" fmla="*/ 772923 w 9595474"/>
              <a:gd name="connsiteY27" fmla="*/ 551815 h 6858000"/>
              <a:gd name="connsiteX28" fmla="*/ 778834 w 9595474"/>
              <a:gd name="connsiteY28" fmla="*/ 549910 h 6858000"/>
              <a:gd name="connsiteX29" fmla="*/ 784450 w 9595474"/>
              <a:gd name="connsiteY29" fmla="*/ 548640 h 6858000"/>
              <a:gd name="connsiteX30" fmla="*/ 790066 w 9595474"/>
              <a:gd name="connsiteY30" fmla="*/ 547370 h 6858000"/>
              <a:gd name="connsiteX31" fmla="*/ 795977 w 9595474"/>
              <a:gd name="connsiteY31" fmla="*/ 546418 h 6858000"/>
              <a:gd name="connsiteX32" fmla="*/ 802184 w 9595474"/>
              <a:gd name="connsiteY32" fmla="*/ 545783 h 6858000"/>
              <a:gd name="connsiteX33" fmla="*/ 807800 w 9595474"/>
              <a:gd name="connsiteY33" fmla="*/ 545465 h 6858000"/>
              <a:gd name="connsiteX34" fmla="*/ 814007 w 9595474"/>
              <a:gd name="connsiteY34" fmla="*/ 544830 h 6858000"/>
              <a:gd name="connsiteX35" fmla="*/ 819623 w 9595474"/>
              <a:gd name="connsiteY35" fmla="*/ 545465 h 6858000"/>
              <a:gd name="connsiteX36" fmla="*/ 825830 w 9595474"/>
              <a:gd name="connsiteY36" fmla="*/ 545783 h 6858000"/>
              <a:gd name="connsiteX37" fmla="*/ 831446 w 9595474"/>
              <a:gd name="connsiteY37" fmla="*/ 546418 h 6858000"/>
              <a:gd name="connsiteX38" fmla="*/ 837358 w 9595474"/>
              <a:gd name="connsiteY38" fmla="*/ 547370 h 6858000"/>
              <a:gd name="connsiteX39" fmla="*/ 842974 w 9595474"/>
              <a:gd name="connsiteY39" fmla="*/ 548640 h 6858000"/>
              <a:gd name="connsiteX40" fmla="*/ 848885 w 9595474"/>
              <a:gd name="connsiteY40" fmla="*/ 549910 h 6858000"/>
              <a:gd name="connsiteX41" fmla="*/ 854501 w 9595474"/>
              <a:gd name="connsiteY41" fmla="*/ 551815 h 6858000"/>
              <a:gd name="connsiteX42" fmla="*/ 860117 w 9595474"/>
              <a:gd name="connsiteY42" fmla="*/ 554038 h 6858000"/>
              <a:gd name="connsiteX43" fmla="*/ 865733 w 9595474"/>
              <a:gd name="connsiteY43" fmla="*/ 556578 h 6858000"/>
              <a:gd name="connsiteX44" fmla="*/ 871053 w 9595474"/>
              <a:gd name="connsiteY44" fmla="*/ 558800 h 6858000"/>
              <a:gd name="connsiteX45" fmla="*/ 876373 w 9595474"/>
              <a:gd name="connsiteY45" fmla="*/ 562293 h 6858000"/>
              <a:gd name="connsiteX46" fmla="*/ 881398 w 9595474"/>
              <a:gd name="connsiteY46" fmla="*/ 565468 h 6858000"/>
              <a:gd name="connsiteX47" fmla="*/ 886718 w 9595474"/>
              <a:gd name="connsiteY47" fmla="*/ 568960 h 6858000"/>
              <a:gd name="connsiteX48" fmla="*/ 891447 w 9595474"/>
              <a:gd name="connsiteY48" fmla="*/ 572453 h 6858000"/>
              <a:gd name="connsiteX49" fmla="*/ 896177 w 9595474"/>
              <a:gd name="connsiteY49" fmla="*/ 576898 h 6858000"/>
              <a:gd name="connsiteX50" fmla="*/ 900906 w 9595474"/>
              <a:gd name="connsiteY50" fmla="*/ 581343 h 6858000"/>
              <a:gd name="connsiteX51" fmla="*/ 1431459 w 9595474"/>
              <a:gd name="connsiteY51" fmla="*/ 1111568 h 6858000"/>
              <a:gd name="connsiteX52" fmla="*/ 2394731 w 9595474"/>
              <a:gd name="connsiteY52" fmla="*/ 2074863 h 6858000"/>
              <a:gd name="connsiteX53" fmla="*/ 2399164 w 9595474"/>
              <a:gd name="connsiteY53" fmla="*/ 2079308 h 6858000"/>
              <a:gd name="connsiteX54" fmla="*/ 2404189 w 9595474"/>
              <a:gd name="connsiteY54" fmla="*/ 2083435 h 6858000"/>
              <a:gd name="connsiteX55" fmla="*/ 2408918 w 9595474"/>
              <a:gd name="connsiteY55" fmla="*/ 2087245 h 6858000"/>
              <a:gd name="connsiteX56" fmla="*/ 2413943 w 9595474"/>
              <a:gd name="connsiteY56" fmla="*/ 2090738 h 6858000"/>
              <a:gd name="connsiteX57" fmla="*/ 2419263 w 9595474"/>
              <a:gd name="connsiteY57" fmla="*/ 2093913 h 6858000"/>
              <a:gd name="connsiteX58" fmla="*/ 2424583 w 9595474"/>
              <a:gd name="connsiteY58" fmla="*/ 2096770 h 6858000"/>
              <a:gd name="connsiteX59" fmla="*/ 2430199 w 9595474"/>
              <a:gd name="connsiteY59" fmla="*/ 2099628 h 6858000"/>
              <a:gd name="connsiteX60" fmla="*/ 2435520 w 9595474"/>
              <a:gd name="connsiteY60" fmla="*/ 2101850 h 6858000"/>
              <a:gd name="connsiteX61" fmla="*/ 2441136 w 9595474"/>
              <a:gd name="connsiteY61" fmla="*/ 2104073 h 6858000"/>
              <a:gd name="connsiteX62" fmla="*/ 2447047 w 9595474"/>
              <a:gd name="connsiteY62" fmla="*/ 2105660 h 6858000"/>
              <a:gd name="connsiteX63" fmla="*/ 2452663 w 9595474"/>
              <a:gd name="connsiteY63" fmla="*/ 2107565 h 6858000"/>
              <a:gd name="connsiteX64" fmla="*/ 2458574 w 9595474"/>
              <a:gd name="connsiteY64" fmla="*/ 2108518 h 6858000"/>
              <a:gd name="connsiteX65" fmla="*/ 2464190 w 9595474"/>
              <a:gd name="connsiteY65" fmla="*/ 2109788 h 6858000"/>
              <a:gd name="connsiteX66" fmla="*/ 2469806 w 9595474"/>
              <a:gd name="connsiteY66" fmla="*/ 2110423 h 6858000"/>
              <a:gd name="connsiteX67" fmla="*/ 2476013 w 9595474"/>
              <a:gd name="connsiteY67" fmla="*/ 2110740 h 6858000"/>
              <a:gd name="connsiteX68" fmla="*/ 2481925 w 9595474"/>
              <a:gd name="connsiteY68" fmla="*/ 2111058 h 6858000"/>
              <a:gd name="connsiteX69" fmla="*/ 2487836 w 9595474"/>
              <a:gd name="connsiteY69" fmla="*/ 2110740 h 6858000"/>
              <a:gd name="connsiteX70" fmla="*/ 2493747 w 9595474"/>
              <a:gd name="connsiteY70" fmla="*/ 2110423 h 6858000"/>
              <a:gd name="connsiteX71" fmla="*/ 2499363 w 9595474"/>
              <a:gd name="connsiteY71" fmla="*/ 2109788 h 6858000"/>
              <a:gd name="connsiteX72" fmla="*/ 2505570 w 9595474"/>
              <a:gd name="connsiteY72" fmla="*/ 2108518 h 6858000"/>
              <a:gd name="connsiteX73" fmla="*/ 2511186 w 9595474"/>
              <a:gd name="connsiteY73" fmla="*/ 2107565 h 6858000"/>
              <a:gd name="connsiteX74" fmla="*/ 2517098 w 9595474"/>
              <a:gd name="connsiteY74" fmla="*/ 2105660 h 6858000"/>
              <a:gd name="connsiteX75" fmla="*/ 2522714 w 9595474"/>
              <a:gd name="connsiteY75" fmla="*/ 2104073 h 6858000"/>
              <a:gd name="connsiteX76" fmla="*/ 2528034 w 9595474"/>
              <a:gd name="connsiteY76" fmla="*/ 2101850 h 6858000"/>
              <a:gd name="connsiteX77" fmla="*/ 2533945 w 9595474"/>
              <a:gd name="connsiteY77" fmla="*/ 2099628 h 6858000"/>
              <a:gd name="connsiteX78" fmla="*/ 2539266 w 9595474"/>
              <a:gd name="connsiteY78" fmla="*/ 2096770 h 6858000"/>
              <a:gd name="connsiteX79" fmla="*/ 2544290 w 9595474"/>
              <a:gd name="connsiteY79" fmla="*/ 2093913 h 6858000"/>
              <a:gd name="connsiteX80" fmla="*/ 2549611 w 9595474"/>
              <a:gd name="connsiteY80" fmla="*/ 2090738 h 6858000"/>
              <a:gd name="connsiteX81" fmla="*/ 2554635 w 9595474"/>
              <a:gd name="connsiteY81" fmla="*/ 2087245 h 6858000"/>
              <a:gd name="connsiteX82" fmla="*/ 2559660 w 9595474"/>
              <a:gd name="connsiteY82" fmla="*/ 2083435 h 6858000"/>
              <a:gd name="connsiteX83" fmla="*/ 2564389 w 9595474"/>
              <a:gd name="connsiteY83" fmla="*/ 2079308 h 6858000"/>
              <a:gd name="connsiteX84" fmla="*/ 2569119 w 9595474"/>
              <a:gd name="connsiteY84" fmla="*/ 2074863 h 6858000"/>
              <a:gd name="connsiteX85" fmla="*/ 2573257 w 9595474"/>
              <a:gd name="connsiteY85" fmla="*/ 2070100 h 6858000"/>
              <a:gd name="connsiteX86" fmla="*/ 2577395 w 9595474"/>
              <a:gd name="connsiteY86" fmla="*/ 2065655 h 6858000"/>
              <a:gd name="connsiteX87" fmla="*/ 2581237 w 9595474"/>
              <a:gd name="connsiteY87" fmla="*/ 2060575 h 6858000"/>
              <a:gd name="connsiteX88" fmla="*/ 2584784 w 9595474"/>
              <a:gd name="connsiteY88" fmla="*/ 2055495 h 6858000"/>
              <a:gd name="connsiteX89" fmla="*/ 2588035 w 9595474"/>
              <a:gd name="connsiteY89" fmla="*/ 2050415 h 6858000"/>
              <a:gd name="connsiteX90" fmla="*/ 2590991 w 9595474"/>
              <a:gd name="connsiteY90" fmla="*/ 2045018 h 6858000"/>
              <a:gd name="connsiteX91" fmla="*/ 2593651 w 9595474"/>
              <a:gd name="connsiteY91" fmla="*/ 2039620 h 6858000"/>
              <a:gd name="connsiteX92" fmla="*/ 2596016 w 9595474"/>
              <a:gd name="connsiteY92" fmla="*/ 2034223 h 6858000"/>
              <a:gd name="connsiteX93" fmla="*/ 2598085 w 9595474"/>
              <a:gd name="connsiteY93" fmla="*/ 2028508 h 6858000"/>
              <a:gd name="connsiteX94" fmla="*/ 2599858 w 9595474"/>
              <a:gd name="connsiteY94" fmla="*/ 2022793 h 6858000"/>
              <a:gd name="connsiteX95" fmla="*/ 2601336 w 9595474"/>
              <a:gd name="connsiteY95" fmla="*/ 2017078 h 6858000"/>
              <a:gd name="connsiteX96" fmla="*/ 2602814 w 9595474"/>
              <a:gd name="connsiteY96" fmla="*/ 2011363 h 6858000"/>
              <a:gd name="connsiteX97" fmla="*/ 2603996 w 9595474"/>
              <a:gd name="connsiteY97" fmla="*/ 2005648 h 6858000"/>
              <a:gd name="connsiteX98" fmla="*/ 2604587 w 9595474"/>
              <a:gd name="connsiteY98" fmla="*/ 1999615 h 6858000"/>
              <a:gd name="connsiteX99" fmla="*/ 2604883 w 9595474"/>
              <a:gd name="connsiteY99" fmla="*/ 1993583 h 6858000"/>
              <a:gd name="connsiteX100" fmla="*/ 2604883 w 9595474"/>
              <a:gd name="connsiteY100" fmla="*/ 1987550 h 6858000"/>
              <a:gd name="connsiteX101" fmla="*/ 2604883 w 9595474"/>
              <a:gd name="connsiteY101" fmla="*/ 1981835 h 6858000"/>
              <a:gd name="connsiteX102" fmla="*/ 2604587 w 9595474"/>
              <a:gd name="connsiteY102" fmla="*/ 1976120 h 6858000"/>
              <a:gd name="connsiteX103" fmla="*/ 2603996 w 9595474"/>
              <a:gd name="connsiteY103" fmla="*/ 1970088 h 6858000"/>
              <a:gd name="connsiteX104" fmla="*/ 2602814 w 9595474"/>
              <a:gd name="connsiteY104" fmla="*/ 1964373 h 6858000"/>
              <a:gd name="connsiteX105" fmla="*/ 2601336 w 9595474"/>
              <a:gd name="connsiteY105" fmla="*/ 1958658 h 6858000"/>
              <a:gd name="connsiteX106" fmla="*/ 2599858 w 9595474"/>
              <a:gd name="connsiteY106" fmla="*/ 1952625 h 6858000"/>
              <a:gd name="connsiteX107" fmla="*/ 2598085 w 9595474"/>
              <a:gd name="connsiteY107" fmla="*/ 1946910 h 6858000"/>
              <a:gd name="connsiteX108" fmla="*/ 2596016 w 9595474"/>
              <a:gd name="connsiteY108" fmla="*/ 1941195 h 6858000"/>
              <a:gd name="connsiteX109" fmla="*/ 2593651 w 9595474"/>
              <a:gd name="connsiteY109" fmla="*/ 1935798 h 6858000"/>
              <a:gd name="connsiteX110" fmla="*/ 2590991 w 9595474"/>
              <a:gd name="connsiteY110" fmla="*/ 1930400 h 6858000"/>
              <a:gd name="connsiteX111" fmla="*/ 2588035 w 9595474"/>
              <a:gd name="connsiteY111" fmla="*/ 1925003 h 6858000"/>
              <a:gd name="connsiteX112" fmla="*/ 2584784 w 9595474"/>
              <a:gd name="connsiteY112" fmla="*/ 1919923 h 6858000"/>
              <a:gd name="connsiteX113" fmla="*/ 2581237 w 9595474"/>
              <a:gd name="connsiteY113" fmla="*/ 1915160 h 6858000"/>
              <a:gd name="connsiteX114" fmla="*/ 2577395 w 9595474"/>
              <a:gd name="connsiteY114" fmla="*/ 1910080 h 6858000"/>
              <a:gd name="connsiteX115" fmla="*/ 2573257 w 9595474"/>
              <a:gd name="connsiteY115" fmla="*/ 1905318 h 6858000"/>
              <a:gd name="connsiteX116" fmla="*/ 2569119 w 9595474"/>
              <a:gd name="connsiteY116" fmla="*/ 1900555 h 6858000"/>
              <a:gd name="connsiteX117" fmla="*/ 1590477 w 9595474"/>
              <a:gd name="connsiteY117" fmla="*/ 922020 h 6858000"/>
              <a:gd name="connsiteX118" fmla="*/ 1272736 w 9595474"/>
              <a:gd name="connsiteY118" fmla="*/ 604203 h 6858000"/>
              <a:gd name="connsiteX119" fmla="*/ 1268303 w 9595474"/>
              <a:gd name="connsiteY119" fmla="*/ 599440 h 6858000"/>
              <a:gd name="connsiteX120" fmla="*/ 1264165 w 9595474"/>
              <a:gd name="connsiteY120" fmla="*/ 594995 h 6858000"/>
              <a:gd name="connsiteX121" fmla="*/ 1260322 w 9595474"/>
              <a:gd name="connsiteY121" fmla="*/ 589915 h 6858000"/>
              <a:gd name="connsiteX122" fmla="*/ 1256776 w 9595474"/>
              <a:gd name="connsiteY122" fmla="*/ 584835 h 6858000"/>
              <a:gd name="connsiteX123" fmla="*/ 1253524 w 9595474"/>
              <a:gd name="connsiteY123" fmla="*/ 579755 h 6858000"/>
              <a:gd name="connsiteX124" fmla="*/ 1250864 w 9595474"/>
              <a:gd name="connsiteY124" fmla="*/ 574358 h 6858000"/>
              <a:gd name="connsiteX125" fmla="*/ 1247908 w 9595474"/>
              <a:gd name="connsiteY125" fmla="*/ 568960 h 6858000"/>
              <a:gd name="connsiteX126" fmla="*/ 1245839 w 9595474"/>
              <a:gd name="connsiteY126" fmla="*/ 563563 h 6858000"/>
              <a:gd name="connsiteX127" fmla="*/ 1243475 w 9595474"/>
              <a:gd name="connsiteY127" fmla="*/ 557848 h 6858000"/>
              <a:gd name="connsiteX128" fmla="*/ 1241701 w 9595474"/>
              <a:gd name="connsiteY128" fmla="*/ 552133 h 6858000"/>
              <a:gd name="connsiteX129" fmla="*/ 1239928 w 9595474"/>
              <a:gd name="connsiteY129" fmla="*/ 546418 h 6858000"/>
              <a:gd name="connsiteX130" fmla="*/ 1238746 w 9595474"/>
              <a:gd name="connsiteY130" fmla="*/ 540703 h 6858000"/>
              <a:gd name="connsiteX131" fmla="*/ 1237859 w 9595474"/>
              <a:gd name="connsiteY131" fmla="*/ 534988 h 6858000"/>
              <a:gd name="connsiteX132" fmla="*/ 1236972 w 9595474"/>
              <a:gd name="connsiteY132" fmla="*/ 528638 h 6858000"/>
              <a:gd name="connsiteX133" fmla="*/ 1236677 w 9595474"/>
              <a:gd name="connsiteY133" fmla="*/ 522923 h 6858000"/>
              <a:gd name="connsiteX134" fmla="*/ 1236381 w 9595474"/>
              <a:gd name="connsiteY134" fmla="*/ 516890 h 6858000"/>
              <a:gd name="connsiteX135" fmla="*/ 1236677 w 9595474"/>
              <a:gd name="connsiteY135" fmla="*/ 511175 h 6858000"/>
              <a:gd name="connsiteX136" fmla="*/ 1236972 w 9595474"/>
              <a:gd name="connsiteY136" fmla="*/ 505460 h 6858000"/>
              <a:gd name="connsiteX137" fmla="*/ 1237859 w 9595474"/>
              <a:gd name="connsiteY137" fmla="*/ 499428 h 6858000"/>
              <a:gd name="connsiteX138" fmla="*/ 1238746 w 9595474"/>
              <a:gd name="connsiteY138" fmla="*/ 493713 h 6858000"/>
              <a:gd name="connsiteX139" fmla="*/ 1239928 w 9595474"/>
              <a:gd name="connsiteY139" fmla="*/ 487680 h 6858000"/>
              <a:gd name="connsiteX140" fmla="*/ 1241701 w 9595474"/>
              <a:gd name="connsiteY140" fmla="*/ 481965 h 6858000"/>
              <a:gd name="connsiteX141" fmla="*/ 1243475 w 9595474"/>
              <a:gd name="connsiteY141" fmla="*/ 476250 h 6858000"/>
              <a:gd name="connsiteX142" fmla="*/ 1245839 w 9595474"/>
              <a:gd name="connsiteY142" fmla="*/ 470535 h 6858000"/>
              <a:gd name="connsiteX143" fmla="*/ 1247908 w 9595474"/>
              <a:gd name="connsiteY143" fmla="*/ 465138 h 6858000"/>
              <a:gd name="connsiteX144" fmla="*/ 1250864 w 9595474"/>
              <a:gd name="connsiteY144" fmla="*/ 459740 h 6858000"/>
              <a:gd name="connsiteX145" fmla="*/ 1253524 w 9595474"/>
              <a:gd name="connsiteY145" fmla="*/ 454343 h 6858000"/>
              <a:gd name="connsiteX146" fmla="*/ 1256776 w 9595474"/>
              <a:gd name="connsiteY146" fmla="*/ 449263 h 6858000"/>
              <a:gd name="connsiteX147" fmla="*/ 1260322 w 9595474"/>
              <a:gd name="connsiteY147" fmla="*/ 444500 h 6858000"/>
              <a:gd name="connsiteX148" fmla="*/ 1264165 w 9595474"/>
              <a:gd name="connsiteY148" fmla="*/ 439420 h 6858000"/>
              <a:gd name="connsiteX149" fmla="*/ 1268303 w 9595474"/>
              <a:gd name="connsiteY149" fmla="*/ 434658 h 6858000"/>
              <a:gd name="connsiteX150" fmla="*/ 1272736 w 9595474"/>
              <a:gd name="connsiteY150" fmla="*/ 429895 h 6858000"/>
              <a:gd name="connsiteX151" fmla="*/ 1277466 w 9595474"/>
              <a:gd name="connsiteY151" fmla="*/ 425768 h 6858000"/>
              <a:gd name="connsiteX152" fmla="*/ 1281899 w 9595474"/>
              <a:gd name="connsiteY152" fmla="*/ 421323 h 6858000"/>
              <a:gd name="connsiteX153" fmla="*/ 1286924 w 9595474"/>
              <a:gd name="connsiteY153" fmla="*/ 417830 h 6858000"/>
              <a:gd name="connsiteX154" fmla="*/ 1291949 w 9595474"/>
              <a:gd name="connsiteY154" fmla="*/ 414338 h 6858000"/>
              <a:gd name="connsiteX155" fmla="*/ 1296973 w 9595474"/>
              <a:gd name="connsiteY155" fmla="*/ 410845 h 6858000"/>
              <a:gd name="connsiteX156" fmla="*/ 1302589 w 9595474"/>
              <a:gd name="connsiteY156" fmla="*/ 407988 h 6858000"/>
              <a:gd name="connsiteX157" fmla="*/ 1307910 w 9595474"/>
              <a:gd name="connsiteY157" fmla="*/ 405130 h 6858000"/>
              <a:gd name="connsiteX158" fmla="*/ 1313230 w 9595474"/>
              <a:gd name="connsiteY158" fmla="*/ 402908 h 6858000"/>
              <a:gd name="connsiteX159" fmla="*/ 1318846 w 9595474"/>
              <a:gd name="connsiteY159" fmla="*/ 401003 h 6858000"/>
              <a:gd name="connsiteX160" fmla="*/ 1324757 w 9595474"/>
              <a:gd name="connsiteY160" fmla="*/ 399098 h 6858000"/>
              <a:gd name="connsiteX161" fmla="*/ 1330373 w 9595474"/>
              <a:gd name="connsiteY161" fmla="*/ 397193 h 6858000"/>
              <a:gd name="connsiteX162" fmla="*/ 1336285 w 9595474"/>
              <a:gd name="connsiteY162" fmla="*/ 396240 h 6858000"/>
              <a:gd name="connsiteX163" fmla="*/ 1341901 w 9595474"/>
              <a:gd name="connsiteY163" fmla="*/ 395288 h 6858000"/>
              <a:gd name="connsiteX164" fmla="*/ 1348108 w 9595474"/>
              <a:gd name="connsiteY164" fmla="*/ 394335 h 6858000"/>
              <a:gd name="connsiteX165" fmla="*/ 1353723 w 9595474"/>
              <a:gd name="connsiteY165" fmla="*/ 394018 h 6858000"/>
              <a:gd name="connsiteX166" fmla="*/ 1359930 w 9595474"/>
              <a:gd name="connsiteY166" fmla="*/ 393700 h 6858000"/>
              <a:gd name="connsiteX167" fmla="*/ 1365546 w 9595474"/>
              <a:gd name="connsiteY167" fmla="*/ 394018 h 6858000"/>
              <a:gd name="connsiteX168" fmla="*/ 1371458 w 9595474"/>
              <a:gd name="connsiteY168" fmla="*/ 394335 h 6858000"/>
              <a:gd name="connsiteX169" fmla="*/ 1377665 w 9595474"/>
              <a:gd name="connsiteY169" fmla="*/ 395288 h 6858000"/>
              <a:gd name="connsiteX170" fmla="*/ 1383281 w 9595474"/>
              <a:gd name="connsiteY170" fmla="*/ 396240 h 6858000"/>
              <a:gd name="connsiteX171" fmla="*/ 1388897 w 9595474"/>
              <a:gd name="connsiteY171" fmla="*/ 397193 h 6858000"/>
              <a:gd name="connsiteX172" fmla="*/ 1394808 w 9595474"/>
              <a:gd name="connsiteY172" fmla="*/ 399098 h 6858000"/>
              <a:gd name="connsiteX173" fmla="*/ 1400424 w 9595474"/>
              <a:gd name="connsiteY173" fmla="*/ 401003 h 6858000"/>
              <a:gd name="connsiteX174" fmla="*/ 1406335 w 9595474"/>
              <a:gd name="connsiteY174" fmla="*/ 402908 h 6858000"/>
              <a:gd name="connsiteX175" fmla="*/ 1411656 w 9595474"/>
              <a:gd name="connsiteY175" fmla="*/ 405130 h 6858000"/>
              <a:gd name="connsiteX176" fmla="*/ 1416976 w 9595474"/>
              <a:gd name="connsiteY176" fmla="*/ 407988 h 6858000"/>
              <a:gd name="connsiteX177" fmla="*/ 1422296 w 9595474"/>
              <a:gd name="connsiteY177" fmla="*/ 410845 h 6858000"/>
              <a:gd name="connsiteX178" fmla="*/ 1427617 w 9595474"/>
              <a:gd name="connsiteY178" fmla="*/ 414338 h 6858000"/>
              <a:gd name="connsiteX179" fmla="*/ 1432641 w 9595474"/>
              <a:gd name="connsiteY179" fmla="*/ 417830 h 6858000"/>
              <a:gd name="connsiteX180" fmla="*/ 1437666 w 9595474"/>
              <a:gd name="connsiteY180" fmla="*/ 421323 h 6858000"/>
              <a:gd name="connsiteX181" fmla="*/ 1442100 w 9595474"/>
              <a:gd name="connsiteY181" fmla="*/ 425768 h 6858000"/>
              <a:gd name="connsiteX182" fmla="*/ 1446829 w 9595474"/>
              <a:gd name="connsiteY182" fmla="*/ 429895 h 6858000"/>
              <a:gd name="connsiteX183" fmla="*/ 1907036 w 9595474"/>
              <a:gd name="connsiteY183" fmla="*/ 890270 h 6858000"/>
              <a:gd name="connsiteX184" fmla="*/ 2165662 w 9595474"/>
              <a:gd name="connsiteY184" fmla="*/ 1148715 h 6858000"/>
              <a:gd name="connsiteX185" fmla="*/ 2170391 w 9595474"/>
              <a:gd name="connsiteY185" fmla="*/ 1153160 h 6858000"/>
              <a:gd name="connsiteX186" fmla="*/ 2175416 w 9595474"/>
              <a:gd name="connsiteY186" fmla="*/ 1157288 h 6858000"/>
              <a:gd name="connsiteX187" fmla="*/ 2180145 w 9595474"/>
              <a:gd name="connsiteY187" fmla="*/ 1161098 h 6858000"/>
              <a:gd name="connsiteX188" fmla="*/ 2185170 w 9595474"/>
              <a:gd name="connsiteY188" fmla="*/ 1164590 h 6858000"/>
              <a:gd name="connsiteX189" fmla="*/ 2190490 w 9595474"/>
              <a:gd name="connsiteY189" fmla="*/ 1167765 h 6858000"/>
              <a:gd name="connsiteX190" fmla="*/ 2195810 w 9595474"/>
              <a:gd name="connsiteY190" fmla="*/ 1170623 h 6858000"/>
              <a:gd name="connsiteX191" fmla="*/ 2201130 w 9595474"/>
              <a:gd name="connsiteY191" fmla="*/ 1173480 h 6858000"/>
              <a:gd name="connsiteX192" fmla="*/ 2206746 w 9595474"/>
              <a:gd name="connsiteY192" fmla="*/ 1176020 h 6858000"/>
              <a:gd name="connsiteX193" fmla="*/ 2212362 w 9595474"/>
              <a:gd name="connsiteY193" fmla="*/ 1177925 h 6858000"/>
              <a:gd name="connsiteX194" fmla="*/ 2217683 w 9595474"/>
              <a:gd name="connsiteY194" fmla="*/ 1180148 h 6858000"/>
              <a:gd name="connsiteX195" fmla="*/ 2223594 w 9595474"/>
              <a:gd name="connsiteY195" fmla="*/ 1181418 h 6858000"/>
              <a:gd name="connsiteX196" fmla="*/ 2229505 w 9595474"/>
              <a:gd name="connsiteY196" fmla="*/ 1182688 h 6858000"/>
              <a:gd name="connsiteX197" fmla="*/ 2235417 w 9595474"/>
              <a:gd name="connsiteY197" fmla="*/ 1183640 h 6858000"/>
              <a:gd name="connsiteX198" fmla="*/ 2241033 w 9595474"/>
              <a:gd name="connsiteY198" fmla="*/ 1184275 h 6858000"/>
              <a:gd name="connsiteX199" fmla="*/ 2247240 w 9595474"/>
              <a:gd name="connsiteY199" fmla="*/ 1184593 h 6858000"/>
              <a:gd name="connsiteX200" fmla="*/ 2252856 w 9595474"/>
              <a:gd name="connsiteY200" fmla="*/ 1185228 h 6858000"/>
              <a:gd name="connsiteX201" fmla="*/ 2259063 w 9595474"/>
              <a:gd name="connsiteY201" fmla="*/ 1184593 h 6858000"/>
              <a:gd name="connsiteX202" fmla="*/ 2264679 w 9595474"/>
              <a:gd name="connsiteY202" fmla="*/ 1184275 h 6858000"/>
              <a:gd name="connsiteX203" fmla="*/ 2270590 w 9595474"/>
              <a:gd name="connsiteY203" fmla="*/ 1183640 h 6858000"/>
              <a:gd name="connsiteX204" fmla="*/ 2276797 w 9595474"/>
              <a:gd name="connsiteY204" fmla="*/ 1182688 h 6858000"/>
              <a:gd name="connsiteX205" fmla="*/ 2282413 w 9595474"/>
              <a:gd name="connsiteY205" fmla="*/ 1181418 h 6858000"/>
              <a:gd name="connsiteX206" fmla="*/ 2288029 w 9595474"/>
              <a:gd name="connsiteY206" fmla="*/ 1180148 h 6858000"/>
              <a:gd name="connsiteX207" fmla="*/ 2293940 w 9595474"/>
              <a:gd name="connsiteY207" fmla="*/ 1177925 h 6858000"/>
              <a:gd name="connsiteX208" fmla="*/ 2299261 w 9595474"/>
              <a:gd name="connsiteY208" fmla="*/ 1176020 h 6858000"/>
              <a:gd name="connsiteX209" fmla="*/ 2304581 w 9595474"/>
              <a:gd name="connsiteY209" fmla="*/ 1173480 h 6858000"/>
              <a:gd name="connsiteX210" fmla="*/ 2310492 w 9595474"/>
              <a:gd name="connsiteY210" fmla="*/ 1170623 h 6858000"/>
              <a:gd name="connsiteX211" fmla="*/ 2315517 w 9595474"/>
              <a:gd name="connsiteY211" fmla="*/ 1167765 h 6858000"/>
              <a:gd name="connsiteX212" fmla="*/ 2320837 w 9595474"/>
              <a:gd name="connsiteY212" fmla="*/ 1164590 h 6858000"/>
              <a:gd name="connsiteX213" fmla="*/ 2325862 w 9595474"/>
              <a:gd name="connsiteY213" fmla="*/ 1161098 h 6858000"/>
              <a:gd name="connsiteX214" fmla="*/ 2330887 w 9595474"/>
              <a:gd name="connsiteY214" fmla="*/ 1157288 h 6858000"/>
              <a:gd name="connsiteX215" fmla="*/ 2335616 w 9595474"/>
              <a:gd name="connsiteY215" fmla="*/ 1153160 h 6858000"/>
              <a:gd name="connsiteX216" fmla="*/ 2340345 w 9595474"/>
              <a:gd name="connsiteY216" fmla="*/ 1148715 h 6858000"/>
              <a:gd name="connsiteX217" fmla="*/ 2344483 w 9595474"/>
              <a:gd name="connsiteY217" fmla="*/ 1144270 h 6858000"/>
              <a:gd name="connsiteX218" fmla="*/ 2348621 w 9595474"/>
              <a:gd name="connsiteY218" fmla="*/ 1139508 h 6858000"/>
              <a:gd name="connsiteX219" fmla="*/ 2352464 w 9595474"/>
              <a:gd name="connsiteY219" fmla="*/ 1134428 h 6858000"/>
              <a:gd name="connsiteX220" fmla="*/ 2356011 w 9595474"/>
              <a:gd name="connsiteY220" fmla="*/ 1129348 h 6858000"/>
              <a:gd name="connsiteX221" fmla="*/ 2359262 w 9595474"/>
              <a:gd name="connsiteY221" fmla="*/ 1124268 h 6858000"/>
              <a:gd name="connsiteX222" fmla="*/ 2362218 w 9595474"/>
              <a:gd name="connsiteY222" fmla="*/ 1118870 h 6858000"/>
              <a:gd name="connsiteX223" fmla="*/ 2364582 w 9595474"/>
              <a:gd name="connsiteY223" fmla="*/ 1113473 h 6858000"/>
              <a:gd name="connsiteX224" fmla="*/ 2367242 w 9595474"/>
              <a:gd name="connsiteY224" fmla="*/ 1108075 h 6858000"/>
              <a:gd name="connsiteX225" fmla="*/ 2369311 w 9595474"/>
              <a:gd name="connsiteY225" fmla="*/ 1102360 h 6858000"/>
              <a:gd name="connsiteX226" fmla="*/ 2371085 w 9595474"/>
              <a:gd name="connsiteY226" fmla="*/ 1096645 h 6858000"/>
              <a:gd name="connsiteX227" fmla="*/ 2372563 w 9595474"/>
              <a:gd name="connsiteY227" fmla="*/ 1090930 h 6858000"/>
              <a:gd name="connsiteX228" fmla="*/ 2374041 w 9595474"/>
              <a:gd name="connsiteY228" fmla="*/ 1085215 h 6858000"/>
              <a:gd name="connsiteX229" fmla="*/ 2375223 w 9595474"/>
              <a:gd name="connsiteY229" fmla="*/ 1079500 h 6858000"/>
              <a:gd name="connsiteX230" fmla="*/ 2375814 w 9595474"/>
              <a:gd name="connsiteY230" fmla="*/ 1073785 h 6858000"/>
              <a:gd name="connsiteX231" fmla="*/ 2376110 w 9595474"/>
              <a:gd name="connsiteY231" fmla="*/ 1067753 h 6858000"/>
              <a:gd name="connsiteX232" fmla="*/ 2376110 w 9595474"/>
              <a:gd name="connsiteY232" fmla="*/ 1061720 h 6858000"/>
              <a:gd name="connsiteX233" fmla="*/ 2376110 w 9595474"/>
              <a:gd name="connsiteY233" fmla="*/ 1055688 h 6858000"/>
              <a:gd name="connsiteX234" fmla="*/ 2375814 w 9595474"/>
              <a:gd name="connsiteY234" fmla="*/ 1049973 h 6858000"/>
              <a:gd name="connsiteX235" fmla="*/ 2375223 w 9595474"/>
              <a:gd name="connsiteY235" fmla="*/ 1043940 h 6858000"/>
              <a:gd name="connsiteX236" fmla="*/ 2374041 w 9595474"/>
              <a:gd name="connsiteY236" fmla="*/ 1038225 h 6858000"/>
              <a:gd name="connsiteX237" fmla="*/ 2372563 w 9595474"/>
              <a:gd name="connsiteY237" fmla="*/ 1032510 h 6858000"/>
              <a:gd name="connsiteX238" fmla="*/ 2371085 w 9595474"/>
              <a:gd name="connsiteY238" fmla="*/ 1026795 h 6858000"/>
              <a:gd name="connsiteX239" fmla="*/ 2369311 w 9595474"/>
              <a:gd name="connsiteY239" fmla="*/ 1021080 h 6858000"/>
              <a:gd name="connsiteX240" fmla="*/ 2367242 w 9595474"/>
              <a:gd name="connsiteY240" fmla="*/ 1015683 h 6858000"/>
              <a:gd name="connsiteX241" fmla="*/ 2364582 w 9595474"/>
              <a:gd name="connsiteY241" fmla="*/ 1009650 h 6858000"/>
              <a:gd name="connsiteX242" fmla="*/ 2362218 w 9595474"/>
              <a:gd name="connsiteY242" fmla="*/ 1004253 h 6858000"/>
              <a:gd name="connsiteX243" fmla="*/ 2359262 w 9595474"/>
              <a:gd name="connsiteY243" fmla="*/ 998855 h 6858000"/>
              <a:gd name="connsiteX244" fmla="*/ 2356011 w 9595474"/>
              <a:gd name="connsiteY244" fmla="*/ 994093 h 6858000"/>
              <a:gd name="connsiteX245" fmla="*/ 2352464 w 9595474"/>
              <a:gd name="connsiteY245" fmla="*/ 989013 h 6858000"/>
              <a:gd name="connsiteX246" fmla="*/ 2348621 w 9595474"/>
              <a:gd name="connsiteY246" fmla="*/ 983933 h 6858000"/>
              <a:gd name="connsiteX247" fmla="*/ 2344483 w 9595474"/>
              <a:gd name="connsiteY247" fmla="*/ 979170 h 6858000"/>
              <a:gd name="connsiteX248" fmla="*/ 2340345 w 9595474"/>
              <a:gd name="connsiteY248" fmla="*/ 974725 h 6858000"/>
              <a:gd name="connsiteX249" fmla="*/ 2240737 w 9595474"/>
              <a:gd name="connsiteY249" fmla="*/ 875030 h 6858000"/>
              <a:gd name="connsiteX250" fmla="*/ 1991865 w 9595474"/>
              <a:gd name="connsiteY250" fmla="*/ 626428 h 6858000"/>
              <a:gd name="connsiteX251" fmla="*/ 1987431 w 9595474"/>
              <a:gd name="connsiteY251" fmla="*/ 621665 h 6858000"/>
              <a:gd name="connsiteX252" fmla="*/ 1983589 w 9595474"/>
              <a:gd name="connsiteY252" fmla="*/ 616903 h 6858000"/>
              <a:gd name="connsiteX253" fmla="*/ 1979451 w 9595474"/>
              <a:gd name="connsiteY253" fmla="*/ 612140 h 6858000"/>
              <a:gd name="connsiteX254" fmla="*/ 1975904 w 9595474"/>
              <a:gd name="connsiteY254" fmla="*/ 607060 h 6858000"/>
              <a:gd name="connsiteX255" fmla="*/ 1972653 w 9595474"/>
              <a:gd name="connsiteY255" fmla="*/ 601663 h 6858000"/>
              <a:gd name="connsiteX256" fmla="*/ 1969993 w 9595474"/>
              <a:gd name="connsiteY256" fmla="*/ 596265 h 6858000"/>
              <a:gd name="connsiteX257" fmla="*/ 1967037 w 9595474"/>
              <a:gd name="connsiteY257" fmla="*/ 590868 h 6858000"/>
              <a:gd name="connsiteX258" fmla="*/ 1964968 w 9595474"/>
              <a:gd name="connsiteY258" fmla="*/ 585470 h 6858000"/>
              <a:gd name="connsiteX259" fmla="*/ 1962603 w 9595474"/>
              <a:gd name="connsiteY259" fmla="*/ 579755 h 6858000"/>
              <a:gd name="connsiteX260" fmla="*/ 1960830 w 9595474"/>
              <a:gd name="connsiteY260" fmla="*/ 574358 h 6858000"/>
              <a:gd name="connsiteX261" fmla="*/ 1959056 w 9595474"/>
              <a:gd name="connsiteY261" fmla="*/ 568643 h 6858000"/>
              <a:gd name="connsiteX262" fmla="*/ 1958170 w 9595474"/>
              <a:gd name="connsiteY262" fmla="*/ 562610 h 6858000"/>
              <a:gd name="connsiteX263" fmla="*/ 1956987 w 9595474"/>
              <a:gd name="connsiteY263" fmla="*/ 556895 h 6858000"/>
              <a:gd name="connsiteX264" fmla="*/ 1956396 w 9595474"/>
              <a:gd name="connsiteY264" fmla="*/ 551180 h 6858000"/>
              <a:gd name="connsiteX265" fmla="*/ 1955805 w 9595474"/>
              <a:gd name="connsiteY265" fmla="*/ 544830 h 6858000"/>
              <a:gd name="connsiteX266" fmla="*/ 1955805 w 9595474"/>
              <a:gd name="connsiteY266" fmla="*/ 539115 h 6858000"/>
              <a:gd name="connsiteX267" fmla="*/ 1955805 w 9595474"/>
              <a:gd name="connsiteY267" fmla="*/ 533083 h 6858000"/>
              <a:gd name="connsiteX268" fmla="*/ 1956396 w 9595474"/>
              <a:gd name="connsiteY268" fmla="*/ 527368 h 6858000"/>
              <a:gd name="connsiteX269" fmla="*/ 1956987 w 9595474"/>
              <a:gd name="connsiteY269" fmla="*/ 521653 h 6858000"/>
              <a:gd name="connsiteX270" fmla="*/ 1958170 w 9595474"/>
              <a:gd name="connsiteY270" fmla="*/ 515620 h 6858000"/>
              <a:gd name="connsiteX271" fmla="*/ 1959056 w 9595474"/>
              <a:gd name="connsiteY271" fmla="*/ 509588 h 6858000"/>
              <a:gd name="connsiteX272" fmla="*/ 1960830 w 9595474"/>
              <a:gd name="connsiteY272" fmla="*/ 503873 h 6858000"/>
              <a:gd name="connsiteX273" fmla="*/ 1962603 w 9595474"/>
              <a:gd name="connsiteY273" fmla="*/ 498158 h 6858000"/>
              <a:gd name="connsiteX274" fmla="*/ 1964968 w 9595474"/>
              <a:gd name="connsiteY274" fmla="*/ 492760 h 6858000"/>
              <a:gd name="connsiteX275" fmla="*/ 1967037 w 9595474"/>
              <a:gd name="connsiteY275" fmla="*/ 487363 h 6858000"/>
              <a:gd name="connsiteX276" fmla="*/ 1969993 w 9595474"/>
              <a:gd name="connsiteY276" fmla="*/ 481648 h 6858000"/>
              <a:gd name="connsiteX277" fmla="*/ 1972653 w 9595474"/>
              <a:gd name="connsiteY277" fmla="*/ 476568 h 6858000"/>
              <a:gd name="connsiteX278" fmla="*/ 1975904 w 9595474"/>
              <a:gd name="connsiteY278" fmla="*/ 471170 h 6858000"/>
              <a:gd name="connsiteX279" fmla="*/ 1979451 w 9595474"/>
              <a:gd name="connsiteY279" fmla="*/ 466408 h 6858000"/>
              <a:gd name="connsiteX280" fmla="*/ 1983589 w 9595474"/>
              <a:gd name="connsiteY280" fmla="*/ 461328 h 6858000"/>
              <a:gd name="connsiteX281" fmla="*/ 1987431 w 9595474"/>
              <a:gd name="connsiteY281" fmla="*/ 456565 h 6858000"/>
              <a:gd name="connsiteX282" fmla="*/ 1991865 w 9595474"/>
              <a:gd name="connsiteY282" fmla="*/ 451803 h 6858000"/>
              <a:gd name="connsiteX283" fmla="*/ 1996594 w 9595474"/>
              <a:gd name="connsiteY283" fmla="*/ 447675 h 6858000"/>
              <a:gd name="connsiteX284" fmla="*/ 2001028 w 9595474"/>
              <a:gd name="connsiteY284" fmla="*/ 443548 h 6858000"/>
              <a:gd name="connsiteX285" fmla="*/ 2006052 w 9595474"/>
              <a:gd name="connsiteY285" fmla="*/ 439738 h 6858000"/>
              <a:gd name="connsiteX286" fmla="*/ 2011077 w 9595474"/>
              <a:gd name="connsiteY286" fmla="*/ 436245 h 6858000"/>
              <a:gd name="connsiteX287" fmla="*/ 2016102 w 9595474"/>
              <a:gd name="connsiteY287" fmla="*/ 432753 h 6858000"/>
              <a:gd name="connsiteX288" fmla="*/ 2021718 w 9595474"/>
              <a:gd name="connsiteY288" fmla="*/ 429895 h 6858000"/>
              <a:gd name="connsiteX289" fmla="*/ 2027038 w 9595474"/>
              <a:gd name="connsiteY289" fmla="*/ 427355 h 6858000"/>
              <a:gd name="connsiteX290" fmla="*/ 2032654 w 9595474"/>
              <a:gd name="connsiteY290" fmla="*/ 424815 h 6858000"/>
              <a:gd name="connsiteX291" fmla="*/ 2038270 w 9595474"/>
              <a:gd name="connsiteY291" fmla="*/ 422910 h 6858000"/>
              <a:gd name="connsiteX292" fmla="*/ 2043886 w 9595474"/>
              <a:gd name="connsiteY292" fmla="*/ 421005 h 6858000"/>
              <a:gd name="connsiteX293" fmla="*/ 2049502 w 9595474"/>
              <a:gd name="connsiteY293" fmla="*/ 419735 h 6858000"/>
              <a:gd name="connsiteX294" fmla="*/ 2055413 w 9595474"/>
              <a:gd name="connsiteY294" fmla="*/ 418148 h 6858000"/>
              <a:gd name="connsiteX295" fmla="*/ 2061029 w 9595474"/>
              <a:gd name="connsiteY295" fmla="*/ 417195 h 6858000"/>
              <a:gd name="connsiteX296" fmla="*/ 2067236 w 9595474"/>
              <a:gd name="connsiteY296" fmla="*/ 416243 h 6858000"/>
              <a:gd name="connsiteX297" fmla="*/ 2072852 w 9595474"/>
              <a:gd name="connsiteY297" fmla="*/ 415925 h 6858000"/>
              <a:gd name="connsiteX298" fmla="*/ 2079059 w 9595474"/>
              <a:gd name="connsiteY298" fmla="*/ 415925 h 6858000"/>
              <a:gd name="connsiteX299" fmla="*/ 2084970 w 9595474"/>
              <a:gd name="connsiteY299" fmla="*/ 415925 h 6858000"/>
              <a:gd name="connsiteX300" fmla="*/ 2090882 w 9595474"/>
              <a:gd name="connsiteY300" fmla="*/ 416243 h 6858000"/>
              <a:gd name="connsiteX301" fmla="*/ 2096793 w 9595474"/>
              <a:gd name="connsiteY301" fmla="*/ 417195 h 6858000"/>
              <a:gd name="connsiteX302" fmla="*/ 2102409 w 9595474"/>
              <a:gd name="connsiteY302" fmla="*/ 418148 h 6858000"/>
              <a:gd name="connsiteX303" fmla="*/ 2108321 w 9595474"/>
              <a:gd name="connsiteY303" fmla="*/ 419735 h 6858000"/>
              <a:gd name="connsiteX304" fmla="*/ 2113936 w 9595474"/>
              <a:gd name="connsiteY304" fmla="*/ 421005 h 6858000"/>
              <a:gd name="connsiteX305" fmla="*/ 2119552 w 9595474"/>
              <a:gd name="connsiteY305" fmla="*/ 422910 h 6858000"/>
              <a:gd name="connsiteX306" fmla="*/ 2125464 w 9595474"/>
              <a:gd name="connsiteY306" fmla="*/ 424815 h 6858000"/>
              <a:gd name="connsiteX307" fmla="*/ 2130784 w 9595474"/>
              <a:gd name="connsiteY307" fmla="*/ 427355 h 6858000"/>
              <a:gd name="connsiteX308" fmla="*/ 2136104 w 9595474"/>
              <a:gd name="connsiteY308" fmla="*/ 429895 h 6858000"/>
              <a:gd name="connsiteX309" fmla="*/ 2141720 w 9595474"/>
              <a:gd name="connsiteY309" fmla="*/ 432753 h 6858000"/>
              <a:gd name="connsiteX310" fmla="*/ 2146745 w 9595474"/>
              <a:gd name="connsiteY310" fmla="*/ 436245 h 6858000"/>
              <a:gd name="connsiteX311" fmla="*/ 2152065 w 9595474"/>
              <a:gd name="connsiteY311" fmla="*/ 439738 h 6858000"/>
              <a:gd name="connsiteX312" fmla="*/ 2156795 w 9595474"/>
              <a:gd name="connsiteY312" fmla="*/ 443548 h 6858000"/>
              <a:gd name="connsiteX313" fmla="*/ 2161819 w 9595474"/>
              <a:gd name="connsiteY313" fmla="*/ 447675 h 6858000"/>
              <a:gd name="connsiteX314" fmla="*/ 2165957 w 9595474"/>
              <a:gd name="connsiteY314" fmla="*/ 451803 h 6858000"/>
              <a:gd name="connsiteX315" fmla="*/ 2966073 w 9595474"/>
              <a:gd name="connsiteY315" fmla="*/ 1251903 h 6858000"/>
              <a:gd name="connsiteX316" fmla="*/ 5612631 w 9595474"/>
              <a:gd name="connsiteY316" fmla="*/ 3898583 h 6858000"/>
              <a:gd name="connsiteX317" fmla="*/ 5617360 w 9595474"/>
              <a:gd name="connsiteY317" fmla="*/ 3903345 h 6858000"/>
              <a:gd name="connsiteX318" fmla="*/ 5621498 w 9595474"/>
              <a:gd name="connsiteY318" fmla="*/ 3908425 h 6858000"/>
              <a:gd name="connsiteX319" fmla="*/ 5625341 w 9595474"/>
              <a:gd name="connsiteY319" fmla="*/ 3913505 h 6858000"/>
              <a:gd name="connsiteX320" fmla="*/ 5628888 w 9595474"/>
              <a:gd name="connsiteY320" fmla="*/ 3918585 h 6858000"/>
              <a:gd name="connsiteX321" fmla="*/ 5632139 w 9595474"/>
              <a:gd name="connsiteY321" fmla="*/ 3923348 h 6858000"/>
              <a:gd name="connsiteX322" fmla="*/ 5635094 w 9595474"/>
              <a:gd name="connsiteY322" fmla="*/ 3928745 h 6858000"/>
              <a:gd name="connsiteX323" fmla="*/ 5638050 w 9595474"/>
              <a:gd name="connsiteY323" fmla="*/ 3934460 h 6858000"/>
              <a:gd name="connsiteX324" fmla="*/ 5640415 w 9595474"/>
              <a:gd name="connsiteY324" fmla="*/ 3939858 h 6858000"/>
              <a:gd name="connsiteX325" fmla="*/ 5642484 w 9595474"/>
              <a:gd name="connsiteY325" fmla="*/ 3945890 h 6858000"/>
              <a:gd name="connsiteX326" fmla="*/ 5644257 w 9595474"/>
              <a:gd name="connsiteY326" fmla="*/ 3951605 h 6858000"/>
              <a:gd name="connsiteX327" fmla="*/ 5645735 w 9595474"/>
              <a:gd name="connsiteY327" fmla="*/ 3957320 h 6858000"/>
              <a:gd name="connsiteX328" fmla="*/ 5647213 w 9595474"/>
              <a:gd name="connsiteY328" fmla="*/ 3963353 h 6858000"/>
              <a:gd name="connsiteX329" fmla="*/ 5648100 w 9595474"/>
              <a:gd name="connsiteY329" fmla="*/ 3969068 h 6858000"/>
              <a:gd name="connsiteX330" fmla="*/ 5648691 w 9595474"/>
              <a:gd name="connsiteY330" fmla="*/ 3975100 h 6858000"/>
              <a:gd name="connsiteX331" fmla="*/ 5649282 w 9595474"/>
              <a:gd name="connsiteY331" fmla="*/ 3980815 h 6858000"/>
              <a:gd name="connsiteX332" fmla="*/ 5649282 w 9595474"/>
              <a:gd name="connsiteY332" fmla="*/ 3987165 h 6858000"/>
              <a:gd name="connsiteX333" fmla="*/ 5649282 w 9595474"/>
              <a:gd name="connsiteY333" fmla="*/ 3992880 h 6858000"/>
              <a:gd name="connsiteX334" fmla="*/ 5648691 w 9595474"/>
              <a:gd name="connsiteY334" fmla="*/ 3998913 h 6858000"/>
              <a:gd name="connsiteX335" fmla="*/ 5648100 w 9595474"/>
              <a:gd name="connsiteY335" fmla="*/ 4004945 h 6858000"/>
              <a:gd name="connsiteX336" fmla="*/ 5647213 w 9595474"/>
              <a:gd name="connsiteY336" fmla="*/ 4010660 h 6858000"/>
              <a:gd name="connsiteX337" fmla="*/ 5645735 w 9595474"/>
              <a:gd name="connsiteY337" fmla="*/ 4016375 h 6858000"/>
              <a:gd name="connsiteX338" fmla="*/ 5644257 w 9595474"/>
              <a:gd name="connsiteY338" fmla="*/ 4022725 h 6858000"/>
              <a:gd name="connsiteX339" fmla="*/ 5642484 w 9595474"/>
              <a:gd name="connsiteY339" fmla="*/ 4028440 h 6858000"/>
              <a:gd name="connsiteX340" fmla="*/ 5640415 w 9595474"/>
              <a:gd name="connsiteY340" fmla="*/ 4033838 h 6858000"/>
              <a:gd name="connsiteX341" fmla="*/ 5638050 w 9595474"/>
              <a:gd name="connsiteY341" fmla="*/ 4039553 h 6858000"/>
              <a:gd name="connsiteX342" fmla="*/ 5635094 w 9595474"/>
              <a:gd name="connsiteY342" fmla="*/ 4044950 h 6858000"/>
              <a:gd name="connsiteX343" fmla="*/ 5632139 w 9595474"/>
              <a:gd name="connsiteY343" fmla="*/ 4050348 h 6858000"/>
              <a:gd name="connsiteX344" fmla="*/ 5628888 w 9595474"/>
              <a:gd name="connsiteY344" fmla="*/ 4055745 h 6858000"/>
              <a:gd name="connsiteX345" fmla="*/ 5625341 w 9595474"/>
              <a:gd name="connsiteY345" fmla="*/ 4060825 h 6858000"/>
              <a:gd name="connsiteX346" fmla="*/ 5621498 w 9595474"/>
              <a:gd name="connsiteY346" fmla="*/ 4065588 h 6858000"/>
              <a:gd name="connsiteX347" fmla="*/ 5617360 w 9595474"/>
              <a:gd name="connsiteY347" fmla="*/ 4070350 h 6858000"/>
              <a:gd name="connsiteX348" fmla="*/ 5612631 w 9595474"/>
              <a:gd name="connsiteY348" fmla="*/ 4075113 h 6858000"/>
              <a:gd name="connsiteX349" fmla="*/ 5608198 w 9595474"/>
              <a:gd name="connsiteY349" fmla="*/ 4079875 h 6858000"/>
              <a:gd name="connsiteX350" fmla="*/ 5603468 w 9595474"/>
              <a:gd name="connsiteY350" fmla="*/ 4083685 h 6858000"/>
              <a:gd name="connsiteX351" fmla="*/ 5598443 w 9595474"/>
              <a:gd name="connsiteY351" fmla="*/ 4087495 h 6858000"/>
              <a:gd name="connsiteX352" fmla="*/ 5593419 w 9595474"/>
              <a:gd name="connsiteY352" fmla="*/ 4091305 h 6858000"/>
              <a:gd name="connsiteX353" fmla="*/ 5588098 w 9595474"/>
              <a:gd name="connsiteY353" fmla="*/ 4094480 h 6858000"/>
              <a:gd name="connsiteX354" fmla="*/ 5582482 w 9595474"/>
              <a:gd name="connsiteY354" fmla="*/ 4097338 h 6858000"/>
              <a:gd name="connsiteX355" fmla="*/ 5577162 w 9595474"/>
              <a:gd name="connsiteY355" fmla="*/ 4100195 h 6858000"/>
              <a:gd name="connsiteX356" fmla="*/ 5571842 w 9595474"/>
              <a:gd name="connsiteY356" fmla="*/ 4102418 h 6858000"/>
              <a:gd name="connsiteX357" fmla="*/ 5565931 w 9595474"/>
              <a:gd name="connsiteY357" fmla="*/ 4104640 h 6858000"/>
              <a:gd name="connsiteX358" fmla="*/ 5560315 w 9595474"/>
              <a:gd name="connsiteY358" fmla="*/ 4106545 h 6858000"/>
              <a:gd name="connsiteX359" fmla="*/ 5554699 w 9595474"/>
              <a:gd name="connsiteY359" fmla="*/ 4108133 h 6858000"/>
              <a:gd name="connsiteX360" fmla="*/ 5548492 w 9595474"/>
              <a:gd name="connsiteY360" fmla="*/ 4109403 h 6858000"/>
              <a:gd name="connsiteX361" fmla="*/ 5542580 w 9595474"/>
              <a:gd name="connsiteY361" fmla="*/ 4110355 h 6858000"/>
              <a:gd name="connsiteX362" fmla="*/ 5536669 w 9595474"/>
              <a:gd name="connsiteY362" fmla="*/ 4110990 h 6858000"/>
              <a:gd name="connsiteX363" fmla="*/ 5530758 w 9595474"/>
              <a:gd name="connsiteY363" fmla="*/ 4111308 h 6858000"/>
              <a:gd name="connsiteX364" fmla="*/ 5524846 w 9595474"/>
              <a:gd name="connsiteY364" fmla="*/ 4111625 h 6858000"/>
              <a:gd name="connsiteX365" fmla="*/ 5518639 w 9595474"/>
              <a:gd name="connsiteY365" fmla="*/ 4111308 h 6858000"/>
              <a:gd name="connsiteX366" fmla="*/ 5513023 w 9595474"/>
              <a:gd name="connsiteY366" fmla="*/ 4110990 h 6858000"/>
              <a:gd name="connsiteX367" fmla="*/ 5506816 w 9595474"/>
              <a:gd name="connsiteY367" fmla="*/ 4110355 h 6858000"/>
              <a:gd name="connsiteX368" fmla="*/ 5501200 w 9595474"/>
              <a:gd name="connsiteY368" fmla="*/ 4109403 h 6858000"/>
              <a:gd name="connsiteX369" fmla="*/ 5494993 w 9595474"/>
              <a:gd name="connsiteY369" fmla="*/ 4108133 h 6858000"/>
              <a:gd name="connsiteX370" fmla="*/ 5489081 w 9595474"/>
              <a:gd name="connsiteY370" fmla="*/ 4106545 h 6858000"/>
              <a:gd name="connsiteX371" fmla="*/ 5483466 w 9595474"/>
              <a:gd name="connsiteY371" fmla="*/ 4104640 h 6858000"/>
              <a:gd name="connsiteX372" fmla="*/ 5477850 w 9595474"/>
              <a:gd name="connsiteY372" fmla="*/ 4102418 h 6858000"/>
              <a:gd name="connsiteX373" fmla="*/ 5472234 w 9595474"/>
              <a:gd name="connsiteY373" fmla="*/ 4100195 h 6858000"/>
              <a:gd name="connsiteX374" fmla="*/ 5466913 w 9595474"/>
              <a:gd name="connsiteY374" fmla="*/ 4097338 h 6858000"/>
              <a:gd name="connsiteX375" fmla="*/ 5461593 w 9595474"/>
              <a:gd name="connsiteY375" fmla="*/ 4094480 h 6858000"/>
              <a:gd name="connsiteX376" fmla="*/ 5456273 w 9595474"/>
              <a:gd name="connsiteY376" fmla="*/ 4091305 h 6858000"/>
              <a:gd name="connsiteX377" fmla="*/ 5451248 w 9595474"/>
              <a:gd name="connsiteY377" fmla="*/ 4087495 h 6858000"/>
              <a:gd name="connsiteX378" fmla="*/ 5446223 w 9595474"/>
              <a:gd name="connsiteY378" fmla="*/ 4083685 h 6858000"/>
              <a:gd name="connsiteX379" fmla="*/ 5441495 w 9595474"/>
              <a:gd name="connsiteY379" fmla="*/ 4079875 h 6858000"/>
              <a:gd name="connsiteX380" fmla="*/ 5436765 w 9595474"/>
              <a:gd name="connsiteY380" fmla="*/ 4075113 h 6858000"/>
              <a:gd name="connsiteX381" fmla="*/ 5322379 w 9595474"/>
              <a:gd name="connsiteY381" fmla="*/ 3960813 h 6858000"/>
              <a:gd name="connsiteX382" fmla="*/ 5317945 w 9595474"/>
              <a:gd name="connsiteY382" fmla="*/ 3956368 h 6858000"/>
              <a:gd name="connsiteX383" fmla="*/ 5312921 w 9595474"/>
              <a:gd name="connsiteY383" fmla="*/ 3952240 h 6858000"/>
              <a:gd name="connsiteX384" fmla="*/ 5307896 w 9595474"/>
              <a:gd name="connsiteY384" fmla="*/ 3948748 h 6858000"/>
              <a:gd name="connsiteX385" fmla="*/ 5302871 w 9595474"/>
              <a:gd name="connsiteY385" fmla="*/ 3944938 h 6858000"/>
              <a:gd name="connsiteX386" fmla="*/ 5297255 w 9595474"/>
              <a:gd name="connsiteY386" fmla="*/ 3941763 h 6858000"/>
              <a:gd name="connsiteX387" fmla="*/ 5292230 w 9595474"/>
              <a:gd name="connsiteY387" fmla="*/ 3938588 h 6858000"/>
              <a:gd name="connsiteX388" fmla="*/ 5286615 w 9595474"/>
              <a:gd name="connsiteY388" fmla="*/ 3936048 h 6858000"/>
              <a:gd name="connsiteX389" fmla="*/ 5281294 w 9595474"/>
              <a:gd name="connsiteY389" fmla="*/ 3933508 h 6858000"/>
              <a:gd name="connsiteX390" fmla="*/ 5275383 w 9595474"/>
              <a:gd name="connsiteY390" fmla="*/ 3931285 h 6858000"/>
              <a:gd name="connsiteX391" fmla="*/ 5269767 w 9595474"/>
              <a:gd name="connsiteY391" fmla="*/ 3929698 h 6858000"/>
              <a:gd name="connsiteX392" fmla="*/ 5263855 w 9595474"/>
              <a:gd name="connsiteY392" fmla="*/ 3927793 h 6858000"/>
              <a:gd name="connsiteX393" fmla="*/ 5257944 w 9595474"/>
              <a:gd name="connsiteY393" fmla="*/ 3926840 h 6858000"/>
              <a:gd name="connsiteX394" fmla="*/ 5252033 w 9595474"/>
              <a:gd name="connsiteY394" fmla="*/ 3925570 h 6858000"/>
              <a:gd name="connsiteX395" fmla="*/ 5246121 w 9595474"/>
              <a:gd name="connsiteY395" fmla="*/ 3924935 h 6858000"/>
              <a:gd name="connsiteX396" fmla="*/ 5240210 w 9595474"/>
              <a:gd name="connsiteY396" fmla="*/ 3924618 h 6858000"/>
              <a:gd name="connsiteX397" fmla="*/ 5234298 w 9595474"/>
              <a:gd name="connsiteY397" fmla="*/ 3924618 h 6858000"/>
              <a:gd name="connsiteX398" fmla="*/ 5228091 w 9595474"/>
              <a:gd name="connsiteY398" fmla="*/ 3924618 h 6858000"/>
              <a:gd name="connsiteX399" fmla="*/ 5222180 w 9595474"/>
              <a:gd name="connsiteY399" fmla="*/ 3924935 h 6858000"/>
              <a:gd name="connsiteX400" fmla="*/ 5216268 w 9595474"/>
              <a:gd name="connsiteY400" fmla="*/ 3925570 h 6858000"/>
              <a:gd name="connsiteX401" fmla="*/ 5210357 w 9595474"/>
              <a:gd name="connsiteY401" fmla="*/ 3926840 h 6858000"/>
              <a:gd name="connsiteX402" fmla="*/ 5204741 w 9595474"/>
              <a:gd name="connsiteY402" fmla="*/ 3927793 h 6858000"/>
              <a:gd name="connsiteX403" fmla="*/ 5198534 w 9595474"/>
              <a:gd name="connsiteY403" fmla="*/ 3929698 h 6858000"/>
              <a:gd name="connsiteX404" fmla="*/ 5192918 w 9595474"/>
              <a:gd name="connsiteY404" fmla="*/ 3931285 h 6858000"/>
              <a:gd name="connsiteX405" fmla="*/ 5187598 w 9595474"/>
              <a:gd name="connsiteY405" fmla="*/ 3933508 h 6858000"/>
              <a:gd name="connsiteX406" fmla="*/ 5181686 w 9595474"/>
              <a:gd name="connsiteY406" fmla="*/ 3936048 h 6858000"/>
              <a:gd name="connsiteX407" fmla="*/ 5176366 w 9595474"/>
              <a:gd name="connsiteY407" fmla="*/ 3938588 h 6858000"/>
              <a:gd name="connsiteX408" fmla="*/ 5171046 w 9595474"/>
              <a:gd name="connsiteY408" fmla="*/ 3941763 h 6858000"/>
              <a:gd name="connsiteX409" fmla="*/ 5165430 w 9595474"/>
              <a:gd name="connsiteY409" fmla="*/ 3944938 h 6858000"/>
              <a:gd name="connsiteX410" fmla="*/ 5160405 w 9595474"/>
              <a:gd name="connsiteY410" fmla="*/ 3948748 h 6858000"/>
              <a:gd name="connsiteX411" fmla="*/ 5155380 w 9595474"/>
              <a:gd name="connsiteY411" fmla="*/ 3952240 h 6858000"/>
              <a:gd name="connsiteX412" fmla="*/ 5150947 w 9595474"/>
              <a:gd name="connsiteY412" fmla="*/ 3956368 h 6858000"/>
              <a:gd name="connsiteX413" fmla="*/ 5146218 w 9595474"/>
              <a:gd name="connsiteY413" fmla="*/ 3960813 h 6858000"/>
              <a:gd name="connsiteX414" fmla="*/ 5141488 w 9595474"/>
              <a:gd name="connsiteY414" fmla="*/ 3965575 h 6858000"/>
              <a:gd name="connsiteX415" fmla="*/ 5137646 w 9595474"/>
              <a:gd name="connsiteY415" fmla="*/ 3970655 h 6858000"/>
              <a:gd name="connsiteX416" fmla="*/ 5133508 w 9595474"/>
              <a:gd name="connsiteY416" fmla="*/ 3975100 h 6858000"/>
              <a:gd name="connsiteX417" fmla="*/ 5129961 w 9595474"/>
              <a:gd name="connsiteY417" fmla="*/ 3980498 h 6858000"/>
              <a:gd name="connsiteX418" fmla="*/ 5126710 w 9595474"/>
              <a:gd name="connsiteY418" fmla="*/ 3985578 h 6858000"/>
              <a:gd name="connsiteX419" fmla="*/ 5123754 w 9595474"/>
              <a:gd name="connsiteY419" fmla="*/ 3990975 h 6858000"/>
              <a:gd name="connsiteX420" fmla="*/ 5121094 w 9595474"/>
              <a:gd name="connsiteY420" fmla="*/ 3996373 h 6858000"/>
              <a:gd name="connsiteX421" fmla="*/ 5118729 w 9595474"/>
              <a:gd name="connsiteY421" fmla="*/ 4002088 h 6858000"/>
              <a:gd name="connsiteX422" fmla="*/ 5116660 w 9595474"/>
              <a:gd name="connsiteY422" fmla="*/ 4007803 h 6858000"/>
              <a:gd name="connsiteX423" fmla="*/ 5114591 w 9595474"/>
              <a:gd name="connsiteY423" fmla="*/ 4013518 h 6858000"/>
              <a:gd name="connsiteX424" fmla="*/ 5113113 w 9595474"/>
              <a:gd name="connsiteY424" fmla="*/ 4019233 h 6858000"/>
              <a:gd name="connsiteX425" fmla="*/ 5111636 w 9595474"/>
              <a:gd name="connsiteY425" fmla="*/ 4025265 h 6858000"/>
              <a:gd name="connsiteX426" fmla="*/ 5111044 w 9595474"/>
              <a:gd name="connsiteY426" fmla="*/ 4031298 h 6858000"/>
              <a:gd name="connsiteX427" fmla="*/ 5110158 w 9595474"/>
              <a:gd name="connsiteY427" fmla="*/ 4037013 h 6858000"/>
              <a:gd name="connsiteX428" fmla="*/ 5109862 w 9595474"/>
              <a:gd name="connsiteY428" fmla="*/ 4043045 h 6858000"/>
              <a:gd name="connsiteX429" fmla="*/ 5109567 w 9595474"/>
              <a:gd name="connsiteY429" fmla="*/ 4049078 h 6858000"/>
              <a:gd name="connsiteX430" fmla="*/ 5109862 w 9595474"/>
              <a:gd name="connsiteY430" fmla="*/ 4055110 h 6858000"/>
              <a:gd name="connsiteX431" fmla="*/ 5110158 w 9595474"/>
              <a:gd name="connsiteY431" fmla="*/ 4061143 h 6858000"/>
              <a:gd name="connsiteX432" fmla="*/ 5111044 w 9595474"/>
              <a:gd name="connsiteY432" fmla="*/ 4066858 h 6858000"/>
              <a:gd name="connsiteX433" fmla="*/ 5111636 w 9595474"/>
              <a:gd name="connsiteY433" fmla="*/ 4072890 h 6858000"/>
              <a:gd name="connsiteX434" fmla="*/ 5113113 w 9595474"/>
              <a:gd name="connsiteY434" fmla="*/ 4078605 h 6858000"/>
              <a:gd name="connsiteX435" fmla="*/ 5114591 w 9595474"/>
              <a:gd name="connsiteY435" fmla="*/ 4084320 h 6858000"/>
              <a:gd name="connsiteX436" fmla="*/ 5116660 w 9595474"/>
              <a:gd name="connsiteY436" fmla="*/ 4090035 h 6858000"/>
              <a:gd name="connsiteX437" fmla="*/ 5118729 w 9595474"/>
              <a:gd name="connsiteY437" fmla="*/ 4095750 h 6858000"/>
              <a:gd name="connsiteX438" fmla="*/ 5121094 w 9595474"/>
              <a:gd name="connsiteY438" fmla="*/ 4101783 h 6858000"/>
              <a:gd name="connsiteX439" fmla="*/ 5123754 w 9595474"/>
              <a:gd name="connsiteY439" fmla="*/ 4107180 h 6858000"/>
              <a:gd name="connsiteX440" fmla="*/ 5126710 w 9595474"/>
              <a:gd name="connsiteY440" fmla="*/ 4112578 h 6858000"/>
              <a:gd name="connsiteX441" fmla="*/ 5129961 w 9595474"/>
              <a:gd name="connsiteY441" fmla="*/ 4117975 h 6858000"/>
              <a:gd name="connsiteX442" fmla="*/ 5133508 w 9595474"/>
              <a:gd name="connsiteY442" fmla="*/ 4122738 h 6858000"/>
              <a:gd name="connsiteX443" fmla="*/ 5137646 w 9595474"/>
              <a:gd name="connsiteY443" fmla="*/ 4127818 h 6858000"/>
              <a:gd name="connsiteX444" fmla="*/ 5141488 w 9595474"/>
              <a:gd name="connsiteY444" fmla="*/ 4132580 h 6858000"/>
              <a:gd name="connsiteX445" fmla="*/ 5146218 w 9595474"/>
              <a:gd name="connsiteY445" fmla="*/ 4137343 h 6858000"/>
              <a:gd name="connsiteX446" fmla="*/ 5870075 w 9595474"/>
              <a:gd name="connsiteY446" fmla="*/ 4860925 h 6858000"/>
              <a:gd name="connsiteX447" fmla="*/ 5874509 w 9595474"/>
              <a:gd name="connsiteY447" fmla="*/ 4865688 h 6858000"/>
              <a:gd name="connsiteX448" fmla="*/ 5878646 w 9595474"/>
              <a:gd name="connsiteY448" fmla="*/ 4870768 h 6858000"/>
              <a:gd name="connsiteX449" fmla="*/ 5882489 w 9595474"/>
              <a:gd name="connsiteY449" fmla="*/ 4875848 h 6858000"/>
              <a:gd name="connsiteX450" fmla="*/ 5886036 w 9595474"/>
              <a:gd name="connsiteY450" fmla="*/ 4880928 h 6858000"/>
              <a:gd name="connsiteX451" fmla="*/ 5889287 w 9595474"/>
              <a:gd name="connsiteY451" fmla="*/ 4885690 h 6858000"/>
              <a:gd name="connsiteX452" fmla="*/ 5892243 w 9595474"/>
              <a:gd name="connsiteY452" fmla="*/ 4891088 h 6858000"/>
              <a:gd name="connsiteX453" fmla="*/ 5895199 w 9595474"/>
              <a:gd name="connsiteY453" fmla="*/ 4897120 h 6858000"/>
              <a:gd name="connsiteX454" fmla="*/ 5897268 w 9595474"/>
              <a:gd name="connsiteY454" fmla="*/ 4902518 h 6858000"/>
              <a:gd name="connsiteX455" fmla="*/ 5899336 w 9595474"/>
              <a:gd name="connsiteY455" fmla="*/ 4908233 h 6858000"/>
              <a:gd name="connsiteX456" fmla="*/ 5901701 w 9595474"/>
              <a:gd name="connsiteY456" fmla="*/ 4913948 h 6858000"/>
              <a:gd name="connsiteX457" fmla="*/ 5902883 w 9595474"/>
              <a:gd name="connsiteY457" fmla="*/ 4919663 h 6858000"/>
              <a:gd name="connsiteX458" fmla="*/ 5904066 w 9595474"/>
              <a:gd name="connsiteY458" fmla="*/ 4925695 h 6858000"/>
              <a:gd name="connsiteX459" fmla="*/ 5905248 w 9595474"/>
              <a:gd name="connsiteY459" fmla="*/ 4931410 h 6858000"/>
              <a:gd name="connsiteX460" fmla="*/ 5905840 w 9595474"/>
              <a:gd name="connsiteY460" fmla="*/ 4937443 h 6858000"/>
              <a:gd name="connsiteX461" fmla="*/ 5906135 w 9595474"/>
              <a:gd name="connsiteY461" fmla="*/ 4943475 h 6858000"/>
              <a:gd name="connsiteX462" fmla="*/ 5906726 w 9595474"/>
              <a:gd name="connsiteY462" fmla="*/ 4949508 h 6858000"/>
              <a:gd name="connsiteX463" fmla="*/ 5906135 w 9595474"/>
              <a:gd name="connsiteY463" fmla="*/ 4955223 h 6858000"/>
              <a:gd name="connsiteX464" fmla="*/ 5905840 w 9595474"/>
              <a:gd name="connsiteY464" fmla="*/ 4961255 h 6858000"/>
              <a:gd name="connsiteX465" fmla="*/ 5905248 w 9595474"/>
              <a:gd name="connsiteY465" fmla="*/ 4967288 h 6858000"/>
              <a:gd name="connsiteX466" fmla="*/ 5904066 w 9595474"/>
              <a:gd name="connsiteY466" fmla="*/ 4973003 h 6858000"/>
              <a:gd name="connsiteX467" fmla="*/ 5902883 w 9595474"/>
              <a:gd name="connsiteY467" fmla="*/ 4979035 h 6858000"/>
              <a:gd name="connsiteX468" fmla="*/ 5901701 w 9595474"/>
              <a:gd name="connsiteY468" fmla="*/ 4985068 h 6858000"/>
              <a:gd name="connsiteX469" fmla="*/ 5899336 w 9595474"/>
              <a:gd name="connsiteY469" fmla="*/ 4990783 h 6858000"/>
              <a:gd name="connsiteX470" fmla="*/ 5897268 w 9595474"/>
              <a:gd name="connsiteY470" fmla="*/ 4996180 h 6858000"/>
              <a:gd name="connsiteX471" fmla="*/ 5895199 w 9595474"/>
              <a:gd name="connsiteY471" fmla="*/ 5001895 h 6858000"/>
              <a:gd name="connsiteX472" fmla="*/ 5892243 w 9595474"/>
              <a:gd name="connsiteY472" fmla="*/ 5007293 h 6858000"/>
              <a:gd name="connsiteX473" fmla="*/ 5889287 w 9595474"/>
              <a:gd name="connsiteY473" fmla="*/ 5012690 h 6858000"/>
              <a:gd name="connsiteX474" fmla="*/ 5886036 w 9595474"/>
              <a:gd name="connsiteY474" fmla="*/ 5018088 h 6858000"/>
              <a:gd name="connsiteX475" fmla="*/ 5882489 w 9595474"/>
              <a:gd name="connsiteY475" fmla="*/ 5023168 h 6858000"/>
              <a:gd name="connsiteX476" fmla="*/ 5878646 w 9595474"/>
              <a:gd name="connsiteY476" fmla="*/ 5028248 h 6858000"/>
              <a:gd name="connsiteX477" fmla="*/ 5874509 w 9595474"/>
              <a:gd name="connsiteY477" fmla="*/ 5032693 h 6858000"/>
              <a:gd name="connsiteX478" fmla="*/ 5870075 w 9595474"/>
              <a:gd name="connsiteY478" fmla="*/ 5037455 h 6858000"/>
              <a:gd name="connsiteX479" fmla="*/ 5865346 w 9595474"/>
              <a:gd name="connsiteY479" fmla="*/ 5041900 h 6858000"/>
              <a:gd name="connsiteX480" fmla="*/ 5860617 w 9595474"/>
              <a:gd name="connsiteY480" fmla="*/ 5046028 h 6858000"/>
              <a:gd name="connsiteX481" fmla="*/ 5855592 w 9595474"/>
              <a:gd name="connsiteY481" fmla="*/ 5050155 h 6858000"/>
              <a:gd name="connsiteX482" fmla="*/ 5850567 w 9595474"/>
              <a:gd name="connsiteY482" fmla="*/ 5053648 h 6858000"/>
              <a:gd name="connsiteX483" fmla="*/ 5845247 w 9595474"/>
              <a:gd name="connsiteY483" fmla="*/ 5056823 h 6858000"/>
              <a:gd name="connsiteX484" fmla="*/ 5839926 w 9595474"/>
              <a:gd name="connsiteY484" fmla="*/ 5059680 h 6858000"/>
              <a:gd name="connsiteX485" fmla="*/ 5834311 w 9595474"/>
              <a:gd name="connsiteY485" fmla="*/ 5062538 h 6858000"/>
              <a:gd name="connsiteX486" fmla="*/ 5828695 w 9595474"/>
              <a:gd name="connsiteY486" fmla="*/ 5064760 h 6858000"/>
              <a:gd name="connsiteX487" fmla="*/ 5823375 w 9595474"/>
              <a:gd name="connsiteY487" fmla="*/ 5066983 h 6858000"/>
              <a:gd name="connsiteX488" fmla="*/ 5817463 w 9595474"/>
              <a:gd name="connsiteY488" fmla="*/ 5069205 h 6858000"/>
              <a:gd name="connsiteX489" fmla="*/ 5811552 w 9595474"/>
              <a:gd name="connsiteY489" fmla="*/ 5070475 h 6858000"/>
              <a:gd name="connsiteX490" fmla="*/ 5805640 w 9595474"/>
              <a:gd name="connsiteY490" fmla="*/ 5071428 h 6858000"/>
              <a:gd name="connsiteX491" fmla="*/ 5800024 w 9595474"/>
              <a:gd name="connsiteY491" fmla="*/ 5072698 h 6858000"/>
              <a:gd name="connsiteX492" fmla="*/ 5793817 w 9595474"/>
              <a:gd name="connsiteY492" fmla="*/ 5073333 h 6858000"/>
              <a:gd name="connsiteX493" fmla="*/ 5787610 w 9595474"/>
              <a:gd name="connsiteY493" fmla="*/ 5073650 h 6858000"/>
              <a:gd name="connsiteX494" fmla="*/ 5781994 w 9595474"/>
              <a:gd name="connsiteY494" fmla="*/ 5073968 h 6858000"/>
              <a:gd name="connsiteX495" fmla="*/ 5775787 w 9595474"/>
              <a:gd name="connsiteY495" fmla="*/ 5073650 h 6858000"/>
              <a:gd name="connsiteX496" fmla="*/ 5770171 w 9595474"/>
              <a:gd name="connsiteY496" fmla="*/ 5073333 h 6858000"/>
              <a:gd name="connsiteX497" fmla="*/ 5763965 w 9595474"/>
              <a:gd name="connsiteY497" fmla="*/ 5072698 h 6858000"/>
              <a:gd name="connsiteX498" fmla="*/ 5758349 w 9595474"/>
              <a:gd name="connsiteY498" fmla="*/ 5071428 h 6858000"/>
              <a:gd name="connsiteX499" fmla="*/ 5752141 w 9595474"/>
              <a:gd name="connsiteY499" fmla="*/ 5070475 h 6858000"/>
              <a:gd name="connsiteX500" fmla="*/ 5746526 w 9595474"/>
              <a:gd name="connsiteY500" fmla="*/ 5069205 h 6858000"/>
              <a:gd name="connsiteX501" fmla="*/ 5740614 w 9595474"/>
              <a:gd name="connsiteY501" fmla="*/ 5066983 h 6858000"/>
              <a:gd name="connsiteX502" fmla="*/ 5734998 w 9595474"/>
              <a:gd name="connsiteY502" fmla="*/ 5064760 h 6858000"/>
              <a:gd name="connsiteX503" fmla="*/ 5729382 w 9595474"/>
              <a:gd name="connsiteY503" fmla="*/ 5062538 h 6858000"/>
              <a:gd name="connsiteX504" fmla="*/ 5723767 w 9595474"/>
              <a:gd name="connsiteY504" fmla="*/ 5059680 h 6858000"/>
              <a:gd name="connsiteX505" fmla="*/ 5718446 w 9595474"/>
              <a:gd name="connsiteY505" fmla="*/ 5056823 h 6858000"/>
              <a:gd name="connsiteX506" fmla="*/ 5713421 w 9595474"/>
              <a:gd name="connsiteY506" fmla="*/ 5053648 h 6858000"/>
              <a:gd name="connsiteX507" fmla="*/ 5708396 w 9595474"/>
              <a:gd name="connsiteY507" fmla="*/ 5050155 h 6858000"/>
              <a:gd name="connsiteX508" fmla="*/ 5703372 w 9595474"/>
              <a:gd name="connsiteY508" fmla="*/ 5046028 h 6858000"/>
              <a:gd name="connsiteX509" fmla="*/ 5698347 w 9595474"/>
              <a:gd name="connsiteY509" fmla="*/ 5041900 h 6858000"/>
              <a:gd name="connsiteX510" fmla="*/ 5693618 w 9595474"/>
              <a:gd name="connsiteY510" fmla="*/ 5037455 h 6858000"/>
              <a:gd name="connsiteX511" fmla="*/ 5598148 w 9595474"/>
              <a:gd name="connsiteY511" fmla="*/ 4941888 h 6858000"/>
              <a:gd name="connsiteX512" fmla="*/ 5490560 w 9595474"/>
              <a:gd name="connsiteY512" fmla="*/ 4834573 h 6858000"/>
              <a:gd name="connsiteX513" fmla="*/ 5485830 w 9595474"/>
              <a:gd name="connsiteY513" fmla="*/ 4830128 h 6858000"/>
              <a:gd name="connsiteX514" fmla="*/ 5481397 w 9595474"/>
              <a:gd name="connsiteY514" fmla="*/ 4826000 h 6858000"/>
              <a:gd name="connsiteX515" fmla="*/ 5476372 w 9595474"/>
              <a:gd name="connsiteY515" fmla="*/ 4821873 h 6858000"/>
              <a:gd name="connsiteX516" fmla="*/ 5471348 w 9595474"/>
              <a:gd name="connsiteY516" fmla="*/ 4818380 h 6858000"/>
              <a:gd name="connsiteX517" fmla="*/ 5465732 w 9595474"/>
              <a:gd name="connsiteY517" fmla="*/ 4815205 h 6858000"/>
              <a:gd name="connsiteX518" fmla="*/ 5460411 w 9595474"/>
              <a:gd name="connsiteY518" fmla="*/ 4812348 h 6858000"/>
              <a:gd name="connsiteX519" fmla="*/ 5455091 w 9595474"/>
              <a:gd name="connsiteY519" fmla="*/ 4809173 h 6858000"/>
              <a:gd name="connsiteX520" fmla="*/ 5449475 w 9595474"/>
              <a:gd name="connsiteY520" fmla="*/ 4807268 h 6858000"/>
              <a:gd name="connsiteX521" fmla="*/ 5443563 w 9595474"/>
              <a:gd name="connsiteY521" fmla="*/ 4805045 h 6858000"/>
              <a:gd name="connsiteX522" fmla="*/ 5437948 w 9595474"/>
              <a:gd name="connsiteY522" fmla="*/ 4802823 h 6858000"/>
              <a:gd name="connsiteX523" fmla="*/ 5432036 w 9595474"/>
              <a:gd name="connsiteY523" fmla="*/ 4801553 h 6858000"/>
              <a:gd name="connsiteX524" fmla="*/ 5426420 w 9595474"/>
              <a:gd name="connsiteY524" fmla="*/ 4800283 h 6858000"/>
              <a:gd name="connsiteX525" fmla="*/ 5420509 w 9595474"/>
              <a:gd name="connsiteY525" fmla="*/ 4799330 h 6858000"/>
              <a:gd name="connsiteX526" fmla="*/ 5414597 w 9595474"/>
              <a:gd name="connsiteY526" fmla="*/ 4798695 h 6858000"/>
              <a:gd name="connsiteX527" fmla="*/ 5408391 w 9595474"/>
              <a:gd name="connsiteY527" fmla="*/ 4798060 h 6858000"/>
              <a:gd name="connsiteX528" fmla="*/ 5402775 w 9595474"/>
              <a:gd name="connsiteY528" fmla="*/ 4797743 h 6858000"/>
              <a:gd name="connsiteX529" fmla="*/ 5396568 w 9595474"/>
              <a:gd name="connsiteY529" fmla="*/ 4798060 h 6858000"/>
              <a:gd name="connsiteX530" fmla="*/ 5390361 w 9595474"/>
              <a:gd name="connsiteY530" fmla="*/ 4798695 h 6858000"/>
              <a:gd name="connsiteX531" fmla="*/ 5384745 w 9595474"/>
              <a:gd name="connsiteY531" fmla="*/ 4799330 h 6858000"/>
              <a:gd name="connsiteX532" fmla="*/ 5378538 w 9595474"/>
              <a:gd name="connsiteY532" fmla="*/ 4800283 h 6858000"/>
              <a:gd name="connsiteX533" fmla="*/ 5372922 w 9595474"/>
              <a:gd name="connsiteY533" fmla="*/ 4801553 h 6858000"/>
              <a:gd name="connsiteX534" fmla="*/ 5367010 w 9595474"/>
              <a:gd name="connsiteY534" fmla="*/ 4802823 h 6858000"/>
              <a:gd name="connsiteX535" fmla="*/ 5361394 w 9595474"/>
              <a:gd name="connsiteY535" fmla="*/ 4805045 h 6858000"/>
              <a:gd name="connsiteX536" fmla="*/ 5355483 w 9595474"/>
              <a:gd name="connsiteY536" fmla="*/ 4807268 h 6858000"/>
              <a:gd name="connsiteX537" fmla="*/ 5350163 w 9595474"/>
              <a:gd name="connsiteY537" fmla="*/ 4809173 h 6858000"/>
              <a:gd name="connsiteX538" fmla="*/ 5344547 w 9595474"/>
              <a:gd name="connsiteY538" fmla="*/ 4812348 h 6858000"/>
              <a:gd name="connsiteX539" fmla="*/ 5338931 w 9595474"/>
              <a:gd name="connsiteY539" fmla="*/ 4815205 h 6858000"/>
              <a:gd name="connsiteX540" fmla="*/ 5333906 w 9595474"/>
              <a:gd name="connsiteY540" fmla="*/ 4818380 h 6858000"/>
              <a:gd name="connsiteX541" fmla="*/ 5328881 w 9595474"/>
              <a:gd name="connsiteY541" fmla="*/ 4821873 h 6858000"/>
              <a:gd name="connsiteX542" fmla="*/ 5323857 w 9595474"/>
              <a:gd name="connsiteY542" fmla="*/ 4826000 h 6858000"/>
              <a:gd name="connsiteX543" fmla="*/ 5318832 w 9595474"/>
              <a:gd name="connsiteY543" fmla="*/ 4830128 h 6858000"/>
              <a:gd name="connsiteX544" fmla="*/ 5314398 w 9595474"/>
              <a:gd name="connsiteY544" fmla="*/ 4834573 h 6858000"/>
              <a:gd name="connsiteX545" fmla="*/ 5307305 w 9595474"/>
              <a:gd name="connsiteY545" fmla="*/ 4841875 h 6858000"/>
              <a:gd name="connsiteX546" fmla="*/ 5301393 w 9595474"/>
              <a:gd name="connsiteY546" fmla="*/ 4849813 h 6858000"/>
              <a:gd name="connsiteX547" fmla="*/ 5295482 w 9595474"/>
              <a:gd name="connsiteY547" fmla="*/ 4858068 h 6858000"/>
              <a:gd name="connsiteX548" fmla="*/ 5291048 w 9595474"/>
              <a:gd name="connsiteY548" fmla="*/ 4867275 h 6858000"/>
              <a:gd name="connsiteX549" fmla="*/ 5286910 w 9595474"/>
              <a:gd name="connsiteY549" fmla="*/ 4875848 h 6858000"/>
              <a:gd name="connsiteX550" fmla="*/ 5283659 w 9595474"/>
              <a:gd name="connsiteY550" fmla="*/ 4885055 h 6858000"/>
              <a:gd name="connsiteX551" fmla="*/ 5281294 w 9595474"/>
              <a:gd name="connsiteY551" fmla="*/ 4894580 h 6858000"/>
              <a:gd name="connsiteX552" fmla="*/ 5279521 w 9595474"/>
              <a:gd name="connsiteY552" fmla="*/ 4903788 h 6858000"/>
              <a:gd name="connsiteX553" fmla="*/ 5278339 w 9595474"/>
              <a:gd name="connsiteY553" fmla="*/ 4913630 h 6858000"/>
              <a:gd name="connsiteX554" fmla="*/ 5278339 w 9595474"/>
              <a:gd name="connsiteY554" fmla="*/ 4923155 h 6858000"/>
              <a:gd name="connsiteX555" fmla="*/ 5278634 w 9595474"/>
              <a:gd name="connsiteY555" fmla="*/ 4932998 h 6858000"/>
              <a:gd name="connsiteX556" fmla="*/ 5279816 w 9595474"/>
              <a:gd name="connsiteY556" fmla="*/ 4942205 h 6858000"/>
              <a:gd name="connsiteX557" fmla="*/ 5281885 w 9595474"/>
              <a:gd name="connsiteY557" fmla="*/ 4952048 h 6858000"/>
              <a:gd name="connsiteX558" fmla="*/ 5284546 w 9595474"/>
              <a:gd name="connsiteY558" fmla="*/ 4960938 h 6858000"/>
              <a:gd name="connsiteX559" fmla="*/ 5288092 w 9595474"/>
              <a:gd name="connsiteY559" fmla="*/ 4970145 h 6858000"/>
              <a:gd name="connsiteX560" fmla="*/ 5291935 w 9595474"/>
              <a:gd name="connsiteY560" fmla="*/ 4979353 h 6858000"/>
              <a:gd name="connsiteX561" fmla="*/ 5583665 w 9595474"/>
              <a:gd name="connsiteY561" fmla="*/ 5270500 h 6858000"/>
              <a:gd name="connsiteX562" fmla="*/ 5588098 w 9595474"/>
              <a:gd name="connsiteY562" fmla="*/ 5275263 h 6858000"/>
              <a:gd name="connsiteX563" fmla="*/ 5592237 w 9595474"/>
              <a:gd name="connsiteY563" fmla="*/ 5280343 h 6858000"/>
              <a:gd name="connsiteX564" fmla="*/ 5595784 w 9595474"/>
              <a:gd name="connsiteY564" fmla="*/ 5284788 h 6858000"/>
              <a:gd name="connsiteX565" fmla="*/ 5599626 w 9595474"/>
              <a:gd name="connsiteY565" fmla="*/ 5290185 h 6858000"/>
              <a:gd name="connsiteX566" fmla="*/ 5602582 w 9595474"/>
              <a:gd name="connsiteY566" fmla="*/ 5295265 h 6858000"/>
              <a:gd name="connsiteX567" fmla="*/ 5605833 w 9595474"/>
              <a:gd name="connsiteY567" fmla="*/ 5300663 h 6858000"/>
              <a:gd name="connsiteX568" fmla="*/ 5608493 w 9595474"/>
              <a:gd name="connsiteY568" fmla="*/ 5306060 h 6858000"/>
              <a:gd name="connsiteX569" fmla="*/ 5610857 w 9595474"/>
              <a:gd name="connsiteY569" fmla="*/ 5311775 h 6858000"/>
              <a:gd name="connsiteX570" fmla="*/ 5613222 w 9595474"/>
              <a:gd name="connsiteY570" fmla="*/ 5317490 h 6858000"/>
              <a:gd name="connsiteX571" fmla="*/ 5614996 w 9595474"/>
              <a:gd name="connsiteY571" fmla="*/ 5323523 h 6858000"/>
              <a:gd name="connsiteX572" fmla="*/ 5616474 w 9595474"/>
              <a:gd name="connsiteY572" fmla="*/ 5329238 h 6858000"/>
              <a:gd name="connsiteX573" fmla="*/ 5617656 w 9595474"/>
              <a:gd name="connsiteY573" fmla="*/ 5334953 h 6858000"/>
              <a:gd name="connsiteX574" fmla="*/ 5618838 w 9595474"/>
              <a:gd name="connsiteY574" fmla="*/ 5340985 h 6858000"/>
              <a:gd name="connsiteX575" fmla="*/ 5619725 w 9595474"/>
              <a:gd name="connsiteY575" fmla="*/ 5346700 h 6858000"/>
              <a:gd name="connsiteX576" fmla="*/ 5620021 w 9595474"/>
              <a:gd name="connsiteY576" fmla="*/ 5352733 h 6858000"/>
              <a:gd name="connsiteX577" fmla="*/ 5620021 w 9595474"/>
              <a:gd name="connsiteY577" fmla="*/ 5359083 h 6858000"/>
              <a:gd name="connsiteX578" fmla="*/ 5620021 w 9595474"/>
              <a:gd name="connsiteY578" fmla="*/ 5364798 h 6858000"/>
              <a:gd name="connsiteX579" fmla="*/ 5619725 w 9595474"/>
              <a:gd name="connsiteY579" fmla="*/ 5370830 h 6858000"/>
              <a:gd name="connsiteX580" fmla="*/ 5618838 w 9595474"/>
              <a:gd name="connsiteY580" fmla="*/ 5376545 h 6858000"/>
              <a:gd name="connsiteX581" fmla="*/ 5617656 w 9595474"/>
              <a:gd name="connsiteY581" fmla="*/ 5382578 h 6858000"/>
              <a:gd name="connsiteX582" fmla="*/ 5616474 w 9595474"/>
              <a:gd name="connsiteY582" fmla="*/ 5388293 h 6858000"/>
              <a:gd name="connsiteX583" fmla="*/ 5614996 w 9595474"/>
              <a:gd name="connsiteY583" fmla="*/ 5394008 h 6858000"/>
              <a:gd name="connsiteX584" fmla="*/ 5613222 w 9595474"/>
              <a:gd name="connsiteY584" fmla="*/ 5400040 h 6858000"/>
              <a:gd name="connsiteX585" fmla="*/ 5610857 w 9595474"/>
              <a:gd name="connsiteY585" fmla="*/ 5405755 h 6858000"/>
              <a:gd name="connsiteX586" fmla="*/ 5608493 w 9595474"/>
              <a:gd name="connsiteY586" fmla="*/ 5411470 h 6858000"/>
              <a:gd name="connsiteX587" fmla="*/ 5605833 w 9595474"/>
              <a:gd name="connsiteY587" fmla="*/ 5416868 h 6858000"/>
              <a:gd name="connsiteX588" fmla="*/ 5602582 w 9595474"/>
              <a:gd name="connsiteY588" fmla="*/ 5422265 h 6858000"/>
              <a:gd name="connsiteX589" fmla="*/ 5599626 w 9595474"/>
              <a:gd name="connsiteY589" fmla="*/ 5427663 h 6858000"/>
              <a:gd name="connsiteX590" fmla="*/ 5595784 w 9595474"/>
              <a:gd name="connsiteY590" fmla="*/ 5432743 h 6858000"/>
              <a:gd name="connsiteX591" fmla="*/ 5592237 w 9595474"/>
              <a:gd name="connsiteY591" fmla="*/ 5437505 h 6858000"/>
              <a:gd name="connsiteX592" fmla="*/ 5588098 w 9595474"/>
              <a:gd name="connsiteY592" fmla="*/ 5442268 h 6858000"/>
              <a:gd name="connsiteX593" fmla="*/ 5583665 w 9595474"/>
              <a:gd name="connsiteY593" fmla="*/ 5447030 h 6858000"/>
              <a:gd name="connsiteX594" fmla="*/ 5578936 w 9595474"/>
              <a:gd name="connsiteY594" fmla="*/ 5451158 h 6858000"/>
              <a:gd name="connsiteX595" fmla="*/ 5573911 w 9595474"/>
              <a:gd name="connsiteY595" fmla="*/ 5455603 h 6858000"/>
              <a:gd name="connsiteX596" fmla="*/ 5569182 w 9595474"/>
              <a:gd name="connsiteY596" fmla="*/ 5459095 h 6858000"/>
              <a:gd name="connsiteX597" fmla="*/ 5563862 w 9595474"/>
              <a:gd name="connsiteY597" fmla="*/ 5462905 h 6858000"/>
              <a:gd name="connsiteX598" fmla="*/ 5558837 w 9595474"/>
              <a:gd name="connsiteY598" fmla="*/ 5466080 h 6858000"/>
              <a:gd name="connsiteX599" fmla="*/ 5553517 w 9595474"/>
              <a:gd name="connsiteY599" fmla="*/ 5469255 h 6858000"/>
              <a:gd name="connsiteX600" fmla="*/ 5548196 w 9595474"/>
              <a:gd name="connsiteY600" fmla="*/ 5471795 h 6858000"/>
              <a:gd name="connsiteX601" fmla="*/ 5542285 w 9595474"/>
              <a:gd name="connsiteY601" fmla="*/ 5474335 h 6858000"/>
              <a:gd name="connsiteX602" fmla="*/ 5536964 w 9595474"/>
              <a:gd name="connsiteY602" fmla="*/ 5476558 h 6858000"/>
              <a:gd name="connsiteX603" fmla="*/ 5531348 w 9595474"/>
              <a:gd name="connsiteY603" fmla="*/ 5478145 h 6858000"/>
              <a:gd name="connsiteX604" fmla="*/ 5525437 w 9595474"/>
              <a:gd name="connsiteY604" fmla="*/ 5479733 h 6858000"/>
              <a:gd name="connsiteX605" fmla="*/ 5519230 w 9595474"/>
              <a:gd name="connsiteY605" fmla="*/ 5481003 h 6858000"/>
              <a:gd name="connsiteX606" fmla="*/ 5513614 w 9595474"/>
              <a:gd name="connsiteY606" fmla="*/ 5482273 h 6858000"/>
              <a:gd name="connsiteX607" fmla="*/ 5507999 w 9595474"/>
              <a:gd name="connsiteY607" fmla="*/ 5482908 h 6858000"/>
              <a:gd name="connsiteX608" fmla="*/ 5501791 w 9595474"/>
              <a:gd name="connsiteY608" fmla="*/ 5483225 h 6858000"/>
              <a:gd name="connsiteX609" fmla="*/ 5495585 w 9595474"/>
              <a:gd name="connsiteY609" fmla="*/ 5483543 h 6858000"/>
              <a:gd name="connsiteX610" fmla="*/ 6873545 w 9595474"/>
              <a:gd name="connsiteY610" fmla="*/ 6858000 h 6858000"/>
              <a:gd name="connsiteX611" fmla="*/ 9595474 w 9595474"/>
              <a:gd name="connsiteY611" fmla="*/ 6858000 h 6858000"/>
              <a:gd name="connsiteX612" fmla="*/ 9595474 w 9595474"/>
              <a:gd name="connsiteY6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</a:cxnLst>
            <a:rect l="l" t="t" r="r" b="b"/>
            <a:pathLst>
              <a:path w="9595474" h="6858000">
                <a:moveTo>
                  <a:pt x="9595474" y="0"/>
                </a:moveTo>
                <a:lnTo>
                  <a:pt x="0" y="0"/>
                </a:lnTo>
                <a:lnTo>
                  <a:pt x="692823" y="691198"/>
                </a:lnTo>
                <a:lnTo>
                  <a:pt x="691345" y="683895"/>
                </a:lnTo>
                <a:lnTo>
                  <a:pt x="690754" y="676275"/>
                </a:lnTo>
                <a:lnTo>
                  <a:pt x="690754" y="669290"/>
                </a:lnTo>
                <a:lnTo>
                  <a:pt x="690754" y="661988"/>
                </a:lnTo>
                <a:lnTo>
                  <a:pt x="691345" y="654368"/>
                </a:lnTo>
                <a:lnTo>
                  <a:pt x="692527" y="647383"/>
                </a:lnTo>
                <a:lnTo>
                  <a:pt x="694005" y="640080"/>
                </a:lnTo>
                <a:lnTo>
                  <a:pt x="695778" y="633095"/>
                </a:lnTo>
                <a:lnTo>
                  <a:pt x="698143" y="625793"/>
                </a:lnTo>
                <a:lnTo>
                  <a:pt x="700803" y="618808"/>
                </a:lnTo>
                <a:lnTo>
                  <a:pt x="704054" y="612140"/>
                </a:lnTo>
                <a:lnTo>
                  <a:pt x="707601" y="605790"/>
                </a:lnTo>
                <a:lnTo>
                  <a:pt x="712035" y="599123"/>
                </a:lnTo>
                <a:lnTo>
                  <a:pt x="716173" y="592773"/>
                </a:lnTo>
                <a:lnTo>
                  <a:pt x="721198" y="587058"/>
                </a:lnTo>
                <a:lnTo>
                  <a:pt x="726518" y="581343"/>
                </a:lnTo>
                <a:lnTo>
                  <a:pt x="731247" y="576898"/>
                </a:lnTo>
                <a:lnTo>
                  <a:pt x="735976" y="572453"/>
                </a:lnTo>
                <a:lnTo>
                  <a:pt x="741001" y="568960"/>
                </a:lnTo>
                <a:lnTo>
                  <a:pt x="746026" y="565468"/>
                </a:lnTo>
                <a:lnTo>
                  <a:pt x="751050" y="562293"/>
                </a:lnTo>
                <a:lnTo>
                  <a:pt x="756371" y="558800"/>
                </a:lnTo>
                <a:lnTo>
                  <a:pt x="761691" y="556578"/>
                </a:lnTo>
                <a:lnTo>
                  <a:pt x="767602" y="554038"/>
                </a:lnTo>
                <a:lnTo>
                  <a:pt x="772923" y="551815"/>
                </a:lnTo>
                <a:lnTo>
                  <a:pt x="778834" y="549910"/>
                </a:lnTo>
                <a:lnTo>
                  <a:pt x="784450" y="548640"/>
                </a:lnTo>
                <a:lnTo>
                  <a:pt x="790066" y="547370"/>
                </a:lnTo>
                <a:lnTo>
                  <a:pt x="795977" y="546418"/>
                </a:lnTo>
                <a:lnTo>
                  <a:pt x="802184" y="545783"/>
                </a:lnTo>
                <a:lnTo>
                  <a:pt x="807800" y="545465"/>
                </a:lnTo>
                <a:lnTo>
                  <a:pt x="814007" y="544830"/>
                </a:lnTo>
                <a:lnTo>
                  <a:pt x="819623" y="545465"/>
                </a:lnTo>
                <a:lnTo>
                  <a:pt x="825830" y="545783"/>
                </a:lnTo>
                <a:lnTo>
                  <a:pt x="831446" y="546418"/>
                </a:lnTo>
                <a:lnTo>
                  <a:pt x="837358" y="547370"/>
                </a:lnTo>
                <a:lnTo>
                  <a:pt x="842974" y="548640"/>
                </a:lnTo>
                <a:lnTo>
                  <a:pt x="848885" y="549910"/>
                </a:lnTo>
                <a:lnTo>
                  <a:pt x="854501" y="551815"/>
                </a:lnTo>
                <a:lnTo>
                  <a:pt x="860117" y="554038"/>
                </a:lnTo>
                <a:lnTo>
                  <a:pt x="865733" y="556578"/>
                </a:lnTo>
                <a:lnTo>
                  <a:pt x="871053" y="558800"/>
                </a:lnTo>
                <a:lnTo>
                  <a:pt x="876373" y="562293"/>
                </a:lnTo>
                <a:lnTo>
                  <a:pt x="881398" y="565468"/>
                </a:lnTo>
                <a:lnTo>
                  <a:pt x="886718" y="568960"/>
                </a:lnTo>
                <a:lnTo>
                  <a:pt x="891447" y="572453"/>
                </a:lnTo>
                <a:lnTo>
                  <a:pt x="896177" y="576898"/>
                </a:lnTo>
                <a:lnTo>
                  <a:pt x="900906" y="581343"/>
                </a:lnTo>
                <a:lnTo>
                  <a:pt x="1431459" y="1111568"/>
                </a:lnTo>
                <a:lnTo>
                  <a:pt x="2394731" y="2074863"/>
                </a:lnTo>
                <a:lnTo>
                  <a:pt x="2399164" y="2079308"/>
                </a:lnTo>
                <a:lnTo>
                  <a:pt x="2404189" y="2083435"/>
                </a:lnTo>
                <a:lnTo>
                  <a:pt x="2408918" y="2087245"/>
                </a:lnTo>
                <a:lnTo>
                  <a:pt x="2413943" y="2090738"/>
                </a:lnTo>
                <a:lnTo>
                  <a:pt x="2419263" y="2093913"/>
                </a:lnTo>
                <a:lnTo>
                  <a:pt x="2424583" y="2096770"/>
                </a:lnTo>
                <a:lnTo>
                  <a:pt x="2430199" y="2099628"/>
                </a:lnTo>
                <a:lnTo>
                  <a:pt x="2435520" y="2101850"/>
                </a:lnTo>
                <a:lnTo>
                  <a:pt x="2441136" y="2104073"/>
                </a:lnTo>
                <a:lnTo>
                  <a:pt x="2447047" y="2105660"/>
                </a:lnTo>
                <a:lnTo>
                  <a:pt x="2452663" y="2107565"/>
                </a:lnTo>
                <a:lnTo>
                  <a:pt x="2458574" y="2108518"/>
                </a:lnTo>
                <a:lnTo>
                  <a:pt x="2464190" y="2109788"/>
                </a:lnTo>
                <a:lnTo>
                  <a:pt x="2469806" y="2110423"/>
                </a:lnTo>
                <a:lnTo>
                  <a:pt x="2476013" y="2110740"/>
                </a:lnTo>
                <a:lnTo>
                  <a:pt x="2481925" y="2111058"/>
                </a:lnTo>
                <a:lnTo>
                  <a:pt x="2487836" y="2110740"/>
                </a:lnTo>
                <a:lnTo>
                  <a:pt x="2493747" y="2110423"/>
                </a:lnTo>
                <a:lnTo>
                  <a:pt x="2499363" y="2109788"/>
                </a:lnTo>
                <a:lnTo>
                  <a:pt x="2505570" y="2108518"/>
                </a:lnTo>
                <a:lnTo>
                  <a:pt x="2511186" y="2107565"/>
                </a:lnTo>
                <a:lnTo>
                  <a:pt x="2517098" y="2105660"/>
                </a:lnTo>
                <a:lnTo>
                  <a:pt x="2522714" y="2104073"/>
                </a:lnTo>
                <a:lnTo>
                  <a:pt x="2528034" y="2101850"/>
                </a:lnTo>
                <a:lnTo>
                  <a:pt x="2533945" y="2099628"/>
                </a:lnTo>
                <a:lnTo>
                  <a:pt x="2539266" y="2096770"/>
                </a:lnTo>
                <a:lnTo>
                  <a:pt x="2544290" y="2093913"/>
                </a:lnTo>
                <a:lnTo>
                  <a:pt x="2549611" y="2090738"/>
                </a:lnTo>
                <a:lnTo>
                  <a:pt x="2554635" y="2087245"/>
                </a:lnTo>
                <a:lnTo>
                  <a:pt x="2559660" y="2083435"/>
                </a:lnTo>
                <a:lnTo>
                  <a:pt x="2564389" y="2079308"/>
                </a:lnTo>
                <a:lnTo>
                  <a:pt x="2569119" y="2074863"/>
                </a:lnTo>
                <a:lnTo>
                  <a:pt x="2573257" y="2070100"/>
                </a:lnTo>
                <a:lnTo>
                  <a:pt x="2577395" y="2065655"/>
                </a:lnTo>
                <a:lnTo>
                  <a:pt x="2581237" y="2060575"/>
                </a:lnTo>
                <a:lnTo>
                  <a:pt x="2584784" y="2055495"/>
                </a:lnTo>
                <a:lnTo>
                  <a:pt x="2588035" y="2050415"/>
                </a:lnTo>
                <a:lnTo>
                  <a:pt x="2590991" y="2045018"/>
                </a:lnTo>
                <a:lnTo>
                  <a:pt x="2593651" y="2039620"/>
                </a:lnTo>
                <a:lnTo>
                  <a:pt x="2596016" y="2034223"/>
                </a:lnTo>
                <a:lnTo>
                  <a:pt x="2598085" y="2028508"/>
                </a:lnTo>
                <a:lnTo>
                  <a:pt x="2599858" y="2022793"/>
                </a:lnTo>
                <a:lnTo>
                  <a:pt x="2601336" y="2017078"/>
                </a:lnTo>
                <a:lnTo>
                  <a:pt x="2602814" y="2011363"/>
                </a:lnTo>
                <a:lnTo>
                  <a:pt x="2603996" y="2005648"/>
                </a:lnTo>
                <a:lnTo>
                  <a:pt x="2604587" y="1999615"/>
                </a:lnTo>
                <a:cubicBezTo>
                  <a:pt x="2604686" y="1997604"/>
                  <a:pt x="2604784" y="1995594"/>
                  <a:pt x="2604883" y="1993583"/>
                </a:cubicBezTo>
                <a:lnTo>
                  <a:pt x="2604883" y="1987550"/>
                </a:lnTo>
                <a:lnTo>
                  <a:pt x="2604883" y="1981835"/>
                </a:lnTo>
                <a:cubicBezTo>
                  <a:pt x="2604784" y="1979930"/>
                  <a:pt x="2604686" y="1978025"/>
                  <a:pt x="2604587" y="1976120"/>
                </a:cubicBezTo>
                <a:lnTo>
                  <a:pt x="2603996" y="1970088"/>
                </a:lnTo>
                <a:lnTo>
                  <a:pt x="2602814" y="1964373"/>
                </a:lnTo>
                <a:lnTo>
                  <a:pt x="2601336" y="1958658"/>
                </a:lnTo>
                <a:lnTo>
                  <a:pt x="2599858" y="1952625"/>
                </a:lnTo>
                <a:lnTo>
                  <a:pt x="2598085" y="1946910"/>
                </a:lnTo>
                <a:lnTo>
                  <a:pt x="2596016" y="1941195"/>
                </a:lnTo>
                <a:lnTo>
                  <a:pt x="2593651" y="1935798"/>
                </a:lnTo>
                <a:lnTo>
                  <a:pt x="2590991" y="1930400"/>
                </a:lnTo>
                <a:lnTo>
                  <a:pt x="2588035" y="1925003"/>
                </a:lnTo>
                <a:lnTo>
                  <a:pt x="2584784" y="1919923"/>
                </a:lnTo>
                <a:lnTo>
                  <a:pt x="2581237" y="1915160"/>
                </a:lnTo>
                <a:lnTo>
                  <a:pt x="2577395" y="1910080"/>
                </a:lnTo>
                <a:lnTo>
                  <a:pt x="2573257" y="1905318"/>
                </a:lnTo>
                <a:lnTo>
                  <a:pt x="2569119" y="1900555"/>
                </a:lnTo>
                <a:lnTo>
                  <a:pt x="1590477" y="922020"/>
                </a:lnTo>
                <a:lnTo>
                  <a:pt x="1272736" y="604203"/>
                </a:lnTo>
                <a:lnTo>
                  <a:pt x="1268303" y="599440"/>
                </a:lnTo>
                <a:lnTo>
                  <a:pt x="1264165" y="594995"/>
                </a:lnTo>
                <a:lnTo>
                  <a:pt x="1260322" y="589915"/>
                </a:lnTo>
                <a:lnTo>
                  <a:pt x="1256776" y="584835"/>
                </a:lnTo>
                <a:lnTo>
                  <a:pt x="1253524" y="579755"/>
                </a:lnTo>
                <a:lnTo>
                  <a:pt x="1250864" y="574358"/>
                </a:lnTo>
                <a:lnTo>
                  <a:pt x="1247908" y="568960"/>
                </a:lnTo>
                <a:lnTo>
                  <a:pt x="1245839" y="563563"/>
                </a:lnTo>
                <a:lnTo>
                  <a:pt x="1243475" y="557848"/>
                </a:lnTo>
                <a:lnTo>
                  <a:pt x="1241701" y="552133"/>
                </a:lnTo>
                <a:lnTo>
                  <a:pt x="1239928" y="546418"/>
                </a:lnTo>
                <a:lnTo>
                  <a:pt x="1238746" y="540703"/>
                </a:lnTo>
                <a:lnTo>
                  <a:pt x="1237859" y="534988"/>
                </a:lnTo>
                <a:lnTo>
                  <a:pt x="1236972" y="528638"/>
                </a:lnTo>
                <a:cubicBezTo>
                  <a:pt x="1236874" y="526733"/>
                  <a:pt x="1236775" y="524828"/>
                  <a:pt x="1236677" y="522923"/>
                </a:cubicBezTo>
                <a:cubicBezTo>
                  <a:pt x="1236578" y="520912"/>
                  <a:pt x="1236480" y="518901"/>
                  <a:pt x="1236381" y="516890"/>
                </a:cubicBezTo>
                <a:cubicBezTo>
                  <a:pt x="1236480" y="514985"/>
                  <a:pt x="1236578" y="513080"/>
                  <a:pt x="1236677" y="511175"/>
                </a:cubicBezTo>
                <a:cubicBezTo>
                  <a:pt x="1236775" y="509270"/>
                  <a:pt x="1236874" y="507365"/>
                  <a:pt x="1236972" y="505460"/>
                </a:cubicBezTo>
                <a:lnTo>
                  <a:pt x="1237859" y="499428"/>
                </a:lnTo>
                <a:lnTo>
                  <a:pt x="1238746" y="493713"/>
                </a:lnTo>
                <a:lnTo>
                  <a:pt x="1239928" y="487680"/>
                </a:lnTo>
                <a:lnTo>
                  <a:pt x="1241701" y="481965"/>
                </a:lnTo>
                <a:lnTo>
                  <a:pt x="1243475" y="476250"/>
                </a:lnTo>
                <a:lnTo>
                  <a:pt x="1245839" y="470535"/>
                </a:lnTo>
                <a:lnTo>
                  <a:pt x="1247908" y="465138"/>
                </a:lnTo>
                <a:lnTo>
                  <a:pt x="1250864" y="459740"/>
                </a:lnTo>
                <a:lnTo>
                  <a:pt x="1253524" y="454343"/>
                </a:lnTo>
                <a:lnTo>
                  <a:pt x="1256776" y="449263"/>
                </a:lnTo>
                <a:lnTo>
                  <a:pt x="1260322" y="444500"/>
                </a:lnTo>
                <a:lnTo>
                  <a:pt x="1264165" y="439420"/>
                </a:lnTo>
                <a:lnTo>
                  <a:pt x="1268303" y="434658"/>
                </a:lnTo>
                <a:lnTo>
                  <a:pt x="1272736" y="429895"/>
                </a:lnTo>
                <a:lnTo>
                  <a:pt x="1277466" y="425768"/>
                </a:lnTo>
                <a:lnTo>
                  <a:pt x="1281899" y="421323"/>
                </a:lnTo>
                <a:lnTo>
                  <a:pt x="1286924" y="417830"/>
                </a:lnTo>
                <a:lnTo>
                  <a:pt x="1291949" y="414338"/>
                </a:lnTo>
                <a:lnTo>
                  <a:pt x="1296973" y="410845"/>
                </a:lnTo>
                <a:lnTo>
                  <a:pt x="1302589" y="407988"/>
                </a:lnTo>
                <a:lnTo>
                  <a:pt x="1307910" y="405130"/>
                </a:lnTo>
                <a:lnTo>
                  <a:pt x="1313230" y="402908"/>
                </a:lnTo>
                <a:lnTo>
                  <a:pt x="1318846" y="401003"/>
                </a:lnTo>
                <a:lnTo>
                  <a:pt x="1324757" y="399098"/>
                </a:lnTo>
                <a:lnTo>
                  <a:pt x="1330373" y="397193"/>
                </a:lnTo>
                <a:lnTo>
                  <a:pt x="1336285" y="396240"/>
                </a:lnTo>
                <a:lnTo>
                  <a:pt x="1341901" y="395288"/>
                </a:lnTo>
                <a:lnTo>
                  <a:pt x="1348108" y="394335"/>
                </a:lnTo>
                <a:lnTo>
                  <a:pt x="1353723" y="394018"/>
                </a:lnTo>
                <a:lnTo>
                  <a:pt x="1359930" y="393700"/>
                </a:lnTo>
                <a:lnTo>
                  <a:pt x="1365546" y="394018"/>
                </a:lnTo>
                <a:lnTo>
                  <a:pt x="1371458" y="394335"/>
                </a:lnTo>
                <a:lnTo>
                  <a:pt x="1377665" y="395288"/>
                </a:lnTo>
                <a:lnTo>
                  <a:pt x="1383281" y="396240"/>
                </a:lnTo>
                <a:lnTo>
                  <a:pt x="1388897" y="397193"/>
                </a:lnTo>
                <a:lnTo>
                  <a:pt x="1394808" y="399098"/>
                </a:lnTo>
                <a:lnTo>
                  <a:pt x="1400424" y="401003"/>
                </a:lnTo>
                <a:lnTo>
                  <a:pt x="1406335" y="402908"/>
                </a:lnTo>
                <a:lnTo>
                  <a:pt x="1411656" y="405130"/>
                </a:lnTo>
                <a:lnTo>
                  <a:pt x="1416976" y="407988"/>
                </a:lnTo>
                <a:lnTo>
                  <a:pt x="1422296" y="410845"/>
                </a:lnTo>
                <a:lnTo>
                  <a:pt x="1427617" y="414338"/>
                </a:lnTo>
                <a:lnTo>
                  <a:pt x="1432641" y="417830"/>
                </a:lnTo>
                <a:lnTo>
                  <a:pt x="1437666" y="421323"/>
                </a:lnTo>
                <a:lnTo>
                  <a:pt x="1442100" y="425768"/>
                </a:lnTo>
                <a:lnTo>
                  <a:pt x="1446829" y="429895"/>
                </a:lnTo>
                <a:lnTo>
                  <a:pt x="1907036" y="890270"/>
                </a:lnTo>
                <a:lnTo>
                  <a:pt x="2165662" y="1148715"/>
                </a:lnTo>
                <a:lnTo>
                  <a:pt x="2170391" y="1153160"/>
                </a:lnTo>
                <a:lnTo>
                  <a:pt x="2175416" y="1157288"/>
                </a:lnTo>
                <a:lnTo>
                  <a:pt x="2180145" y="1161098"/>
                </a:lnTo>
                <a:lnTo>
                  <a:pt x="2185170" y="1164590"/>
                </a:lnTo>
                <a:lnTo>
                  <a:pt x="2190490" y="1167765"/>
                </a:lnTo>
                <a:lnTo>
                  <a:pt x="2195810" y="1170623"/>
                </a:lnTo>
                <a:lnTo>
                  <a:pt x="2201130" y="1173480"/>
                </a:lnTo>
                <a:lnTo>
                  <a:pt x="2206746" y="1176020"/>
                </a:lnTo>
                <a:lnTo>
                  <a:pt x="2212362" y="1177925"/>
                </a:lnTo>
                <a:lnTo>
                  <a:pt x="2217683" y="1180148"/>
                </a:lnTo>
                <a:lnTo>
                  <a:pt x="2223594" y="1181418"/>
                </a:lnTo>
                <a:lnTo>
                  <a:pt x="2229505" y="1182688"/>
                </a:lnTo>
                <a:lnTo>
                  <a:pt x="2235417" y="1183640"/>
                </a:lnTo>
                <a:lnTo>
                  <a:pt x="2241033" y="1184275"/>
                </a:lnTo>
                <a:lnTo>
                  <a:pt x="2247240" y="1184593"/>
                </a:lnTo>
                <a:lnTo>
                  <a:pt x="2252856" y="1185228"/>
                </a:lnTo>
                <a:lnTo>
                  <a:pt x="2259063" y="1184593"/>
                </a:lnTo>
                <a:lnTo>
                  <a:pt x="2264679" y="1184275"/>
                </a:lnTo>
                <a:lnTo>
                  <a:pt x="2270590" y="1183640"/>
                </a:lnTo>
                <a:lnTo>
                  <a:pt x="2276797" y="1182688"/>
                </a:lnTo>
                <a:lnTo>
                  <a:pt x="2282413" y="1181418"/>
                </a:lnTo>
                <a:lnTo>
                  <a:pt x="2288029" y="1180148"/>
                </a:lnTo>
                <a:lnTo>
                  <a:pt x="2293940" y="1177925"/>
                </a:lnTo>
                <a:lnTo>
                  <a:pt x="2299261" y="1176020"/>
                </a:lnTo>
                <a:lnTo>
                  <a:pt x="2304581" y="1173480"/>
                </a:lnTo>
                <a:lnTo>
                  <a:pt x="2310492" y="1170623"/>
                </a:lnTo>
                <a:lnTo>
                  <a:pt x="2315517" y="1167765"/>
                </a:lnTo>
                <a:lnTo>
                  <a:pt x="2320837" y="1164590"/>
                </a:lnTo>
                <a:lnTo>
                  <a:pt x="2325862" y="1161098"/>
                </a:lnTo>
                <a:lnTo>
                  <a:pt x="2330887" y="1157288"/>
                </a:lnTo>
                <a:lnTo>
                  <a:pt x="2335616" y="1153160"/>
                </a:lnTo>
                <a:lnTo>
                  <a:pt x="2340345" y="1148715"/>
                </a:lnTo>
                <a:lnTo>
                  <a:pt x="2344483" y="1144270"/>
                </a:lnTo>
                <a:lnTo>
                  <a:pt x="2348621" y="1139508"/>
                </a:lnTo>
                <a:lnTo>
                  <a:pt x="2352464" y="1134428"/>
                </a:lnTo>
                <a:lnTo>
                  <a:pt x="2356011" y="1129348"/>
                </a:lnTo>
                <a:lnTo>
                  <a:pt x="2359262" y="1124268"/>
                </a:lnTo>
                <a:lnTo>
                  <a:pt x="2362218" y="1118870"/>
                </a:lnTo>
                <a:lnTo>
                  <a:pt x="2364582" y="1113473"/>
                </a:lnTo>
                <a:lnTo>
                  <a:pt x="2367242" y="1108075"/>
                </a:lnTo>
                <a:lnTo>
                  <a:pt x="2369311" y="1102360"/>
                </a:lnTo>
                <a:lnTo>
                  <a:pt x="2371085" y="1096645"/>
                </a:lnTo>
                <a:lnTo>
                  <a:pt x="2372563" y="1090930"/>
                </a:lnTo>
                <a:lnTo>
                  <a:pt x="2374041" y="1085215"/>
                </a:lnTo>
                <a:lnTo>
                  <a:pt x="2375223" y="1079500"/>
                </a:lnTo>
                <a:lnTo>
                  <a:pt x="2375814" y="1073785"/>
                </a:lnTo>
                <a:cubicBezTo>
                  <a:pt x="2375913" y="1071774"/>
                  <a:pt x="2376011" y="1069764"/>
                  <a:pt x="2376110" y="1067753"/>
                </a:cubicBezTo>
                <a:lnTo>
                  <a:pt x="2376110" y="1061720"/>
                </a:lnTo>
                <a:lnTo>
                  <a:pt x="2376110" y="1055688"/>
                </a:lnTo>
                <a:cubicBezTo>
                  <a:pt x="2376011" y="1053783"/>
                  <a:pt x="2375913" y="1051878"/>
                  <a:pt x="2375814" y="1049973"/>
                </a:cubicBezTo>
                <a:lnTo>
                  <a:pt x="2375223" y="1043940"/>
                </a:lnTo>
                <a:lnTo>
                  <a:pt x="2374041" y="1038225"/>
                </a:lnTo>
                <a:lnTo>
                  <a:pt x="2372563" y="1032510"/>
                </a:lnTo>
                <a:lnTo>
                  <a:pt x="2371085" y="1026795"/>
                </a:lnTo>
                <a:lnTo>
                  <a:pt x="2369311" y="1021080"/>
                </a:lnTo>
                <a:lnTo>
                  <a:pt x="2367242" y="1015683"/>
                </a:lnTo>
                <a:lnTo>
                  <a:pt x="2364582" y="1009650"/>
                </a:lnTo>
                <a:lnTo>
                  <a:pt x="2362218" y="1004253"/>
                </a:lnTo>
                <a:lnTo>
                  <a:pt x="2359262" y="998855"/>
                </a:lnTo>
                <a:lnTo>
                  <a:pt x="2356011" y="994093"/>
                </a:lnTo>
                <a:lnTo>
                  <a:pt x="2352464" y="989013"/>
                </a:lnTo>
                <a:lnTo>
                  <a:pt x="2348621" y="983933"/>
                </a:lnTo>
                <a:lnTo>
                  <a:pt x="2344483" y="979170"/>
                </a:lnTo>
                <a:lnTo>
                  <a:pt x="2340345" y="974725"/>
                </a:lnTo>
                <a:lnTo>
                  <a:pt x="2240737" y="875030"/>
                </a:lnTo>
                <a:lnTo>
                  <a:pt x="1991865" y="626428"/>
                </a:lnTo>
                <a:lnTo>
                  <a:pt x="1987431" y="621665"/>
                </a:lnTo>
                <a:lnTo>
                  <a:pt x="1983589" y="616903"/>
                </a:lnTo>
                <a:lnTo>
                  <a:pt x="1979451" y="612140"/>
                </a:lnTo>
                <a:lnTo>
                  <a:pt x="1975904" y="607060"/>
                </a:lnTo>
                <a:lnTo>
                  <a:pt x="1972653" y="601663"/>
                </a:lnTo>
                <a:lnTo>
                  <a:pt x="1969993" y="596265"/>
                </a:lnTo>
                <a:lnTo>
                  <a:pt x="1967037" y="590868"/>
                </a:lnTo>
                <a:lnTo>
                  <a:pt x="1964968" y="585470"/>
                </a:lnTo>
                <a:lnTo>
                  <a:pt x="1962603" y="579755"/>
                </a:lnTo>
                <a:lnTo>
                  <a:pt x="1960830" y="574358"/>
                </a:lnTo>
                <a:lnTo>
                  <a:pt x="1959056" y="568643"/>
                </a:lnTo>
                <a:lnTo>
                  <a:pt x="1958170" y="562610"/>
                </a:lnTo>
                <a:lnTo>
                  <a:pt x="1956987" y="556895"/>
                </a:lnTo>
                <a:lnTo>
                  <a:pt x="1956396" y="551180"/>
                </a:lnTo>
                <a:lnTo>
                  <a:pt x="1955805" y="544830"/>
                </a:lnTo>
                <a:lnTo>
                  <a:pt x="1955805" y="539115"/>
                </a:lnTo>
                <a:lnTo>
                  <a:pt x="1955805" y="533083"/>
                </a:lnTo>
                <a:lnTo>
                  <a:pt x="1956396" y="527368"/>
                </a:lnTo>
                <a:lnTo>
                  <a:pt x="1956987" y="521653"/>
                </a:lnTo>
                <a:lnTo>
                  <a:pt x="1958170" y="515620"/>
                </a:lnTo>
                <a:lnTo>
                  <a:pt x="1959056" y="509588"/>
                </a:lnTo>
                <a:lnTo>
                  <a:pt x="1960830" y="503873"/>
                </a:lnTo>
                <a:lnTo>
                  <a:pt x="1962603" y="498158"/>
                </a:lnTo>
                <a:lnTo>
                  <a:pt x="1964968" y="492760"/>
                </a:lnTo>
                <a:lnTo>
                  <a:pt x="1967037" y="487363"/>
                </a:lnTo>
                <a:lnTo>
                  <a:pt x="1969993" y="481648"/>
                </a:lnTo>
                <a:lnTo>
                  <a:pt x="1972653" y="476568"/>
                </a:lnTo>
                <a:lnTo>
                  <a:pt x="1975904" y="471170"/>
                </a:lnTo>
                <a:lnTo>
                  <a:pt x="1979451" y="466408"/>
                </a:lnTo>
                <a:lnTo>
                  <a:pt x="1983589" y="461328"/>
                </a:lnTo>
                <a:lnTo>
                  <a:pt x="1987431" y="456565"/>
                </a:lnTo>
                <a:lnTo>
                  <a:pt x="1991865" y="451803"/>
                </a:lnTo>
                <a:lnTo>
                  <a:pt x="1996594" y="447675"/>
                </a:lnTo>
                <a:lnTo>
                  <a:pt x="2001028" y="443548"/>
                </a:lnTo>
                <a:lnTo>
                  <a:pt x="2006052" y="439738"/>
                </a:lnTo>
                <a:lnTo>
                  <a:pt x="2011077" y="436245"/>
                </a:lnTo>
                <a:lnTo>
                  <a:pt x="2016102" y="432753"/>
                </a:lnTo>
                <a:lnTo>
                  <a:pt x="2021718" y="429895"/>
                </a:lnTo>
                <a:lnTo>
                  <a:pt x="2027038" y="427355"/>
                </a:lnTo>
                <a:lnTo>
                  <a:pt x="2032654" y="424815"/>
                </a:lnTo>
                <a:lnTo>
                  <a:pt x="2038270" y="422910"/>
                </a:lnTo>
                <a:lnTo>
                  <a:pt x="2043886" y="421005"/>
                </a:lnTo>
                <a:lnTo>
                  <a:pt x="2049502" y="419735"/>
                </a:lnTo>
                <a:lnTo>
                  <a:pt x="2055413" y="418148"/>
                </a:lnTo>
                <a:lnTo>
                  <a:pt x="2061029" y="417195"/>
                </a:lnTo>
                <a:lnTo>
                  <a:pt x="2067236" y="416243"/>
                </a:lnTo>
                <a:lnTo>
                  <a:pt x="2072852" y="415925"/>
                </a:lnTo>
                <a:lnTo>
                  <a:pt x="2079059" y="415925"/>
                </a:lnTo>
                <a:lnTo>
                  <a:pt x="2084970" y="415925"/>
                </a:lnTo>
                <a:lnTo>
                  <a:pt x="2090882" y="416243"/>
                </a:lnTo>
                <a:lnTo>
                  <a:pt x="2096793" y="417195"/>
                </a:lnTo>
                <a:lnTo>
                  <a:pt x="2102409" y="418148"/>
                </a:lnTo>
                <a:lnTo>
                  <a:pt x="2108321" y="419735"/>
                </a:lnTo>
                <a:lnTo>
                  <a:pt x="2113936" y="421005"/>
                </a:lnTo>
                <a:lnTo>
                  <a:pt x="2119552" y="422910"/>
                </a:lnTo>
                <a:lnTo>
                  <a:pt x="2125464" y="424815"/>
                </a:lnTo>
                <a:lnTo>
                  <a:pt x="2130784" y="427355"/>
                </a:lnTo>
                <a:lnTo>
                  <a:pt x="2136104" y="429895"/>
                </a:lnTo>
                <a:lnTo>
                  <a:pt x="2141720" y="432753"/>
                </a:lnTo>
                <a:lnTo>
                  <a:pt x="2146745" y="436245"/>
                </a:lnTo>
                <a:lnTo>
                  <a:pt x="2152065" y="439738"/>
                </a:lnTo>
                <a:lnTo>
                  <a:pt x="2156795" y="443548"/>
                </a:lnTo>
                <a:lnTo>
                  <a:pt x="2161819" y="447675"/>
                </a:lnTo>
                <a:lnTo>
                  <a:pt x="2165957" y="451803"/>
                </a:lnTo>
                <a:lnTo>
                  <a:pt x="2966073" y="1251903"/>
                </a:lnTo>
                <a:lnTo>
                  <a:pt x="5612631" y="3898583"/>
                </a:lnTo>
                <a:lnTo>
                  <a:pt x="5617360" y="3903345"/>
                </a:lnTo>
                <a:lnTo>
                  <a:pt x="5621498" y="3908425"/>
                </a:lnTo>
                <a:lnTo>
                  <a:pt x="5625341" y="3913505"/>
                </a:lnTo>
                <a:lnTo>
                  <a:pt x="5628888" y="3918585"/>
                </a:lnTo>
                <a:lnTo>
                  <a:pt x="5632139" y="3923348"/>
                </a:lnTo>
                <a:lnTo>
                  <a:pt x="5635094" y="3928745"/>
                </a:lnTo>
                <a:lnTo>
                  <a:pt x="5638050" y="3934460"/>
                </a:lnTo>
                <a:lnTo>
                  <a:pt x="5640415" y="3939858"/>
                </a:lnTo>
                <a:lnTo>
                  <a:pt x="5642484" y="3945890"/>
                </a:lnTo>
                <a:lnTo>
                  <a:pt x="5644257" y="3951605"/>
                </a:lnTo>
                <a:lnTo>
                  <a:pt x="5645735" y="3957320"/>
                </a:lnTo>
                <a:lnTo>
                  <a:pt x="5647213" y="3963353"/>
                </a:lnTo>
                <a:lnTo>
                  <a:pt x="5648100" y="3969068"/>
                </a:lnTo>
                <a:lnTo>
                  <a:pt x="5648691" y="3975100"/>
                </a:lnTo>
                <a:lnTo>
                  <a:pt x="5649282" y="3980815"/>
                </a:lnTo>
                <a:lnTo>
                  <a:pt x="5649282" y="3987165"/>
                </a:lnTo>
                <a:lnTo>
                  <a:pt x="5649282" y="3992880"/>
                </a:lnTo>
                <a:lnTo>
                  <a:pt x="5648691" y="3998913"/>
                </a:lnTo>
                <a:lnTo>
                  <a:pt x="5648100" y="4004945"/>
                </a:lnTo>
                <a:lnTo>
                  <a:pt x="5647213" y="4010660"/>
                </a:lnTo>
                <a:lnTo>
                  <a:pt x="5645735" y="4016375"/>
                </a:lnTo>
                <a:lnTo>
                  <a:pt x="5644257" y="4022725"/>
                </a:lnTo>
                <a:lnTo>
                  <a:pt x="5642484" y="4028440"/>
                </a:lnTo>
                <a:lnTo>
                  <a:pt x="5640415" y="4033838"/>
                </a:lnTo>
                <a:lnTo>
                  <a:pt x="5638050" y="4039553"/>
                </a:lnTo>
                <a:lnTo>
                  <a:pt x="5635094" y="4044950"/>
                </a:lnTo>
                <a:lnTo>
                  <a:pt x="5632139" y="4050348"/>
                </a:lnTo>
                <a:lnTo>
                  <a:pt x="5628888" y="4055745"/>
                </a:lnTo>
                <a:lnTo>
                  <a:pt x="5625341" y="4060825"/>
                </a:lnTo>
                <a:lnTo>
                  <a:pt x="5621498" y="4065588"/>
                </a:lnTo>
                <a:lnTo>
                  <a:pt x="5617360" y="4070350"/>
                </a:lnTo>
                <a:lnTo>
                  <a:pt x="5612631" y="4075113"/>
                </a:lnTo>
                <a:lnTo>
                  <a:pt x="5608198" y="4079875"/>
                </a:lnTo>
                <a:lnTo>
                  <a:pt x="5603468" y="4083685"/>
                </a:lnTo>
                <a:lnTo>
                  <a:pt x="5598443" y="4087495"/>
                </a:lnTo>
                <a:lnTo>
                  <a:pt x="5593419" y="4091305"/>
                </a:lnTo>
                <a:lnTo>
                  <a:pt x="5588098" y="4094480"/>
                </a:lnTo>
                <a:lnTo>
                  <a:pt x="5582482" y="4097338"/>
                </a:lnTo>
                <a:lnTo>
                  <a:pt x="5577162" y="4100195"/>
                </a:lnTo>
                <a:lnTo>
                  <a:pt x="5571842" y="4102418"/>
                </a:lnTo>
                <a:lnTo>
                  <a:pt x="5565931" y="4104640"/>
                </a:lnTo>
                <a:lnTo>
                  <a:pt x="5560315" y="4106545"/>
                </a:lnTo>
                <a:lnTo>
                  <a:pt x="5554699" y="4108133"/>
                </a:lnTo>
                <a:lnTo>
                  <a:pt x="5548492" y="4109403"/>
                </a:lnTo>
                <a:lnTo>
                  <a:pt x="5542580" y="4110355"/>
                </a:lnTo>
                <a:lnTo>
                  <a:pt x="5536669" y="4110990"/>
                </a:lnTo>
                <a:lnTo>
                  <a:pt x="5530758" y="4111308"/>
                </a:lnTo>
                <a:lnTo>
                  <a:pt x="5524846" y="4111625"/>
                </a:lnTo>
                <a:lnTo>
                  <a:pt x="5518639" y="4111308"/>
                </a:lnTo>
                <a:lnTo>
                  <a:pt x="5513023" y="4110990"/>
                </a:lnTo>
                <a:lnTo>
                  <a:pt x="5506816" y="4110355"/>
                </a:lnTo>
                <a:lnTo>
                  <a:pt x="5501200" y="4109403"/>
                </a:lnTo>
                <a:lnTo>
                  <a:pt x="5494993" y="4108133"/>
                </a:lnTo>
                <a:lnTo>
                  <a:pt x="5489081" y="4106545"/>
                </a:lnTo>
                <a:lnTo>
                  <a:pt x="5483466" y="4104640"/>
                </a:lnTo>
                <a:lnTo>
                  <a:pt x="5477850" y="4102418"/>
                </a:lnTo>
                <a:lnTo>
                  <a:pt x="5472234" y="4100195"/>
                </a:lnTo>
                <a:lnTo>
                  <a:pt x="5466913" y="4097338"/>
                </a:lnTo>
                <a:lnTo>
                  <a:pt x="5461593" y="4094480"/>
                </a:lnTo>
                <a:lnTo>
                  <a:pt x="5456273" y="4091305"/>
                </a:lnTo>
                <a:lnTo>
                  <a:pt x="5451248" y="4087495"/>
                </a:lnTo>
                <a:lnTo>
                  <a:pt x="5446223" y="4083685"/>
                </a:lnTo>
                <a:lnTo>
                  <a:pt x="5441495" y="4079875"/>
                </a:lnTo>
                <a:lnTo>
                  <a:pt x="5436765" y="4075113"/>
                </a:lnTo>
                <a:lnTo>
                  <a:pt x="5322379" y="3960813"/>
                </a:lnTo>
                <a:lnTo>
                  <a:pt x="5317945" y="3956368"/>
                </a:lnTo>
                <a:lnTo>
                  <a:pt x="5312921" y="3952240"/>
                </a:lnTo>
                <a:lnTo>
                  <a:pt x="5307896" y="3948748"/>
                </a:lnTo>
                <a:lnTo>
                  <a:pt x="5302871" y="3944938"/>
                </a:lnTo>
                <a:lnTo>
                  <a:pt x="5297255" y="3941763"/>
                </a:lnTo>
                <a:lnTo>
                  <a:pt x="5292230" y="3938588"/>
                </a:lnTo>
                <a:lnTo>
                  <a:pt x="5286615" y="3936048"/>
                </a:lnTo>
                <a:lnTo>
                  <a:pt x="5281294" y="3933508"/>
                </a:lnTo>
                <a:lnTo>
                  <a:pt x="5275383" y="3931285"/>
                </a:lnTo>
                <a:lnTo>
                  <a:pt x="5269767" y="3929698"/>
                </a:lnTo>
                <a:lnTo>
                  <a:pt x="5263855" y="3927793"/>
                </a:lnTo>
                <a:lnTo>
                  <a:pt x="5257944" y="3926840"/>
                </a:lnTo>
                <a:lnTo>
                  <a:pt x="5252033" y="3925570"/>
                </a:lnTo>
                <a:lnTo>
                  <a:pt x="5246121" y="3924935"/>
                </a:lnTo>
                <a:lnTo>
                  <a:pt x="5240210" y="3924618"/>
                </a:lnTo>
                <a:lnTo>
                  <a:pt x="5234298" y="3924618"/>
                </a:lnTo>
                <a:lnTo>
                  <a:pt x="5228091" y="3924618"/>
                </a:lnTo>
                <a:lnTo>
                  <a:pt x="5222180" y="3924935"/>
                </a:lnTo>
                <a:lnTo>
                  <a:pt x="5216268" y="3925570"/>
                </a:lnTo>
                <a:lnTo>
                  <a:pt x="5210357" y="3926840"/>
                </a:lnTo>
                <a:lnTo>
                  <a:pt x="5204741" y="3927793"/>
                </a:lnTo>
                <a:lnTo>
                  <a:pt x="5198534" y="3929698"/>
                </a:lnTo>
                <a:lnTo>
                  <a:pt x="5192918" y="3931285"/>
                </a:lnTo>
                <a:lnTo>
                  <a:pt x="5187598" y="3933508"/>
                </a:lnTo>
                <a:lnTo>
                  <a:pt x="5181686" y="3936048"/>
                </a:lnTo>
                <a:lnTo>
                  <a:pt x="5176366" y="3938588"/>
                </a:lnTo>
                <a:lnTo>
                  <a:pt x="5171046" y="3941763"/>
                </a:lnTo>
                <a:lnTo>
                  <a:pt x="5165430" y="3944938"/>
                </a:lnTo>
                <a:lnTo>
                  <a:pt x="5160405" y="3948748"/>
                </a:lnTo>
                <a:lnTo>
                  <a:pt x="5155380" y="3952240"/>
                </a:lnTo>
                <a:lnTo>
                  <a:pt x="5150947" y="3956368"/>
                </a:lnTo>
                <a:lnTo>
                  <a:pt x="5146218" y="3960813"/>
                </a:lnTo>
                <a:lnTo>
                  <a:pt x="5141488" y="3965575"/>
                </a:lnTo>
                <a:lnTo>
                  <a:pt x="5137646" y="3970655"/>
                </a:lnTo>
                <a:lnTo>
                  <a:pt x="5133508" y="3975100"/>
                </a:lnTo>
                <a:lnTo>
                  <a:pt x="5129961" y="3980498"/>
                </a:lnTo>
                <a:lnTo>
                  <a:pt x="5126710" y="3985578"/>
                </a:lnTo>
                <a:lnTo>
                  <a:pt x="5123754" y="3990975"/>
                </a:lnTo>
                <a:lnTo>
                  <a:pt x="5121094" y="3996373"/>
                </a:lnTo>
                <a:lnTo>
                  <a:pt x="5118729" y="4002088"/>
                </a:lnTo>
                <a:lnTo>
                  <a:pt x="5116660" y="4007803"/>
                </a:lnTo>
                <a:lnTo>
                  <a:pt x="5114591" y="4013518"/>
                </a:lnTo>
                <a:lnTo>
                  <a:pt x="5113113" y="4019233"/>
                </a:lnTo>
                <a:lnTo>
                  <a:pt x="5111636" y="4025265"/>
                </a:lnTo>
                <a:cubicBezTo>
                  <a:pt x="5111439" y="4027276"/>
                  <a:pt x="5111241" y="4029287"/>
                  <a:pt x="5111044" y="4031298"/>
                </a:cubicBezTo>
                <a:lnTo>
                  <a:pt x="5110158" y="4037013"/>
                </a:lnTo>
                <a:cubicBezTo>
                  <a:pt x="5110059" y="4039024"/>
                  <a:pt x="5109961" y="4041034"/>
                  <a:pt x="5109862" y="4043045"/>
                </a:cubicBezTo>
                <a:cubicBezTo>
                  <a:pt x="5109764" y="4045056"/>
                  <a:pt x="5109665" y="4047067"/>
                  <a:pt x="5109567" y="4049078"/>
                </a:cubicBezTo>
                <a:cubicBezTo>
                  <a:pt x="5109665" y="4051089"/>
                  <a:pt x="5109764" y="4053099"/>
                  <a:pt x="5109862" y="4055110"/>
                </a:cubicBezTo>
                <a:cubicBezTo>
                  <a:pt x="5109961" y="4057121"/>
                  <a:pt x="5110059" y="4059132"/>
                  <a:pt x="5110158" y="4061143"/>
                </a:cubicBezTo>
                <a:lnTo>
                  <a:pt x="5111044" y="4066858"/>
                </a:lnTo>
                <a:cubicBezTo>
                  <a:pt x="5111241" y="4068869"/>
                  <a:pt x="5111439" y="4070879"/>
                  <a:pt x="5111636" y="4072890"/>
                </a:cubicBezTo>
                <a:lnTo>
                  <a:pt x="5113113" y="4078605"/>
                </a:lnTo>
                <a:lnTo>
                  <a:pt x="5114591" y="4084320"/>
                </a:lnTo>
                <a:lnTo>
                  <a:pt x="5116660" y="4090035"/>
                </a:lnTo>
                <a:lnTo>
                  <a:pt x="5118729" y="4095750"/>
                </a:lnTo>
                <a:lnTo>
                  <a:pt x="5121094" y="4101783"/>
                </a:lnTo>
                <a:lnTo>
                  <a:pt x="5123754" y="4107180"/>
                </a:lnTo>
                <a:lnTo>
                  <a:pt x="5126710" y="4112578"/>
                </a:lnTo>
                <a:lnTo>
                  <a:pt x="5129961" y="4117975"/>
                </a:lnTo>
                <a:lnTo>
                  <a:pt x="5133508" y="4122738"/>
                </a:lnTo>
                <a:lnTo>
                  <a:pt x="5137646" y="4127818"/>
                </a:lnTo>
                <a:lnTo>
                  <a:pt x="5141488" y="4132580"/>
                </a:lnTo>
                <a:lnTo>
                  <a:pt x="5146218" y="4137343"/>
                </a:lnTo>
                <a:lnTo>
                  <a:pt x="5870075" y="4860925"/>
                </a:lnTo>
                <a:lnTo>
                  <a:pt x="5874509" y="4865688"/>
                </a:lnTo>
                <a:lnTo>
                  <a:pt x="5878646" y="4870768"/>
                </a:lnTo>
                <a:lnTo>
                  <a:pt x="5882489" y="4875848"/>
                </a:lnTo>
                <a:lnTo>
                  <a:pt x="5886036" y="4880928"/>
                </a:lnTo>
                <a:lnTo>
                  <a:pt x="5889287" y="4885690"/>
                </a:lnTo>
                <a:lnTo>
                  <a:pt x="5892243" y="4891088"/>
                </a:lnTo>
                <a:lnTo>
                  <a:pt x="5895199" y="4897120"/>
                </a:lnTo>
                <a:lnTo>
                  <a:pt x="5897268" y="4902518"/>
                </a:lnTo>
                <a:lnTo>
                  <a:pt x="5899336" y="4908233"/>
                </a:lnTo>
                <a:lnTo>
                  <a:pt x="5901701" y="4913948"/>
                </a:lnTo>
                <a:lnTo>
                  <a:pt x="5902883" y="4919663"/>
                </a:lnTo>
                <a:lnTo>
                  <a:pt x="5904066" y="4925695"/>
                </a:lnTo>
                <a:lnTo>
                  <a:pt x="5905248" y="4931410"/>
                </a:lnTo>
                <a:cubicBezTo>
                  <a:pt x="5905445" y="4933421"/>
                  <a:pt x="5905643" y="4935432"/>
                  <a:pt x="5905840" y="4937443"/>
                </a:cubicBezTo>
                <a:cubicBezTo>
                  <a:pt x="5905938" y="4939454"/>
                  <a:pt x="5906037" y="4941464"/>
                  <a:pt x="5906135" y="4943475"/>
                </a:cubicBezTo>
                <a:lnTo>
                  <a:pt x="5906726" y="4949508"/>
                </a:lnTo>
                <a:lnTo>
                  <a:pt x="5906135" y="4955223"/>
                </a:lnTo>
                <a:cubicBezTo>
                  <a:pt x="5906037" y="4957234"/>
                  <a:pt x="5905938" y="4959244"/>
                  <a:pt x="5905840" y="4961255"/>
                </a:cubicBezTo>
                <a:cubicBezTo>
                  <a:pt x="5905643" y="4963266"/>
                  <a:pt x="5905445" y="4965277"/>
                  <a:pt x="5905248" y="4967288"/>
                </a:cubicBezTo>
                <a:lnTo>
                  <a:pt x="5904066" y="4973003"/>
                </a:lnTo>
                <a:lnTo>
                  <a:pt x="5902883" y="4979035"/>
                </a:lnTo>
                <a:lnTo>
                  <a:pt x="5901701" y="4985068"/>
                </a:lnTo>
                <a:lnTo>
                  <a:pt x="5899336" y="4990783"/>
                </a:lnTo>
                <a:lnTo>
                  <a:pt x="5897268" y="4996180"/>
                </a:lnTo>
                <a:lnTo>
                  <a:pt x="5895199" y="5001895"/>
                </a:lnTo>
                <a:lnTo>
                  <a:pt x="5892243" y="5007293"/>
                </a:lnTo>
                <a:lnTo>
                  <a:pt x="5889287" y="5012690"/>
                </a:lnTo>
                <a:lnTo>
                  <a:pt x="5886036" y="5018088"/>
                </a:lnTo>
                <a:lnTo>
                  <a:pt x="5882489" y="5023168"/>
                </a:lnTo>
                <a:lnTo>
                  <a:pt x="5878646" y="5028248"/>
                </a:lnTo>
                <a:lnTo>
                  <a:pt x="5874509" y="5032693"/>
                </a:lnTo>
                <a:lnTo>
                  <a:pt x="5870075" y="5037455"/>
                </a:lnTo>
                <a:lnTo>
                  <a:pt x="5865346" y="5041900"/>
                </a:lnTo>
                <a:lnTo>
                  <a:pt x="5860617" y="5046028"/>
                </a:lnTo>
                <a:lnTo>
                  <a:pt x="5855592" y="5050155"/>
                </a:lnTo>
                <a:lnTo>
                  <a:pt x="5850567" y="5053648"/>
                </a:lnTo>
                <a:lnTo>
                  <a:pt x="5845247" y="5056823"/>
                </a:lnTo>
                <a:lnTo>
                  <a:pt x="5839926" y="5059680"/>
                </a:lnTo>
                <a:lnTo>
                  <a:pt x="5834311" y="5062538"/>
                </a:lnTo>
                <a:lnTo>
                  <a:pt x="5828695" y="5064760"/>
                </a:lnTo>
                <a:lnTo>
                  <a:pt x="5823375" y="5066983"/>
                </a:lnTo>
                <a:lnTo>
                  <a:pt x="5817463" y="5069205"/>
                </a:lnTo>
                <a:lnTo>
                  <a:pt x="5811552" y="5070475"/>
                </a:lnTo>
                <a:lnTo>
                  <a:pt x="5805640" y="5071428"/>
                </a:lnTo>
                <a:lnTo>
                  <a:pt x="5800024" y="5072698"/>
                </a:lnTo>
                <a:lnTo>
                  <a:pt x="5793817" y="5073333"/>
                </a:lnTo>
                <a:lnTo>
                  <a:pt x="5787610" y="5073650"/>
                </a:lnTo>
                <a:lnTo>
                  <a:pt x="5781994" y="5073968"/>
                </a:lnTo>
                <a:lnTo>
                  <a:pt x="5775787" y="5073650"/>
                </a:lnTo>
                <a:lnTo>
                  <a:pt x="5770171" y="5073333"/>
                </a:lnTo>
                <a:lnTo>
                  <a:pt x="5763965" y="5072698"/>
                </a:lnTo>
                <a:lnTo>
                  <a:pt x="5758349" y="5071428"/>
                </a:lnTo>
                <a:lnTo>
                  <a:pt x="5752141" y="5070475"/>
                </a:lnTo>
                <a:lnTo>
                  <a:pt x="5746526" y="5069205"/>
                </a:lnTo>
                <a:lnTo>
                  <a:pt x="5740614" y="5066983"/>
                </a:lnTo>
                <a:lnTo>
                  <a:pt x="5734998" y="5064760"/>
                </a:lnTo>
                <a:lnTo>
                  <a:pt x="5729382" y="5062538"/>
                </a:lnTo>
                <a:lnTo>
                  <a:pt x="5723767" y="5059680"/>
                </a:lnTo>
                <a:lnTo>
                  <a:pt x="5718446" y="5056823"/>
                </a:lnTo>
                <a:lnTo>
                  <a:pt x="5713421" y="5053648"/>
                </a:lnTo>
                <a:lnTo>
                  <a:pt x="5708396" y="5050155"/>
                </a:lnTo>
                <a:lnTo>
                  <a:pt x="5703372" y="5046028"/>
                </a:lnTo>
                <a:lnTo>
                  <a:pt x="5698347" y="5041900"/>
                </a:lnTo>
                <a:lnTo>
                  <a:pt x="5693618" y="5037455"/>
                </a:lnTo>
                <a:lnTo>
                  <a:pt x="5598148" y="4941888"/>
                </a:lnTo>
                <a:lnTo>
                  <a:pt x="5490560" y="4834573"/>
                </a:lnTo>
                <a:lnTo>
                  <a:pt x="5485830" y="4830128"/>
                </a:lnTo>
                <a:lnTo>
                  <a:pt x="5481397" y="4826000"/>
                </a:lnTo>
                <a:lnTo>
                  <a:pt x="5476372" y="4821873"/>
                </a:lnTo>
                <a:lnTo>
                  <a:pt x="5471348" y="4818380"/>
                </a:lnTo>
                <a:lnTo>
                  <a:pt x="5465732" y="4815205"/>
                </a:lnTo>
                <a:lnTo>
                  <a:pt x="5460411" y="4812348"/>
                </a:lnTo>
                <a:lnTo>
                  <a:pt x="5455091" y="4809173"/>
                </a:lnTo>
                <a:lnTo>
                  <a:pt x="5449475" y="4807268"/>
                </a:lnTo>
                <a:lnTo>
                  <a:pt x="5443563" y="4805045"/>
                </a:lnTo>
                <a:lnTo>
                  <a:pt x="5437948" y="4802823"/>
                </a:lnTo>
                <a:lnTo>
                  <a:pt x="5432036" y="4801553"/>
                </a:lnTo>
                <a:lnTo>
                  <a:pt x="5426420" y="4800283"/>
                </a:lnTo>
                <a:lnTo>
                  <a:pt x="5420509" y="4799330"/>
                </a:lnTo>
                <a:lnTo>
                  <a:pt x="5414597" y="4798695"/>
                </a:lnTo>
                <a:lnTo>
                  <a:pt x="5408391" y="4798060"/>
                </a:lnTo>
                <a:lnTo>
                  <a:pt x="5402775" y="4797743"/>
                </a:lnTo>
                <a:lnTo>
                  <a:pt x="5396568" y="4798060"/>
                </a:lnTo>
                <a:lnTo>
                  <a:pt x="5390361" y="4798695"/>
                </a:lnTo>
                <a:lnTo>
                  <a:pt x="5384745" y="4799330"/>
                </a:lnTo>
                <a:lnTo>
                  <a:pt x="5378538" y="4800283"/>
                </a:lnTo>
                <a:lnTo>
                  <a:pt x="5372922" y="4801553"/>
                </a:lnTo>
                <a:lnTo>
                  <a:pt x="5367010" y="4802823"/>
                </a:lnTo>
                <a:lnTo>
                  <a:pt x="5361394" y="4805045"/>
                </a:lnTo>
                <a:lnTo>
                  <a:pt x="5355483" y="4807268"/>
                </a:lnTo>
                <a:lnTo>
                  <a:pt x="5350163" y="4809173"/>
                </a:lnTo>
                <a:lnTo>
                  <a:pt x="5344547" y="4812348"/>
                </a:lnTo>
                <a:lnTo>
                  <a:pt x="5338931" y="4815205"/>
                </a:lnTo>
                <a:lnTo>
                  <a:pt x="5333906" y="4818380"/>
                </a:lnTo>
                <a:lnTo>
                  <a:pt x="5328881" y="4821873"/>
                </a:lnTo>
                <a:lnTo>
                  <a:pt x="5323857" y="4826000"/>
                </a:lnTo>
                <a:lnTo>
                  <a:pt x="5318832" y="4830128"/>
                </a:lnTo>
                <a:lnTo>
                  <a:pt x="5314398" y="4834573"/>
                </a:lnTo>
                <a:lnTo>
                  <a:pt x="5307305" y="4841875"/>
                </a:lnTo>
                <a:lnTo>
                  <a:pt x="5301393" y="4849813"/>
                </a:lnTo>
                <a:lnTo>
                  <a:pt x="5295482" y="4858068"/>
                </a:lnTo>
                <a:lnTo>
                  <a:pt x="5291048" y="4867275"/>
                </a:lnTo>
                <a:lnTo>
                  <a:pt x="5286910" y="4875848"/>
                </a:lnTo>
                <a:lnTo>
                  <a:pt x="5283659" y="4885055"/>
                </a:lnTo>
                <a:lnTo>
                  <a:pt x="5281294" y="4894580"/>
                </a:lnTo>
                <a:lnTo>
                  <a:pt x="5279521" y="4903788"/>
                </a:lnTo>
                <a:lnTo>
                  <a:pt x="5278339" y="4913630"/>
                </a:lnTo>
                <a:lnTo>
                  <a:pt x="5278339" y="4923155"/>
                </a:lnTo>
                <a:cubicBezTo>
                  <a:pt x="5278437" y="4926436"/>
                  <a:pt x="5278536" y="4929717"/>
                  <a:pt x="5278634" y="4932998"/>
                </a:cubicBezTo>
                <a:lnTo>
                  <a:pt x="5279816" y="4942205"/>
                </a:lnTo>
                <a:lnTo>
                  <a:pt x="5281885" y="4952048"/>
                </a:lnTo>
                <a:lnTo>
                  <a:pt x="5284546" y="4960938"/>
                </a:lnTo>
                <a:lnTo>
                  <a:pt x="5288092" y="4970145"/>
                </a:lnTo>
                <a:lnTo>
                  <a:pt x="5291935" y="4979353"/>
                </a:lnTo>
                <a:lnTo>
                  <a:pt x="5583665" y="5270500"/>
                </a:lnTo>
                <a:lnTo>
                  <a:pt x="5588098" y="5275263"/>
                </a:lnTo>
                <a:lnTo>
                  <a:pt x="5592237" y="5280343"/>
                </a:lnTo>
                <a:lnTo>
                  <a:pt x="5595784" y="5284788"/>
                </a:lnTo>
                <a:lnTo>
                  <a:pt x="5599626" y="5290185"/>
                </a:lnTo>
                <a:lnTo>
                  <a:pt x="5602582" y="5295265"/>
                </a:lnTo>
                <a:lnTo>
                  <a:pt x="5605833" y="5300663"/>
                </a:lnTo>
                <a:lnTo>
                  <a:pt x="5608493" y="5306060"/>
                </a:lnTo>
                <a:lnTo>
                  <a:pt x="5610857" y="5311775"/>
                </a:lnTo>
                <a:lnTo>
                  <a:pt x="5613222" y="5317490"/>
                </a:lnTo>
                <a:lnTo>
                  <a:pt x="5614996" y="5323523"/>
                </a:lnTo>
                <a:lnTo>
                  <a:pt x="5616474" y="5329238"/>
                </a:lnTo>
                <a:lnTo>
                  <a:pt x="5617656" y="5334953"/>
                </a:lnTo>
                <a:lnTo>
                  <a:pt x="5618838" y="5340985"/>
                </a:lnTo>
                <a:lnTo>
                  <a:pt x="5619725" y="5346700"/>
                </a:lnTo>
                <a:cubicBezTo>
                  <a:pt x="5619824" y="5348711"/>
                  <a:pt x="5619922" y="5350722"/>
                  <a:pt x="5620021" y="5352733"/>
                </a:cubicBezTo>
                <a:lnTo>
                  <a:pt x="5620021" y="5359083"/>
                </a:lnTo>
                <a:lnTo>
                  <a:pt x="5620021" y="5364798"/>
                </a:lnTo>
                <a:cubicBezTo>
                  <a:pt x="5619922" y="5366809"/>
                  <a:pt x="5619824" y="5368819"/>
                  <a:pt x="5619725" y="5370830"/>
                </a:cubicBezTo>
                <a:lnTo>
                  <a:pt x="5618838" y="5376545"/>
                </a:lnTo>
                <a:lnTo>
                  <a:pt x="5617656" y="5382578"/>
                </a:lnTo>
                <a:lnTo>
                  <a:pt x="5616474" y="5388293"/>
                </a:lnTo>
                <a:lnTo>
                  <a:pt x="5614996" y="5394008"/>
                </a:lnTo>
                <a:lnTo>
                  <a:pt x="5613222" y="5400040"/>
                </a:lnTo>
                <a:lnTo>
                  <a:pt x="5610857" y="5405755"/>
                </a:lnTo>
                <a:lnTo>
                  <a:pt x="5608493" y="5411470"/>
                </a:lnTo>
                <a:lnTo>
                  <a:pt x="5605833" y="5416868"/>
                </a:lnTo>
                <a:lnTo>
                  <a:pt x="5602582" y="5422265"/>
                </a:lnTo>
                <a:lnTo>
                  <a:pt x="5599626" y="5427663"/>
                </a:lnTo>
                <a:lnTo>
                  <a:pt x="5595784" y="5432743"/>
                </a:lnTo>
                <a:lnTo>
                  <a:pt x="5592237" y="5437505"/>
                </a:lnTo>
                <a:lnTo>
                  <a:pt x="5588098" y="5442268"/>
                </a:lnTo>
                <a:lnTo>
                  <a:pt x="5583665" y="5447030"/>
                </a:lnTo>
                <a:lnTo>
                  <a:pt x="5578936" y="5451158"/>
                </a:lnTo>
                <a:lnTo>
                  <a:pt x="5573911" y="5455603"/>
                </a:lnTo>
                <a:lnTo>
                  <a:pt x="5569182" y="5459095"/>
                </a:lnTo>
                <a:lnTo>
                  <a:pt x="5563862" y="5462905"/>
                </a:lnTo>
                <a:lnTo>
                  <a:pt x="5558837" y="5466080"/>
                </a:lnTo>
                <a:lnTo>
                  <a:pt x="5553517" y="5469255"/>
                </a:lnTo>
                <a:lnTo>
                  <a:pt x="5548196" y="5471795"/>
                </a:lnTo>
                <a:lnTo>
                  <a:pt x="5542285" y="5474335"/>
                </a:lnTo>
                <a:lnTo>
                  <a:pt x="5536964" y="5476558"/>
                </a:lnTo>
                <a:lnTo>
                  <a:pt x="5531348" y="5478145"/>
                </a:lnTo>
                <a:lnTo>
                  <a:pt x="5525437" y="5479733"/>
                </a:lnTo>
                <a:lnTo>
                  <a:pt x="5519230" y="5481003"/>
                </a:lnTo>
                <a:lnTo>
                  <a:pt x="5513614" y="5482273"/>
                </a:lnTo>
                <a:lnTo>
                  <a:pt x="5507999" y="5482908"/>
                </a:lnTo>
                <a:lnTo>
                  <a:pt x="5501791" y="5483225"/>
                </a:lnTo>
                <a:lnTo>
                  <a:pt x="5495585" y="5483543"/>
                </a:lnTo>
                <a:lnTo>
                  <a:pt x="6873545" y="6858000"/>
                </a:lnTo>
                <a:lnTo>
                  <a:pt x="9595474" y="6858000"/>
                </a:lnTo>
                <a:lnTo>
                  <a:pt x="9595474" y="0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0">
                <a:schemeClr val="tx2"/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  <a:noAutofit/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140A11-F0F1-4B9B-8AE2-B06F806C415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5855116" y="0"/>
            <a:ext cx="11213685" cy="9601200"/>
          </a:xfrm>
          <a:custGeom>
            <a:avLst/>
            <a:gdLst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004395 w 8009775"/>
              <a:gd name="connsiteY73" fmla="*/ 6858000 h 6858001"/>
              <a:gd name="connsiteX74" fmla="*/ 7004396 w 8009775"/>
              <a:gd name="connsiteY74" fmla="*/ 6858001 h 6858001"/>
              <a:gd name="connsiteX75" fmla="*/ 7099646 w 8009775"/>
              <a:gd name="connsiteY75" fmla="*/ 6858001 h 6858001"/>
              <a:gd name="connsiteX76" fmla="*/ 7147271 w 8009775"/>
              <a:gd name="connsiteY76" fmla="*/ 6858001 h 6858001"/>
              <a:gd name="connsiteX77" fmla="*/ 7364776 w 8009775"/>
              <a:gd name="connsiteY77" fmla="*/ 6858001 h 6858001"/>
              <a:gd name="connsiteX78" fmla="*/ 7460026 w 8009775"/>
              <a:gd name="connsiteY78" fmla="*/ 6858001 h 6858001"/>
              <a:gd name="connsiteX79" fmla="*/ 7507651 w 8009775"/>
              <a:gd name="connsiteY79" fmla="*/ 6858001 h 6858001"/>
              <a:gd name="connsiteX80" fmla="*/ 7507650 w 8009775"/>
              <a:gd name="connsiteY80" fmla="*/ 6858000 h 6858001"/>
              <a:gd name="connsiteX81" fmla="*/ 8009775 w 8009775"/>
              <a:gd name="connsiteY81" fmla="*/ 6858000 h 6858001"/>
              <a:gd name="connsiteX82" fmla="*/ 3996316 w 8009775"/>
              <a:gd name="connsiteY82" fmla="*/ 2818448 h 6858001"/>
              <a:gd name="connsiteX83" fmla="*/ 3980947 w 8009775"/>
              <a:gd name="connsiteY83" fmla="*/ 2804795 h 6858001"/>
              <a:gd name="connsiteX84" fmla="*/ 3965282 w 8009775"/>
              <a:gd name="connsiteY84" fmla="*/ 2791144 h 6858001"/>
              <a:gd name="connsiteX85" fmla="*/ 3950799 w 8009775"/>
              <a:gd name="connsiteY85" fmla="*/ 2776856 h 6858001"/>
              <a:gd name="connsiteX86" fmla="*/ 3936021 w 8009775"/>
              <a:gd name="connsiteY86" fmla="*/ 2762568 h 6858001"/>
              <a:gd name="connsiteX87" fmla="*/ 3001744 w 8009775"/>
              <a:gd name="connsiteY87" fmla="*/ 1828166 h 6858001"/>
              <a:gd name="connsiteX88" fmla="*/ 2997311 w 8009775"/>
              <a:gd name="connsiteY88" fmla="*/ 1823404 h 6858001"/>
              <a:gd name="connsiteX89" fmla="*/ 2992878 w 8009775"/>
              <a:gd name="connsiteY89" fmla="*/ 1818640 h 6858001"/>
              <a:gd name="connsiteX90" fmla="*/ 2989331 w 8009775"/>
              <a:gd name="connsiteY90" fmla="*/ 1814195 h 6858001"/>
              <a:gd name="connsiteX91" fmla="*/ 2985784 w 8009775"/>
              <a:gd name="connsiteY91" fmla="*/ 1808799 h 6858001"/>
              <a:gd name="connsiteX92" fmla="*/ 2982533 w 8009775"/>
              <a:gd name="connsiteY92" fmla="*/ 1803718 h 6858001"/>
              <a:gd name="connsiteX93" fmla="*/ 2979873 w 8009775"/>
              <a:gd name="connsiteY93" fmla="*/ 1798321 h 6858001"/>
              <a:gd name="connsiteX94" fmla="*/ 2976917 w 8009775"/>
              <a:gd name="connsiteY94" fmla="*/ 1792924 h 6858001"/>
              <a:gd name="connsiteX95" fmla="*/ 2974552 w 8009775"/>
              <a:gd name="connsiteY95" fmla="*/ 1787526 h 6858001"/>
              <a:gd name="connsiteX96" fmla="*/ 2972484 w 8009775"/>
              <a:gd name="connsiteY96" fmla="*/ 1781811 h 6858001"/>
              <a:gd name="connsiteX97" fmla="*/ 2970710 w 8009775"/>
              <a:gd name="connsiteY97" fmla="*/ 1776095 h 6858001"/>
              <a:gd name="connsiteX98" fmla="*/ 2968937 w 8009775"/>
              <a:gd name="connsiteY98" fmla="*/ 1770380 h 6858001"/>
              <a:gd name="connsiteX99" fmla="*/ 2967755 w 8009775"/>
              <a:gd name="connsiteY99" fmla="*/ 1764665 h 6858001"/>
              <a:gd name="connsiteX100" fmla="*/ 2966868 w 8009775"/>
              <a:gd name="connsiteY100" fmla="*/ 1758634 h 6858001"/>
              <a:gd name="connsiteX101" fmla="*/ 2965981 w 8009775"/>
              <a:gd name="connsiteY101" fmla="*/ 1752919 h 6858001"/>
              <a:gd name="connsiteX102" fmla="*/ 2965686 w 8009775"/>
              <a:gd name="connsiteY102" fmla="*/ 1746885 h 6858001"/>
              <a:gd name="connsiteX103" fmla="*/ 2965686 w 8009775"/>
              <a:gd name="connsiteY103" fmla="*/ 1741170 h 6858001"/>
              <a:gd name="connsiteX104" fmla="*/ 2965686 w 8009775"/>
              <a:gd name="connsiteY104" fmla="*/ 1735139 h 6858001"/>
              <a:gd name="connsiteX105" fmla="*/ 2965981 w 8009775"/>
              <a:gd name="connsiteY105" fmla="*/ 1729424 h 6858001"/>
              <a:gd name="connsiteX106" fmla="*/ 2966868 w 8009775"/>
              <a:gd name="connsiteY106" fmla="*/ 1723074 h 6858001"/>
              <a:gd name="connsiteX107" fmla="*/ 2967755 w 8009775"/>
              <a:gd name="connsiteY107" fmla="*/ 1717358 h 6858001"/>
              <a:gd name="connsiteX108" fmla="*/ 2968937 w 8009775"/>
              <a:gd name="connsiteY108" fmla="*/ 1711643 h 6858001"/>
              <a:gd name="connsiteX109" fmla="*/ 2970710 w 8009775"/>
              <a:gd name="connsiteY109" fmla="*/ 1705929 h 6858001"/>
              <a:gd name="connsiteX110" fmla="*/ 2972484 w 8009775"/>
              <a:gd name="connsiteY110" fmla="*/ 1700214 h 6858001"/>
              <a:gd name="connsiteX111" fmla="*/ 2974552 w 8009775"/>
              <a:gd name="connsiteY111" fmla="*/ 1694816 h 6858001"/>
              <a:gd name="connsiteX112" fmla="*/ 2976917 w 8009775"/>
              <a:gd name="connsiteY112" fmla="*/ 1689101 h 6858001"/>
              <a:gd name="connsiteX113" fmla="*/ 2979873 w 8009775"/>
              <a:gd name="connsiteY113" fmla="*/ 1683703 h 6858001"/>
              <a:gd name="connsiteX114" fmla="*/ 2982533 w 8009775"/>
              <a:gd name="connsiteY114" fmla="*/ 1678305 h 6858001"/>
              <a:gd name="connsiteX115" fmla="*/ 2985784 w 8009775"/>
              <a:gd name="connsiteY115" fmla="*/ 1673226 h 6858001"/>
              <a:gd name="connsiteX116" fmla="*/ 2989331 w 8009775"/>
              <a:gd name="connsiteY116" fmla="*/ 1668145 h 6858001"/>
              <a:gd name="connsiteX117" fmla="*/ 2992878 w 8009775"/>
              <a:gd name="connsiteY117" fmla="*/ 1663066 h 6858001"/>
              <a:gd name="connsiteX118" fmla="*/ 2997311 w 8009775"/>
              <a:gd name="connsiteY118" fmla="*/ 1658621 h 6858001"/>
              <a:gd name="connsiteX119" fmla="*/ 3001744 w 8009775"/>
              <a:gd name="connsiteY119" fmla="*/ 1653859 h 6858001"/>
              <a:gd name="connsiteX120" fmla="*/ 3006178 w 8009775"/>
              <a:gd name="connsiteY120" fmla="*/ 1649414 h 6858001"/>
              <a:gd name="connsiteX121" fmla="*/ 3010907 w 8009775"/>
              <a:gd name="connsiteY121" fmla="*/ 1645603 h 6858001"/>
              <a:gd name="connsiteX122" fmla="*/ 3015932 w 8009775"/>
              <a:gd name="connsiteY122" fmla="*/ 1641794 h 6858001"/>
              <a:gd name="connsiteX123" fmla="*/ 3020956 w 8009775"/>
              <a:gd name="connsiteY123" fmla="*/ 1637984 h 6858001"/>
              <a:gd name="connsiteX124" fmla="*/ 3025981 w 8009775"/>
              <a:gd name="connsiteY124" fmla="*/ 1634809 h 6858001"/>
              <a:gd name="connsiteX125" fmla="*/ 3031596 w 8009775"/>
              <a:gd name="connsiteY125" fmla="*/ 1631950 h 6858001"/>
              <a:gd name="connsiteX126" fmla="*/ 3036916 w 8009775"/>
              <a:gd name="connsiteY126" fmla="*/ 1629094 h 6858001"/>
              <a:gd name="connsiteX127" fmla="*/ 3042532 w 8009775"/>
              <a:gd name="connsiteY127" fmla="*/ 1626871 h 6858001"/>
              <a:gd name="connsiteX128" fmla="*/ 3047852 w 8009775"/>
              <a:gd name="connsiteY128" fmla="*/ 1624649 h 6858001"/>
              <a:gd name="connsiteX129" fmla="*/ 3053764 w 8009775"/>
              <a:gd name="connsiteY129" fmla="*/ 1623061 h 6858001"/>
              <a:gd name="connsiteX130" fmla="*/ 3059379 w 8009775"/>
              <a:gd name="connsiteY130" fmla="*/ 1621155 h 6858001"/>
              <a:gd name="connsiteX131" fmla="*/ 3065291 w 8009775"/>
              <a:gd name="connsiteY131" fmla="*/ 1620204 h 6858001"/>
              <a:gd name="connsiteX132" fmla="*/ 3070906 w 8009775"/>
              <a:gd name="connsiteY132" fmla="*/ 1618934 h 6858001"/>
              <a:gd name="connsiteX133" fmla="*/ 3077113 w 8009775"/>
              <a:gd name="connsiteY133" fmla="*/ 1618299 h 6858001"/>
              <a:gd name="connsiteX134" fmla="*/ 3082729 w 8009775"/>
              <a:gd name="connsiteY134" fmla="*/ 1617981 h 6858001"/>
              <a:gd name="connsiteX135" fmla="*/ 3088936 w 8009775"/>
              <a:gd name="connsiteY135" fmla="*/ 1617981 h 6858001"/>
              <a:gd name="connsiteX136" fmla="*/ 3094552 w 8009775"/>
              <a:gd name="connsiteY136" fmla="*/ 1617981 h 6858001"/>
              <a:gd name="connsiteX137" fmla="*/ 3100758 w 8009775"/>
              <a:gd name="connsiteY137" fmla="*/ 1618299 h 6858001"/>
              <a:gd name="connsiteX138" fmla="*/ 3106670 w 8009775"/>
              <a:gd name="connsiteY138" fmla="*/ 1618934 h 6858001"/>
              <a:gd name="connsiteX139" fmla="*/ 3112285 w 8009775"/>
              <a:gd name="connsiteY139" fmla="*/ 1620204 h 6858001"/>
              <a:gd name="connsiteX140" fmla="*/ 3117901 w 8009775"/>
              <a:gd name="connsiteY140" fmla="*/ 1621155 h 6858001"/>
              <a:gd name="connsiteX141" fmla="*/ 3123812 w 8009775"/>
              <a:gd name="connsiteY141" fmla="*/ 1623061 h 6858001"/>
              <a:gd name="connsiteX142" fmla="*/ 3129428 w 8009775"/>
              <a:gd name="connsiteY142" fmla="*/ 1624649 h 6858001"/>
              <a:gd name="connsiteX143" fmla="*/ 3135339 w 8009775"/>
              <a:gd name="connsiteY143" fmla="*/ 1626871 h 6858001"/>
              <a:gd name="connsiteX144" fmla="*/ 3140660 w 8009775"/>
              <a:gd name="connsiteY144" fmla="*/ 1629094 h 6858001"/>
              <a:gd name="connsiteX145" fmla="*/ 3145980 w 8009775"/>
              <a:gd name="connsiteY145" fmla="*/ 1631950 h 6858001"/>
              <a:gd name="connsiteX146" fmla="*/ 3151300 w 8009775"/>
              <a:gd name="connsiteY146" fmla="*/ 1634809 h 6858001"/>
              <a:gd name="connsiteX147" fmla="*/ 3156324 w 8009775"/>
              <a:gd name="connsiteY147" fmla="*/ 1637984 h 6858001"/>
              <a:gd name="connsiteX148" fmla="*/ 3161349 w 8009775"/>
              <a:gd name="connsiteY148" fmla="*/ 1641794 h 6858001"/>
              <a:gd name="connsiteX149" fmla="*/ 3166374 w 8009775"/>
              <a:gd name="connsiteY149" fmla="*/ 1645603 h 6858001"/>
              <a:gd name="connsiteX150" fmla="*/ 3171102 w 8009775"/>
              <a:gd name="connsiteY150" fmla="*/ 1649414 h 6858001"/>
              <a:gd name="connsiteX151" fmla="*/ 3175832 w 8009775"/>
              <a:gd name="connsiteY151" fmla="*/ 1653859 h 6858001"/>
              <a:gd name="connsiteX152" fmla="*/ 3844692 w 8009775"/>
              <a:gd name="connsiteY152" fmla="*/ 2322830 h 6858001"/>
              <a:gd name="connsiteX153" fmla="*/ 3849421 w 8009775"/>
              <a:gd name="connsiteY153" fmla="*/ 2326958 h 6858001"/>
              <a:gd name="connsiteX154" fmla="*/ 3854150 w 8009775"/>
              <a:gd name="connsiteY154" fmla="*/ 2331085 h 6858001"/>
              <a:gd name="connsiteX155" fmla="*/ 3859175 w 8009775"/>
              <a:gd name="connsiteY155" fmla="*/ 2334895 h 6858001"/>
              <a:gd name="connsiteX156" fmla="*/ 3864199 w 8009775"/>
              <a:gd name="connsiteY156" fmla="*/ 2338705 h 6858001"/>
              <a:gd name="connsiteX157" fmla="*/ 3869224 w 8009775"/>
              <a:gd name="connsiteY157" fmla="*/ 2341880 h 6858001"/>
              <a:gd name="connsiteX158" fmla="*/ 3874544 w 8009775"/>
              <a:gd name="connsiteY158" fmla="*/ 2344738 h 6858001"/>
              <a:gd name="connsiteX159" fmla="*/ 3879864 w 8009775"/>
              <a:gd name="connsiteY159" fmla="*/ 2347595 h 6858001"/>
              <a:gd name="connsiteX160" fmla="*/ 3885775 w 8009775"/>
              <a:gd name="connsiteY160" fmla="*/ 2349818 h 6858001"/>
              <a:gd name="connsiteX161" fmla="*/ 3891096 w 8009775"/>
              <a:gd name="connsiteY161" fmla="*/ 2351723 h 6858001"/>
              <a:gd name="connsiteX162" fmla="*/ 3896711 w 8009775"/>
              <a:gd name="connsiteY162" fmla="*/ 2353628 h 6858001"/>
              <a:gd name="connsiteX163" fmla="*/ 3902623 w 8009775"/>
              <a:gd name="connsiteY163" fmla="*/ 2355534 h 6858001"/>
              <a:gd name="connsiteX164" fmla="*/ 3908238 w 8009775"/>
              <a:gd name="connsiteY164" fmla="*/ 2356485 h 6858001"/>
              <a:gd name="connsiteX165" fmla="*/ 3914150 w 8009775"/>
              <a:gd name="connsiteY165" fmla="*/ 2357755 h 6858001"/>
              <a:gd name="connsiteX166" fmla="*/ 3920061 w 8009775"/>
              <a:gd name="connsiteY166" fmla="*/ 2358391 h 6858001"/>
              <a:gd name="connsiteX167" fmla="*/ 3925972 w 8009775"/>
              <a:gd name="connsiteY167" fmla="*/ 2358708 h 6858001"/>
              <a:gd name="connsiteX168" fmla="*/ 3931883 w 8009775"/>
              <a:gd name="connsiteY168" fmla="*/ 2358708 h 6858001"/>
              <a:gd name="connsiteX169" fmla="*/ 3937795 w 8009775"/>
              <a:gd name="connsiteY169" fmla="*/ 2358708 h 6858001"/>
              <a:gd name="connsiteX170" fmla="*/ 3943706 w 8009775"/>
              <a:gd name="connsiteY170" fmla="*/ 2358391 h 6858001"/>
              <a:gd name="connsiteX171" fmla="*/ 3949617 w 8009775"/>
              <a:gd name="connsiteY171" fmla="*/ 2357755 h 6858001"/>
              <a:gd name="connsiteX172" fmla="*/ 3955233 w 8009775"/>
              <a:gd name="connsiteY172" fmla="*/ 2356485 h 6858001"/>
              <a:gd name="connsiteX173" fmla="*/ 3961144 w 8009775"/>
              <a:gd name="connsiteY173" fmla="*/ 2355534 h 6858001"/>
              <a:gd name="connsiteX174" fmla="*/ 3966760 w 8009775"/>
              <a:gd name="connsiteY174" fmla="*/ 2353628 h 6858001"/>
              <a:gd name="connsiteX175" fmla="*/ 3972671 w 8009775"/>
              <a:gd name="connsiteY175" fmla="*/ 2351723 h 6858001"/>
              <a:gd name="connsiteX176" fmla="*/ 3978287 w 8009775"/>
              <a:gd name="connsiteY176" fmla="*/ 2349818 h 6858001"/>
              <a:gd name="connsiteX177" fmla="*/ 3983607 w 8009775"/>
              <a:gd name="connsiteY177" fmla="*/ 2347595 h 6858001"/>
              <a:gd name="connsiteX178" fmla="*/ 3989223 w 8009775"/>
              <a:gd name="connsiteY178" fmla="*/ 2344738 h 6858001"/>
              <a:gd name="connsiteX179" fmla="*/ 3994543 w 8009775"/>
              <a:gd name="connsiteY179" fmla="*/ 2341880 h 6858001"/>
              <a:gd name="connsiteX180" fmla="*/ 3999567 w 8009775"/>
              <a:gd name="connsiteY180" fmla="*/ 2338705 h 6858001"/>
              <a:gd name="connsiteX181" fmla="*/ 4004888 w 8009775"/>
              <a:gd name="connsiteY181" fmla="*/ 2334895 h 6858001"/>
              <a:gd name="connsiteX182" fmla="*/ 4009617 w 8009775"/>
              <a:gd name="connsiteY182" fmla="*/ 2331085 h 6858001"/>
              <a:gd name="connsiteX183" fmla="*/ 4014346 w 8009775"/>
              <a:gd name="connsiteY183" fmla="*/ 2326958 h 6858001"/>
              <a:gd name="connsiteX184" fmla="*/ 4018779 w 8009775"/>
              <a:gd name="connsiteY184" fmla="*/ 2322830 h 6858001"/>
              <a:gd name="connsiteX185" fmla="*/ 4023213 w 8009775"/>
              <a:gd name="connsiteY185" fmla="*/ 2318068 h 6858001"/>
              <a:gd name="connsiteX186" fmla="*/ 4027646 w 8009775"/>
              <a:gd name="connsiteY186" fmla="*/ 2313306 h 6858001"/>
              <a:gd name="connsiteX187" fmla="*/ 4031193 w 8009775"/>
              <a:gd name="connsiteY187" fmla="*/ 2308544 h 6858001"/>
              <a:gd name="connsiteX188" fmla="*/ 4034740 w 8009775"/>
              <a:gd name="connsiteY188" fmla="*/ 2303463 h 6858001"/>
              <a:gd name="connsiteX189" fmla="*/ 4037991 w 8009775"/>
              <a:gd name="connsiteY189" fmla="*/ 2298384 h 6858001"/>
              <a:gd name="connsiteX190" fmla="*/ 4040946 w 8009775"/>
              <a:gd name="connsiteY190" fmla="*/ 2292985 h 6858001"/>
              <a:gd name="connsiteX191" fmla="*/ 4043606 w 8009775"/>
              <a:gd name="connsiteY191" fmla="*/ 2287588 h 6858001"/>
              <a:gd name="connsiteX192" fmla="*/ 4046267 w 8009775"/>
              <a:gd name="connsiteY192" fmla="*/ 2281873 h 6858001"/>
              <a:gd name="connsiteX193" fmla="*/ 4048040 w 8009775"/>
              <a:gd name="connsiteY193" fmla="*/ 2276476 h 6858001"/>
              <a:gd name="connsiteX194" fmla="*/ 4050109 w 8009775"/>
              <a:gd name="connsiteY194" fmla="*/ 2270761 h 6858001"/>
              <a:gd name="connsiteX195" fmla="*/ 4051587 w 8009775"/>
              <a:gd name="connsiteY195" fmla="*/ 2265046 h 6858001"/>
              <a:gd name="connsiteX196" fmla="*/ 4052769 w 8009775"/>
              <a:gd name="connsiteY196" fmla="*/ 2259331 h 6858001"/>
              <a:gd name="connsiteX197" fmla="*/ 4053656 w 8009775"/>
              <a:gd name="connsiteY197" fmla="*/ 2253298 h 6858001"/>
              <a:gd name="connsiteX198" fmla="*/ 4054542 w 8009775"/>
              <a:gd name="connsiteY198" fmla="*/ 2247266 h 6858001"/>
              <a:gd name="connsiteX199" fmla="*/ 4054838 w 8009775"/>
              <a:gd name="connsiteY199" fmla="*/ 2241551 h 6858001"/>
              <a:gd name="connsiteX200" fmla="*/ 4055133 w 8009775"/>
              <a:gd name="connsiteY200" fmla="*/ 2235519 h 6858001"/>
              <a:gd name="connsiteX201" fmla="*/ 4054838 w 8009775"/>
              <a:gd name="connsiteY201" fmla="*/ 2229804 h 6858001"/>
              <a:gd name="connsiteX202" fmla="*/ 4054542 w 8009775"/>
              <a:gd name="connsiteY202" fmla="*/ 2223770 h 6858001"/>
              <a:gd name="connsiteX203" fmla="*/ 4053656 w 8009775"/>
              <a:gd name="connsiteY203" fmla="*/ 2217739 h 6858001"/>
              <a:gd name="connsiteX204" fmla="*/ 4052769 w 8009775"/>
              <a:gd name="connsiteY204" fmla="*/ 2212024 h 6858001"/>
              <a:gd name="connsiteX205" fmla="*/ 4051587 w 8009775"/>
              <a:gd name="connsiteY205" fmla="*/ 2206309 h 6858001"/>
              <a:gd name="connsiteX206" fmla="*/ 4050109 w 8009775"/>
              <a:gd name="connsiteY206" fmla="*/ 2200593 h 6858001"/>
              <a:gd name="connsiteX207" fmla="*/ 4048040 w 8009775"/>
              <a:gd name="connsiteY207" fmla="*/ 2194878 h 6858001"/>
              <a:gd name="connsiteX208" fmla="*/ 4046267 w 8009775"/>
              <a:gd name="connsiteY208" fmla="*/ 2189163 h 6858001"/>
              <a:gd name="connsiteX209" fmla="*/ 4043606 w 8009775"/>
              <a:gd name="connsiteY209" fmla="*/ 2183765 h 6858001"/>
              <a:gd name="connsiteX210" fmla="*/ 4040946 w 8009775"/>
              <a:gd name="connsiteY210" fmla="*/ 2178368 h 6858001"/>
              <a:gd name="connsiteX211" fmla="*/ 4037991 w 8009775"/>
              <a:gd name="connsiteY211" fmla="*/ 2172970 h 6858001"/>
              <a:gd name="connsiteX212" fmla="*/ 4034740 w 8009775"/>
              <a:gd name="connsiteY212" fmla="*/ 2167890 h 6858001"/>
              <a:gd name="connsiteX213" fmla="*/ 4031193 w 8009775"/>
              <a:gd name="connsiteY213" fmla="*/ 2162494 h 6858001"/>
              <a:gd name="connsiteX214" fmla="*/ 4027646 w 8009775"/>
              <a:gd name="connsiteY214" fmla="*/ 2157730 h 6858001"/>
              <a:gd name="connsiteX215" fmla="*/ 4023213 w 8009775"/>
              <a:gd name="connsiteY215" fmla="*/ 2153285 h 6858001"/>
              <a:gd name="connsiteX216" fmla="*/ 4018779 w 8009775"/>
              <a:gd name="connsiteY216" fmla="*/ 2148523 h 6858001"/>
              <a:gd name="connsiteX217" fmla="*/ 3632182 w 8009775"/>
              <a:gd name="connsiteY217" fmla="*/ 1761490 h 6858001"/>
              <a:gd name="connsiteX218" fmla="*/ 3435928 w 8009775"/>
              <a:gd name="connsiteY218" fmla="*/ 1565276 h 6858001"/>
              <a:gd name="connsiteX219" fmla="*/ 3431198 w 8009775"/>
              <a:gd name="connsiteY219" fmla="*/ 1560514 h 6858001"/>
              <a:gd name="connsiteX220" fmla="*/ 3427356 w 8009775"/>
              <a:gd name="connsiteY220" fmla="*/ 1555751 h 6858001"/>
              <a:gd name="connsiteX221" fmla="*/ 3423218 w 8009775"/>
              <a:gd name="connsiteY221" fmla="*/ 1550671 h 6858001"/>
              <a:gd name="connsiteX222" fmla="*/ 3420262 w 8009775"/>
              <a:gd name="connsiteY222" fmla="*/ 1545909 h 6858001"/>
              <a:gd name="connsiteX223" fmla="*/ 3417012 w 8009775"/>
              <a:gd name="connsiteY223" fmla="*/ 1540829 h 6858001"/>
              <a:gd name="connsiteX224" fmla="*/ 3413760 w 8009775"/>
              <a:gd name="connsiteY224" fmla="*/ 1535430 h 6858001"/>
              <a:gd name="connsiteX225" fmla="*/ 3411100 w 8009775"/>
              <a:gd name="connsiteY225" fmla="*/ 1530034 h 6858001"/>
              <a:gd name="connsiteX226" fmla="*/ 3408736 w 8009775"/>
              <a:gd name="connsiteY226" fmla="*/ 1524635 h 6858001"/>
              <a:gd name="connsiteX227" fmla="*/ 3406371 w 8009775"/>
              <a:gd name="connsiteY227" fmla="*/ 1518920 h 6858001"/>
              <a:gd name="connsiteX228" fmla="*/ 3404598 w 8009775"/>
              <a:gd name="connsiteY228" fmla="*/ 1513205 h 6858001"/>
              <a:gd name="connsiteX229" fmla="*/ 3403120 w 8009775"/>
              <a:gd name="connsiteY229" fmla="*/ 1507174 h 6858001"/>
              <a:gd name="connsiteX230" fmla="*/ 3401938 w 8009775"/>
              <a:gd name="connsiteY230" fmla="*/ 1501459 h 6858001"/>
              <a:gd name="connsiteX231" fmla="*/ 3401051 w 8009775"/>
              <a:gd name="connsiteY231" fmla="*/ 1495744 h 6858001"/>
              <a:gd name="connsiteX232" fmla="*/ 3400460 w 8009775"/>
              <a:gd name="connsiteY232" fmla="*/ 1489710 h 6858001"/>
              <a:gd name="connsiteX233" fmla="*/ 3399869 w 8009775"/>
              <a:gd name="connsiteY233" fmla="*/ 1483995 h 6858001"/>
              <a:gd name="connsiteX234" fmla="*/ 3399573 w 8009775"/>
              <a:gd name="connsiteY234" fmla="*/ 1478281 h 6858001"/>
              <a:gd name="connsiteX235" fmla="*/ 3399869 w 8009775"/>
              <a:gd name="connsiteY235" fmla="*/ 1472249 h 6858001"/>
              <a:gd name="connsiteX236" fmla="*/ 3400460 w 8009775"/>
              <a:gd name="connsiteY236" fmla="*/ 1466215 h 6858001"/>
              <a:gd name="connsiteX237" fmla="*/ 3401051 w 8009775"/>
              <a:gd name="connsiteY237" fmla="*/ 1460183 h 6858001"/>
              <a:gd name="connsiteX238" fmla="*/ 3401938 w 8009775"/>
              <a:gd name="connsiteY238" fmla="*/ 1454468 h 6858001"/>
              <a:gd name="connsiteX239" fmla="*/ 3403120 w 8009775"/>
              <a:gd name="connsiteY239" fmla="*/ 1448754 h 6858001"/>
              <a:gd name="connsiteX240" fmla="*/ 3404598 w 8009775"/>
              <a:gd name="connsiteY240" fmla="*/ 1443039 h 6858001"/>
              <a:gd name="connsiteX241" fmla="*/ 3406371 w 8009775"/>
              <a:gd name="connsiteY241" fmla="*/ 1437324 h 6858001"/>
              <a:gd name="connsiteX242" fmla="*/ 3408736 w 8009775"/>
              <a:gd name="connsiteY242" fmla="*/ 1431609 h 6858001"/>
              <a:gd name="connsiteX243" fmla="*/ 3411100 w 8009775"/>
              <a:gd name="connsiteY243" fmla="*/ 1426211 h 6858001"/>
              <a:gd name="connsiteX244" fmla="*/ 3413760 w 8009775"/>
              <a:gd name="connsiteY244" fmla="*/ 1420814 h 6858001"/>
              <a:gd name="connsiteX245" fmla="*/ 3417012 w 8009775"/>
              <a:gd name="connsiteY245" fmla="*/ 1415416 h 6858001"/>
              <a:gd name="connsiteX246" fmla="*/ 3420262 w 8009775"/>
              <a:gd name="connsiteY246" fmla="*/ 1410336 h 6858001"/>
              <a:gd name="connsiteX247" fmla="*/ 3423218 w 8009775"/>
              <a:gd name="connsiteY247" fmla="*/ 1405256 h 6858001"/>
              <a:gd name="connsiteX248" fmla="*/ 3427356 w 8009775"/>
              <a:gd name="connsiteY248" fmla="*/ 1400175 h 6858001"/>
              <a:gd name="connsiteX249" fmla="*/ 3431198 w 8009775"/>
              <a:gd name="connsiteY249" fmla="*/ 1395731 h 6858001"/>
              <a:gd name="connsiteX250" fmla="*/ 3435928 w 8009775"/>
              <a:gd name="connsiteY250" fmla="*/ 1390969 h 6858001"/>
              <a:gd name="connsiteX251" fmla="*/ 3440361 w 8009775"/>
              <a:gd name="connsiteY251" fmla="*/ 1386524 h 6858001"/>
              <a:gd name="connsiteX252" fmla="*/ 3445386 w 8009775"/>
              <a:gd name="connsiteY252" fmla="*/ 1382396 h 6858001"/>
              <a:gd name="connsiteX253" fmla="*/ 3449819 w 8009775"/>
              <a:gd name="connsiteY253" fmla="*/ 1378585 h 6858001"/>
              <a:gd name="connsiteX254" fmla="*/ 3454844 w 8009775"/>
              <a:gd name="connsiteY254" fmla="*/ 1375094 h 6858001"/>
              <a:gd name="connsiteX255" fmla="*/ 3460459 w 8009775"/>
              <a:gd name="connsiteY255" fmla="*/ 1371919 h 6858001"/>
              <a:gd name="connsiteX256" fmla="*/ 3465780 w 8009775"/>
              <a:gd name="connsiteY256" fmla="*/ 1369061 h 6858001"/>
              <a:gd name="connsiteX257" fmla="*/ 3471100 w 8009775"/>
              <a:gd name="connsiteY257" fmla="*/ 1366204 h 6858001"/>
              <a:gd name="connsiteX258" fmla="*/ 3476420 w 8009775"/>
              <a:gd name="connsiteY258" fmla="*/ 1363980 h 6858001"/>
              <a:gd name="connsiteX259" fmla="*/ 3482331 w 8009775"/>
              <a:gd name="connsiteY259" fmla="*/ 1361759 h 6858001"/>
              <a:gd name="connsiteX260" fmla="*/ 3487947 w 8009775"/>
              <a:gd name="connsiteY260" fmla="*/ 1360170 h 6858001"/>
              <a:gd name="connsiteX261" fmla="*/ 3493858 w 8009775"/>
              <a:gd name="connsiteY261" fmla="*/ 1358265 h 6858001"/>
              <a:gd name="connsiteX262" fmla="*/ 3499474 w 8009775"/>
              <a:gd name="connsiteY262" fmla="*/ 1357314 h 6858001"/>
              <a:gd name="connsiteX263" fmla="*/ 3505385 w 8009775"/>
              <a:gd name="connsiteY263" fmla="*/ 1356043 h 6858001"/>
              <a:gd name="connsiteX264" fmla="*/ 3511001 w 8009775"/>
              <a:gd name="connsiteY264" fmla="*/ 1355409 h 6858001"/>
              <a:gd name="connsiteX265" fmla="*/ 3517208 w 8009775"/>
              <a:gd name="connsiteY265" fmla="*/ 1355090 h 6858001"/>
              <a:gd name="connsiteX266" fmla="*/ 3522823 w 8009775"/>
              <a:gd name="connsiteY266" fmla="*/ 1354773 h 6858001"/>
              <a:gd name="connsiteX267" fmla="*/ 3529030 w 8009775"/>
              <a:gd name="connsiteY267" fmla="*/ 1355090 h 6858001"/>
              <a:gd name="connsiteX268" fmla="*/ 3534646 w 8009775"/>
              <a:gd name="connsiteY268" fmla="*/ 1355409 h 6858001"/>
              <a:gd name="connsiteX269" fmla="*/ 3540557 w 8009775"/>
              <a:gd name="connsiteY269" fmla="*/ 1356043 h 6858001"/>
              <a:gd name="connsiteX270" fmla="*/ 3546468 w 8009775"/>
              <a:gd name="connsiteY270" fmla="*/ 1357314 h 6858001"/>
              <a:gd name="connsiteX271" fmla="*/ 3552380 w 8009775"/>
              <a:gd name="connsiteY271" fmla="*/ 1358265 h 6858001"/>
              <a:gd name="connsiteX272" fmla="*/ 3557995 w 8009775"/>
              <a:gd name="connsiteY272" fmla="*/ 1360170 h 6858001"/>
              <a:gd name="connsiteX273" fmla="*/ 3563906 w 8009775"/>
              <a:gd name="connsiteY273" fmla="*/ 1361759 h 6858001"/>
              <a:gd name="connsiteX274" fmla="*/ 3569227 w 8009775"/>
              <a:gd name="connsiteY274" fmla="*/ 1363980 h 6858001"/>
              <a:gd name="connsiteX275" fmla="*/ 3574842 w 8009775"/>
              <a:gd name="connsiteY275" fmla="*/ 1366204 h 6858001"/>
              <a:gd name="connsiteX276" fmla="*/ 3580458 w 8009775"/>
              <a:gd name="connsiteY276" fmla="*/ 1369061 h 6858001"/>
              <a:gd name="connsiteX277" fmla="*/ 3585778 w 8009775"/>
              <a:gd name="connsiteY277" fmla="*/ 1371919 h 6858001"/>
              <a:gd name="connsiteX278" fmla="*/ 3590803 w 8009775"/>
              <a:gd name="connsiteY278" fmla="*/ 1375094 h 6858001"/>
              <a:gd name="connsiteX279" fmla="*/ 3595828 w 8009775"/>
              <a:gd name="connsiteY279" fmla="*/ 1378585 h 6858001"/>
              <a:gd name="connsiteX280" fmla="*/ 3600852 w 8009775"/>
              <a:gd name="connsiteY280" fmla="*/ 1382396 h 6858001"/>
              <a:gd name="connsiteX281" fmla="*/ 3605581 w 8009775"/>
              <a:gd name="connsiteY281" fmla="*/ 1386524 h 6858001"/>
              <a:gd name="connsiteX282" fmla="*/ 3610014 w 8009775"/>
              <a:gd name="connsiteY282" fmla="*/ 1390969 h 6858001"/>
              <a:gd name="connsiteX283" fmla="*/ 3817500 w 8009775"/>
              <a:gd name="connsiteY283" fmla="*/ 1598296 h 6858001"/>
              <a:gd name="connsiteX284" fmla="*/ 3821934 w 8009775"/>
              <a:gd name="connsiteY284" fmla="*/ 1602423 h 6858001"/>
              <a:gd name="connsiteX285" fmla="*/ 3826663 w 8009775"/>
              <a:gd name="connsiteY285" fmla="*/ 1606869 h 6858001"/>
              <a:gd name="connsiteX286" fmla="*/ 3831687 w 8009775"/>
              <a:gd name="connsiteY286" fmla="*/ 1610361 h 6858001"/>
              <a:gd name="connsiteX287" fmla="*/ 3836712 w 8009775"/>
              <a:gd name="connsiteY287" fmla="*/ 1613854 h 6858001"/>
              <a:gd name="connsiteX288" fmla="*/ 3841736 w 8009775"/>
              <a:gd name="connsiteY288" fmla="*/ 1617345 h 6858001"/>
              <a:gd name="connsiteX289" fmla="*/ 3847352 w 8009775"/>
              <a:gd name="connsiteY289" fmla="*/ 1620204 h 6858001"/>
              <a:gd name="connsiteX290" fmla="*/ 3852672 w 8009775"/>
              <a:gd name="connsiteY290" fmla="*/ 1623061 h 6858001"/>
              <a:gd name="connsiteX291" fmla="*/ 3857992 w 8009775"/>
              <a:gd name="connsiteY291" fmla="*/ 1625283 h 6858001"/>
              <a:gd name="connsiteX292" fmla="*/ 3863608 w 8009775"/>
              <a:gd name="connsiteY292" fmla="*/ 1627189 h 6858001"/>
              <a:gd name="connsiteX293" fmla="*/ 3869519 w 8009775"/>
              <a:gd name="connsiteY293" fmla="*/ 1629094 h 6858001"/>
              <a:gd name="connsiteX294" fmla="*/ 3875135 w 8009775"/>
              <a:gd name="connsiteY294" fmla="*/ 1630998 h 6858001"/>
              <a:gd name="connsiteX295" fmla="*/ 3881046 w 8009775"/>
              <a:gd name="connsiteY295" fmla="*/ 1631950 h 6858001"/>
              <a:gd name="connsiteX296" fmla="*/ 3886662 w 8009775"/>
              <a:gd name="connsiteY296" fmla="*/ 1632904 h 6858001"/>
              <a:gd name="connsiteX297" fmla="*/ 3892869 w 8009775"/>
              <a:gd name="connsiteY297" fmla="*/ 1633856 h 6858001"/>
              <a:gd name="connsiteX298" fmla="*/ 3898485 w 8009775"/>
              <a:gd name="connsiteY298" fmla="*/ 1634174 h 6858001"/>
              <a:gd name="connsiteX299" fmla="*/ 3904396 w 8009775"/>
              <a:gd name="connsiteY299" fmla="*/ 1634174 h 6858001"/>
              <a:gd name="connsiteX300" fmla="*/ 3910307 w 8009775"/>
              <a:gd name="connsiteY300" fmla="*/ 1634174 h 6858001"/>
              <a:gd name="connsiteX301" fmla="*/ 3916219 w 8009775"/>
              <a:gd name="connsiteY301" fmla="*/ 1633856 h 6858001"/>
              <a:gd name="connsiteX302" fmla="*/ 3922425 w 8009775"/>
              <a:gd name="connsiteY302" fmla="*/ 1632904 h 6858001"/>
              <a:gd name="connsiteX303" fmla="*/ 3928041 w 8009775"/>
              <a:gd name="connsiteY303" fmla="*/ 1631950 h 6858001"/>
              <a:gd name="connsiteX304" fmla="*/ 3933657 w 8009775"/>
              <a:gd name="connsiteY304" fmla="*/ 1630998 h 6858001"/>
              <a:gd name="connsiteX305" fmla="*/ 3939568 w 8009775"/>
              <a:gd name="connsiteY305" fmla="*/ 1629094 h 6858001"/>
              <a:gd name="connsiteX306" fmla="*/ 3945184 w 8009775"/>
              <a:gd name="connsiteY306" fmla="*/ 1627189 h 6858001"/>
              <a:gd name="connsiteX307" fmla="*/ 3950799 w 8009775"/>
              <a:gd name="connsiteY307" fmla="*/ 1625283 h 6858001"/>
              <a:gd name="connsiteX308" fmla="*/ 3956415 w 8009775"/>
              <a:gd name="connsiteY308" fmla="*/ 1623061 h 6858001"/>
              <a:gd name="connsiteX309" fmla="*/ 3961735 w 8009775"/>
              <a:gd name="connsiteY309" fmla="*/ 1620204 h 6858001"/>
              <a:gd name="connsiteX310" fmla="*/ 3967055 w 8009775"/>
              <a:gd name="connsiteY310" fmla="*/ 1617345 h 6858001"/>
              <a:gd name="connsiteX311" fmla="*/ 3972376 w 8009775"/>
              <a:gd name="connsiteY311" fmla="*/ 1613854 h 6858001"/>
              <a:gd name="connsiteX312" fmla="*/ 3977400 w 8009775"/>
              <a:gd name="connsiteY312" fmla="*/ 1610361 h 6858001"/>
              <a:gd name="connsiteX313" fmla="*/ 3982425 w 8009775"/>
              <a:gd name="connsiteY313" fmla="*/ 1606869 h 6858001"/>
              <a:gd name="connsiteX314" fmla="*/ 3986858 w 8009775"/>
              <a:gd name="connsiteY314" fmla="*/ 1602423 h 6858001"/>
              <a:gd name="connsiteX315" fmla="*/ 3991587 w 8009775"/>
              <a:gd name="connsiteY315" fmla="*/ 1598296 h 6858001"/>
              <a:gd name="connsiteX316" fmla="*/ 3996021 w 8009775"/>
              <a:gd name="connsiteY316" fmla="*/ 1593533 h 6858001"/>
              <a:gd name="connsiteX317" fmla="*/ 4000159 w 8009775"/>
              <a:gd name="connsiteY317" fmla="*/ 1588771 h 6858001"/>
              <a:gd name="connsiteX318" fmla="*/ 4003705 w 8009775"/>
              <a:gd name="connsiteY318" fmla="*/ 1583691 h 6858001"/>
              <a:gd name="connsiteX319" fmla="*/ 4007548 w 8009775"/>
              <a:gd name="connsiteY319" fmla="*/ 1578928 h 6858001"/>
              <a:gd name="connsiteX320" fmla="*/ 4010799 w 8009775"/>
              <a:gd name="connsiteY320" fmla="*/ 1573849 h 6858001"/>
              <a:gd name="connsiteX321" fmla="*/ 4013459 w 8009775"/>
              <a:gd name="connsiteY321" fmla="*/ 1568451 h 6858001"/>
              <a:gd name="connsiteX322" fmla="*/ 4016415 w 8009775"/>
              <a:gd name="connsiteY322" fmla="*/ 1563054 h 6858001"/>
              <a:gd name="connsiteX323" fmla="*/ 4018484 w 8009775"/>
              <a:gd name="connsiteY323" fmla="*/ 1557339 h 6858001"/>
              <a:gd name="connsiteX324" fmla="*/ 4020848 w 8009775"/>
              <a:gd name="connsiteY324" fmla="*/ 1551941 h 6858001"/>
              <a:gd name="connsiteX325" fmla="*/ 4022621 w 8009775"/>
              <a:gd name="connsiteY325" fmla="*/ 1546226 h 6858001"/>
              <a:gd name="connsiteX326" fmla="*/ 4024395 w 8009775"/>
              <a:gd name="connsiteY326" fmla="*/ 1540511 h 6858001"/>
              <a:gd name="connsiteX327" fmla="*/ 4025282 w 8009775"/>
              <a:gd name="connsiteY327" fmla="*/ 1534478 h 6858001"/>
              <a:gd name="connsiteX328" fmla="*/ 4026464 w 8009775"/>
              <a:gd name="connsiteY328" fmla="*/ 1528763 h 6858001"/>
              <a:gd name="connsiteX329" fmla="*/ 4027055 w 8009775"/>
              <a:gd name="connsiteY329" fmla="*/ 1522731 h 6858001"/>
              <a:gd name="connsiteX330" fmla="*/ 4027646 w 8009775"/>
              <a:gd name="connsiteY330" fmla="*/ 1517016 h 6858001"/>
              <a:gd name="connsiteX331" fmla="*/ 4027646 w 8009775"/>
              <a:gd name="connsiteY331" fmla="*/ 1510984 h 6858001"/>
              <a:gd name="connsiteX332" fmla="*/ 4027646 w 8009775"/>
              <a:gd name="connsiteY332" fmla="*/ 1505268 h 6858001"/>
              <a:gd name="connsiteX333" fmla="*/ 4027055 w 8009775"/>
              <a:gd name="connsiteY333" fmla="*/ 1499553 h 6858001"/>
              <a:gd name="connsiteX334" fmla="*/ 4026464 w 8009775"/>
              <a:gd name="connsiteY334" fmla="*/ 1493204 h 6858001"/>
              <a:gd name="connsiteX335" fmla="*/ 4025282 w 8009775"/>
              <a:gd name="connsiteY335" fmla="*/ 1487489 h 6858001"/>
              <a:gd name="connsiteX336" fmla="*/ 4024395 w 8009775"/>
              <a:gd name="connsiteY336" fmla="*/ 1481773 h 6858001"/>
              <a:gd name="connsiteX337" fmla="*/ 4022621 w 8009775"/>
              <a:gd name="connsiteY337" fmla="*/ 1476058 h 6858001"/>
              <a:gd name="connsiteX338" fmla="*/ 4020848 w 8009775"/>
              <a:gd name="connsiteY338" fmla="*/ 1470343 h 6858001"/>
              <a:gd name="connsiteX339" fmla="*/ 4018484 w 8009775"/>
              <a:gd name="connsiteY339" fmla="*/ 1464629 h 6858001"/>
              <a:gd name="connsiteX340" fmla="*/ 4016415 w 8009775"/>
              <a:gd name="connsiteY340" fmla="*/ 1459231 h 6858001"/>
              <a:gd name="connsiteX341" fmla="*/ 4013459 w 8009775"/>
              <a:gd name="connsiteY341" fmla="*/ 1453834 h 6858001"/>
              <a:gd name="connsiteX342" fmla="*/ 4010799 w 8009775"/>
              <a:gd name="connsiteY342" fmla="*/ 1448436 h 6858001"/>
              <a:gd name="connsiteX343" fmla="*/ 4007548 w 8009775"/>
              <a:gd name="connsiteY343" fmla="*/ 1443356 h 6858001"/>
              <a:gd name="connsiteX344" fmla="*/ 4003705 w 8009775"/>
              <a:gd name="connsiteY344" fmla="*/ 1438275 h 6858001"/>
              <a:gd name="connsiteX345" fmla="*/ 4000159 w 8009775"/>
              <a:gd name="connsiteY345" fmla="*/ 1433195 h 6858001"/>
              <a:gd name="connsiteX346" fmla="*/ 3996021 w 8009775"/>
              <a:gd name="connsiteY346" fmla="*/ 1428751 h 6858001"/>
              <a:gd name="connsiteX347" fmla="*/ 3991587 w 8009775"/>
              <a:gd name="connsiteY347" fmla="*/ 1423988 h 6858001"/>
              <a:gd name="connsiteX348" fmla="*/ 3323022 w 8009775"/>
              <a:gd name="connsiteY348" fmla="*/ 755333 h 6858001"/>
              <a:gd name="connsiteX349" fmla="*/ 3316815 w 8009775"/>
              <a:gd name="connsiteY349" fmla="*/ 748348 h 6858001"/>
              <a:gd name="connsiteX350" fmla="*/ 3310904 w 8009775"/>
              <a:gd name="connsiteY350" fmla="*/ 741045 h 6858001"/>
              <a:gd name="connsiteX351" fmla="*/ 3305584 w 8009775"/>
              <a:gd name="connsiteY351" fmla="*/ 733108 h 6858001"/>
              <a:gd name="connsiteX352" fmla="*/ 3300855 w 8009775"/>
              <a:gd name="connsiteY352" fmla="*/ 725170 h 6858001"/>
              <a:gd name="connsiteX353" fmla="*/ 3297308 w 8009775"/>
              <a:gd name="connsiteY353" fmla="*/ 716915 h 6858001"/>
              <a:gd name="connsiteX354" fmla="*/ 3293761 w 8009775"/>
              <a:gd name="connsiteY354" fmla="*/ 708660 h 6858001"/>
              <a:gd name="connsiteX355" fmla="*/ 3291101 w 8009775"/>
              <a:gd name="connsiteY355" fmla="*/ 699770 h 6858001"/>
              <a:gd name="connsiteX356" fmla="*/ 3289328 w 8009775"/>
              <a:gd name="connsiteY356" fmla="*/ 691198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004395 w 8009775"/>
              <a:gd name="connsiteY73" fmla="*/ 6858000 h 6858001"/>
              <a:gd name="connsiteX74" fmla="*/ 7099646 w 8009775"/>
              <a:gd name="connsiteY74" fmla="*/ 6858001 h 6858001"/>
              <a:gd name="connsiteX75" fmla="*/ 7147271 w 8009775"/>
              <a:gd name="connsiteY75" fmla="*/ 6858001 h 6858001"/>
              <a:gd name="connsiteX76" fmla="*/ 7364776 w 8009775"/>
              <a:gd name="connsiteY76" fmla="*/ 6858001 h 6858001"/>
              <a:gd name="connsiteX77" fmla="*/ 7460026 w 8009775"/>
              <a:gd name="connsiteY77" fmla="*/ 6858001 h 6858001"/>
              <a:gd name="connsiteX78" fmla="*/ 7507651 w 8009775"/>
              <a:gd name="connsiteY78" fmla="*/ 6858001 h 6858001"/>
              <a:gd name="connsiteX79" fmla="*/ 7507650 w 8009775"/>
              <a:gd name="connsiteY79" fmla="*/ 6858000 h 6858001"/>
              <a:gd name="connsiteX80" fmla="*/ 8009775 w 8009775"/>
              <a:gd name="connsiteY80" fmla="*/ 6858000 h 6858001"/>
              <a:gd name="connsiteX81" fmla="*/ 3996316 w 8009775"/>
              <a:gd name="connsiteY81" fmla="*/ 2818448 h 6858001"/>
              <a:gd name="connsiteX82" fmla="*/ 3980947 w 8009775"/>
              <a:gd name="connsiteY82" fmla="*/ 2804795 h 6858001"/>
              <a:gd name="connsiteX83" fmla="*/ 3965282 w 8009775"/>
              <a:gd name="connsiteY83" fmla="*/ 2791144 h 6858001"/>
              <a:gd name="connsiteX84" fmla="*/ 3950799 w 8009775"/>
              <a:gd name="connsiteY84" fmla="*/ 2776856 h 6858001"/>
              <a:gd name="connsiteX85" fmla="*/ 3936021 w 8009775"/>
              <a:gd name="connsiteY85" fmla="*/ 2762568 h 6858001"/>
              <a:gd name="connsiteX86" fmla="*/ 3001744 w 8009775"/>
              <a:gd name="connsiteY86" fmla="*/ 1828166 h 6858001"/>
              <a:gd name="connsiteX87" fmla="*/ 2997311 w 8009775"/>
              <a:gd name="connsiteY87" fmla="*/ 1823404 h 6858001"/>
              <a:gd name="connsiteX88" fmla="*/ 2992878 w 8009775"/>
              <a:gd name="connsiteY88" fmla="*/ 1818640 h 6858001"/>
              <a:gd name="connsiteX89" fmla="*/ 2989331 w 8009775"/>
              <a:gd name="connsiteY89" fmla="*/ 1814195 h 6858001"/>
              <a:gd name="connsiteX90" fmla="*/ 2985784 w 8009775"/>
              <a:gd name="connsiteY90" fmla="*/ 1808799 h 6858001"/>
              <a:gd name="connsiteX91" fmla="*/ 2982533 w 8009775"/>
              <a:gd name="connsiteY91" fmla="*/ 1803718 h 6858001"/>
              <a:gd name="connsiteX92" fmla="*/ 2979873 w 8009775"/>
              <a:gd name="connsiteY92" fmla="*/ 1798321 h 6858001"/>
              <a:gd name="connsiteX93" fmla="*/ 2976917 w 8009775"/>
              <a:gd name="connsiteY93" fmla="*/ 1792924 h 6858001"/>
              <a:gd name="connsiteX94" fmla="*/ 2974552 w 8009775"/>
              <a:gd name="connsiteY94" fmla="*/ 1787526 h 6858001"/>
              <a:gd name="connsiteX95" fmla="*/ 2972484 w 8009775"/>
              <a:gd name="connsiteY95" fmla="*/ 1781811 h 6858001"/>
              <a:gd name="connsiteX96" fmla="*/ 2970710 w 8009775"/>
              <a:gd name="connsiteY96" fmla="*/ 1776095 h 6858001"/>
              <a:gd name="connsiteX97" fmla="*/ 2968937 w 8009775"/>
              <a:gd name="connsiteY97" fmla="*/ 1770380 h 6858001"/>
              <a:gd name="connsiteX98" fmla="*/ 2967755 w 8009775"/>
              <a:gd name="connsiteY98" fmla="*/ 1764665 h 6858001"/>
              <a:gd name="connsiteX99" fmla="*/ 2966868 w 8009775"/>
              <a:gd name="connsiteY99" fmla="*/ 1758634 h 6858001"/>
              <a:gd name="connsiteX100" fmla="*/ 2965981 w 8009775"/>
              <a:gd name="connsiteY100" fmla="*/ 1752919 h 6858001"/>
              <a:gd name="connsiteX101" fmla="*/ 2965686 w 8009775"/>
              <a:gd name="connsiteY101" fmla="*/ 1746885 h 6858001"/>
              <a:gd name="connsiteX102" fmla="*/ 2965686 w 8009775"/>
              <a:gd name="connsiteY102" fmla="*/ 1741170 h 6858001"/>
              <a:gd name="connsiteX103" fmla="*/ 2965686 w 8009775"/>
              <a:gd name="connsiteY103" fmla="*/ 1735139 h 6858001"/>
              <a:gd name="connsiteX104" fmla="*/ 2965981 w 8009775"/>
              <a:gd name="connsiteY104" fmla="*/ 1729424 h 6858001"/>
              <a:gd name="connsiteX105" fmla="*/ 2966868 w 8009775"/>
              <a:gd name="connsiteY105" fmla="*/ 1723074 h 6858001"/>
              <a:gd name="connsiteX106" fmla="*/ 2967755 w 8009775"/>
              <a:gd name="connsiteY106" fmla="*/ 1717358 h 6858001"/>
              <a:gd name="connsiteX107" fmla="*/ 2968937 w 8009775"/>
              <a:gd name="connsiteY107" fmla="*/ 1711643 h 6858001"/>
              <a:gd name="connsiteX108" fmla="*/ 2970710 w 8009775"/>
              <a:gd name="connsiteY108" fmla="*/ 1705929 h 6858001"/>
              <a:gd name="connsiteX109" fmla="*/ 2972484 w 8009775"/>
              <a:gd name="connsiteY109" fmla="*/ 1700214 h 6858001"/>
              <a:gd name="connsiteX110" fmla="*/ 2974552 w 8009775"/>
              <a:gd name="connsiteY110" fmla="*/ 1694816 h 6858001"/>
              <a:gd name="connsiteX111" fmla="*/ 2976917 w 8009775"/>
              <a:gd name="connsiteY111" fmla="*/ 1689101 h 6858001"/>
              <a:gd name="connsiteX112" fmla="*/ 2979873 w 8009775"/>
              <a:gd name="connsiteY112" fmla="*/ 1683703 h 6858001"/>
              <a:gd name="connsiteX113" fmla="*/ 2982533 w 8009775"/>
              <a:gd name="connsiteY113" fmla="*/ 1678305 h 6858001"/>
              <a:gd name="connsiteX114" fmla="*/ 2985784 w 8009775"/>
              <a:gd name="connsiteY114" fmla="*/ 1673226 h 6858001"/>
              <a:gd name="connsiteX115" fmla="*/ 2989331 w 8009775"/>
              <a:gd name="connsiteY115" fmla="*/ 1668145 h 6858001"/>
              <a:gd name="connsiteX116" fmla="*/ 2992878 w 8009775"/>
              <a:gd name="connsiteY116" fmla="*/ 1663066 h 6858001"/>
              <a:gd name="connsiteX117" fmla="*/ 2997311 w 8009775"/>
              <a:gd name="connsiteY117" fmla="*/ 1658621 h 6858001"/>
              <a:gd name="connsiteX118" fmla="*/ 3001744 w 8009775"/>
              <a:gd name="connsiteY118" fmla="*/ 1653859 h 6858001"/>
              <a:gd name="connsiteX119" fmla="*/ 3006178 w 8009775"/>
              <a:gd name="connsiteY119" fmla="*/ 1649414 h 6858001"/>
              <a:gd name="connsiteX120" fmla="*/ 3010907 w 8009775"/>
              <a:gd name="connsiteY120" fmla="*/ 1645603 h 6858001"/>
              <a:gd name="connsiteX121" fmla="*/ 3015932 w 8009775"/>
              <a:gd name="connsiteY121" fmla="*/ 1641794 h 6858001"/>
              <a:gd name="connsiteX122" fmla="*/ 3020956 w 8009775"/>
              <a:gd name="connsiteY122" fmla="*/ 1637984 h 6858001"/>
              <a:gd name="connsiteX123" fmla="*/ 3025981 w 8009775"/>
              <a:gd name="connsiteY123" fmla="*/ 1634809 h 6858001"/>
              <a:gd name="connsiteX124" fmla="*/ 3031596 w 8009775"/>
              <a:gd name="connsiteY124" fmla="*/ 1631950 h 6858001"/>
              <a:gd name="connsiteX125" fmla="*/ 3036916 w 8009775"/>
              <a:gd name="connsiteY125" fmla="*/ 1629094 h 6858001"/>
              <a:gd name="connsiteX126" fmla="*/ 3042532 w 8009775"/>
              <a:gd name="connsiteY126" fmla="*/ 1626871 h 6858001"/>
              <a:gd name="connsiteX127" fmla="*/ 3047852 w 8009775"/>
              <a:gd name="connsiteY127" fmla="*/ 1624649 h 6858001"/>
              <a:gd name="connsiteX128" fmla="*/ 3053764 w 8009775"/>
              <a:gd name="connsiteY128" fmla="*/ 1623061 h 6858001"/>
              <a:gd name="connsiteX129" fmla="*/ 3059379 w 8009775"/>
              <a:gd name="connsiteY129" fmla="*/ 1621155 h 6858001"/>
              <a:gd name="connsiteX130" fmla="*/ 3065291 w 8009775"/>
              <a:gd name="connsiteY130" fmla="*/ 1620204 h 6858001"/>
              <a:gd name="connsiteX131" fmla="*/ 3070906 w 8009775"/>
              <a:gd name="connsiteY131" fmla="*/ 1618934 h 6858001"/>
              <a:gd name="connsiteX132" fmla="*/ 3077113 w 8009775"/>
              <a:gd name="connsiteY132" fmla="*/ 1618299 h 6858001"/>
              <a:gd name="connsiteX133" fmla="*/ 3082729 w 8009775"/>
              <a:gd name="connsiteY133" fmla="*/ 1617981 h 6858001"/>
              <a:gd name="connsiteX134" fmla="*/ 3088936 w 8009775"/>
              <a:gd name="connsiteY134" fmla="*/ 1617981 h 6858001"/>
              <a:gd name="connsiteX135" fmla="*/ 3094552 w 8009775"/>
              <a:gd name="connsiteY135" fmla="*/ 1617981 h 6858001"/>
              <a:gd name="connsiteX136" fmla="*/ 3100758 w 8009775"/>
              <a:gd name="connsiteY136" fmla="*/ 1618299 h 6858001"/>
              <a:gd name="connsiteX137" fmla="*/ 3106670 w 8009775"/>
              <a:gd name="connsiteY137" fmla="*/ 1618934 h 6858001"/>
              <a:gd name="connsiteX138" fmla="*/ 3112285 w 8009775"/>
              <a:gd name="connsiteY138" fmla="*/ 1620204 h 6858001"/>
              <a:gd name="connsiteX139" fmla="*/ 3117901 w 8009775"/>
              <a:gd name="connsiteY139" fmla="*/ 1621155 h 6858001"/>
              <a:gd name="connsiteX140" fmla="*/ 3123812 w 8009775"/>
              <a:gd name="connsiteY140" fmla="*/ 1623061 h 6858001"/>
              <a:gd name="connsiteX141" fmla="*/ 3129428 w 8009775"/>
              <a:gd name="connsiteY141" fmla="*/ 1624649 h 6858001"/>
              <a:gd name="connsiteX142" fmla="*/ 3135339 w 8009775"/>
              <a:gd name="connsiteY142" fmla="*/ 1626871 h 6858001"/>
              <a:gd name="connsiteX143" fmla="*/ 3140660 w 8009775"/>
              <a:gd name="connsiteY143" fmla="*/ 1629094 h 6858001"/>
              <a:gd name="connsiteX144" fmla="*/ 3145980 w 8009775"/>
              <a:gd name="connsiteY144" fmla="*/ 1631950 h 6858001"/>
              <a:gd name="connsiteX145" fmla="*/ 3151300 w 8009775"/>
              <a:gd name="connsiteY145" fmla="*/ 1634809 h 6858001"/>
              <a:gd name="connsiteX146" fmla="*/ 3156324 w 8009775"/>
              <a:gd name="connsiteY146" fmla="*/ 1637984 h 6858001"/>
              <a:gd name="connsiteX147" fmla="*/ 3161349 w 8009775"/>
              <a:gd name="connsiteY147" fmla="*/ 1641794 h 6858001"/>
              <a:gd name="connsiteX148" fmla="*/ 3166374 w 8009775"/>
              <a:gd name="connsiteY148" fmla="*/ 1645603 h 6858001"/>
              <a:gd name="connsiteX149" fmla="*/ 3171102 w 8009775"/>
              <a:gd name="connsiteY149" fmla="*/ 1649414 h 6858001"/>
              <a:gd name="connsiteX150" fmla="*/ 3175832 w 8009775"/>
              <a:gd name="connsiteY150" fmla="*/ 1653859 h 6858001"/>
              <a:gd name="connsiteX151" fmla="*/ 3844692 w 8009775"/>
              <a:gd name="connsiteY151" fmla="*/ 2322830 h 6858001"/>
              <a:gd name="connsiteX152" fmla="*/ 3849421 w 8009775"/>
              <a:gd name="connsiteY152" fmla="*/ 2326958 h 6858001"/>
              <a:gd name="connsiteX153" fmla="*/ 3854150 w 8009775"/>
              <a:gd name="connsiteY153" fmla="*/ 2331085 h 6858001"/>
              <a:gd name="connsiteX154" fmla="*/ 3859175 w 8009775"/>
              <a:gd name="connsiteY154" fmla="*/ 2334895 h 6858001"/>
              <a:gd name="connsiteX155" fmla="*/ 3864199 w 8009775"/>
              <a:gd name="connsiteY155" fmla="*/ 2338705 h 6858001"/>
              <a:gd name="connsiteX156" fmla="*/ 3869224 w 8009775"/>
              <a:gd name="connsiteY156" fmla="*/ 2341880 h 6858001"/>
              <a:gd name="connsiteX157" fmla="*/ 3874544 w 8009775"/>
              <a:gd name="connsiteY157" fmla="*/ 2344738 h 6858001"/>
              <a:gd name="connsiteX158" fmla="*/ 3879864 w 8009775"/>
              <a:gd name="connsiteY158" fmla="*/ 2347595 h 6858001"/>
              <a:gd name="connsiteX159" fmla="*/ 3885775 w 8009775"/>
              <a:gd name="connsiteY159" fmla="*/ 2349818 h 6858001"/>
              <a:gd name="connsiteX160" fmla="*/ 3891096 w 8009775"/>
              <a:gd name="connsiteY160" fmla="*/ 2351723 h 6858001"/>
              <a:gd name="connsiteX161" fmla="*/ 3896711 w 8009775"/>
              <a:gd name="connsiteY161" fmla="*/ 2353628 h 6858001"/>
              <a:gd name="connsiteX162" fmla="*/ 3902623 w 8009775"/>
              <a:gd name="connsiteY162" fmla="*/ 2355534 h 6858001"/>
              <a:gd name="connsiteX163" fmla="*/ 3908238 w 8009775"/>
              <a:gd name="connsiteY163" fmla="*/ 2356485 h 6858001"/>
              <a:gd name="connsiteX164" fmla="*/ 3914150 w 8009775"/>
              <a:gd name="connsiteY164" fmla="*/ 2357755 h 6858001"/>
              <a:gd name="connsiteX165" fmla="*/ 3920061 w 8009775"/>
              <a:gd name="connsiteY165" fmla="*/ 2358391 h 6858001"/>
              <a:gd name="connsiteX166" fmla="*/ 3925972 w 8009775"/>
              <a:gd name="connsiteY166" fmla="*/ 2358708 h 6858001"/>
              <a:gd name="connsiteX167" fmla="*/ 3931883 w 8009775"/>
              <a:gd name="connsiteY167" fmla="*/ 2358708 h 6858001"/>
              <a:gd name="connsiteX168" fmla="*/ 3937795 w 8009775"/>
              <a:gd name="connsiteY168" fmla="*/ 2358708 h 6858001"/>
              <a:gd name="connsiteX169" fmla="*/ 3943706 w 8009775"/>
              <a:gd name="connsiteY169" fmla="*/ 2358391 h 6858001"/>
              <a:gd name="connsiteX170" fmla="*/ 3949617 w 8009775"/>
              <a:gd name="connsiteY170" fmla="*/ 2357755 h 6858001"/>
              <a:gd name="connsiteX171" fmla="*/ 3955233 w 8009775"/>
              <a:gd name="connsiteY171" fmla="*/ 2356485 h 6858001"/>
              <a:gd name="connsiteX172" fmla="*/ 3961144 w 8009775"/>
              <a:gd name="connsiteY172" fmla="*/ 2355534 h 6858001"/>
              <a:gd name="connsiteX173" fmla="*/ 3966760 w 8009775"/>
              <a:gd name="connsiteY173" fmla="*/ 2353628 h 6858001"/>
              <a:gd name="connsiteX174" fmla="*/ 3972671 w 8009775"/>
              <a:gd name="connsiteY174" fmla="*/ 2351723 h 6858001"/>
              <a:gd name="connsiteX175" fmla="*/ 3978287 w 8009775"/>
              <a:gd name="connsiteY175" fmla="*/ 2349818 h 6858001"/>
              <a:gd name="connsiteX176" fmla="*/ 3983607 w 8009775"/>
              <a:gd name="connsiteY176" fmla="*/ 2347595 h 6858001"/>
              <a:gd name="connsiteX177" fmla="*/ 3989223 w 8009775"/>
              <a:gd name="connsiteY177" fmla="*/ 2344738 h 6858001"/>
              <a:gd name="connsiteX178" fmla="*/ 3994543 w 8009775"/>
              <a:gd name="connsiteY178" fmla="*/ 2341880 h 6858001"/>
              <a:gd name="connsiteX179" fmla="*/ 3999567 w 8009775"/>
              <a:gd name="connsiteY179" fmla="*/ 2338705 h 6858001"/>
              <a:gd name="connsiteX180" fmla="*/ 4004888 w 8009775"/>
              <a:gd name="connsiteY180" fmla="*/ 2334895 h 6858001"/>
              <a:gd name="connsiteX181" fmla="*/ 4009617 w 8009775"/>
              <a:gd name="connsiteY181" fmla="*/ 2331085 h 6858001"/>
              <a:gd name="connsiteX182" fmla="*/ 4014346 w 8009775"/>
              <a:gd name="connsiteY182" fmla="*/ 2326958 h 6858001"/>
              <a:gd name="connsiteX183" fmla="*/ 4018779 w 8009775"/>
              <a:gd name="connsiteY183" fmla="*/ 2322830 h 6858001"/>
              <a:gd name="connsiteX184" fmla="*/ 4023213 w 8009775"/>
              <a:gd name="connsiteY184" fmla="*/ 2318068 h 6858001"/>
              <a:gd name="connsiteX185" fmla="*/ 4027646 w 8009775"/>
              <a:gd name="connsiteY185" fmla="*/ 2313306 h 6858001"/>
              <a:gd name="connsiteX186" fmla="*/ 4031193 w 8009775"/>
              <a:gd name="connsiteY186" fmla="*/ 2308544 h 6858001"/>
              <a:gd name="connsiteX187" fmla="*/ 4034740 w 8009775"/>
              <a:gd name="connsiteY187" fmla="*/ 2303463 h 6858001"/>
              <a:gd name="connsiteX188" fmla="*/ 4037991 w 8009775"/>
              <a:gd name="connsiteY188" fmla="*/ 2298384 h 6858001"/>
              <a:gd name="connsiteX189" fmla="*/ 4040946 w 8009775"/>
              <a:gd name="connsiteY189" fmla="*/ 2292985 h 6858001"/>
              <a:gd name="connsiteX190" fmla="*/ 4043606 w 8009775"/>
              <a:gd name="connsiteY190" fmla="*/ 2287588 h 6858001"/>
              <a:gd name="connsiteX191" fmla="*/ 4046267 w 8009775"/>
              <a:gd name="connsiteY191" fmla="*/ 2281873 h 6858001"/>
              <a:gd name="connsiteX192" fmla="*/ 4048040 w 8009775"/>
              <a:gd name="connsiteY192" fmla="*/ 2276476 h 6858001"/>
              <a:gd name="connsiteX193" fmla="*/ 4050109 w 8009775"/>
              <a:gd name="connsiteY193" fmla="*/ 2270761 h 6858001"/>
              <a:gd name="connsiteX194" fmla="*/ 4051587 w 8009775"/>
              <a:gd name="connsiteY194" fmla="*/ 2265046 h 6858001"/>
              <a:gd name="connsiteX195" fmla="*/ 4052769 w 8009775"/>
              <a:gd name="connsiteY195" fmla="*/ 2259331 h 6858001"/>
              <a:gd name="connsiteX196" fmla="*/ 4053656 w 8009775"/>
              <a:gd name="connsiteY196" fmla="*/ 2253298 h 6858001"/>
              <a:gd name="connsiteX197" fmla="*/ 4054542 w 8009775"/>
              <a:gd name="connsiteY197" fmla="*/ 2247266 h 6858001"/>
              <a:gd name="connsiteX198" fmla="*/ 4054838 w 8009775"/>
              <a:gd name="connsiteY198" fmla="*/ 2241551 h 6858001"/>
              <a:gd name="connsiteX199" fmla="*/ 4055133 w 8009775"/>
              <a:gd name="connsiteY199" fmla="*/ 2235519 h 6858001"/>
              <a:gd name="connsiteX200" fmla="*/ 4054838 w 8009775"/>
              <a:gd name="connsiteY200" fmla="*/ 2229804 h 6858001"/>
              <a:gd name="connsiteX201" fmla="*/ 4054542 w 8009775"/>
              <a:gd name="connsiteY201" fmla="*/ 2223770 h 6858001"/>
              <a:gd name="connsiteX202" fmla="*/ 4053656 w 8009775"/>
              <a:gd name="connsiteY202" fmla="*/ 2217739 h 6858001"/>
              <a:gd name="connsiteX203" fmla="*/ 4052769 w 8009775"/>
              <a:gd name="connsiteY203" fmla="*/ 2212024 h 6858001"/>
              <a:gd name="connsiteX204" fmla="*/ 4051587 w 8009775"/>
              <a:gd name="connsiteY204" fmla="*/ 2206309 h 6858001"/>
              <a:gd name="connsiteX205" fmla="*/ 4050109 w 8009775"/>
              <a:gd name="connsiteY205" fmla="*/ 2200593 h 6858001"/>
              <a:gd name="connsiteX206" fmla="*/ 4048040 w 8009775"/>
              <a:gd name="connsiteY206" fmla="*/ 2194878 h 6858001"/>
              <a:gd name="connsiteX207" fmla="*/ 4046267 w 8009775"/>
              <a:gd name="connsiteY207" fmla="*/ 2189163 h 6858001"/>
              <a:gd name="connsiteX208" fmla="*/ 4043606 w 8009775"/>
              <a:gd name="connsiteY208" fmla="*/ 2183765 h 6858001"/>
              <a:gd name="connsiteX209" fmla="*/ 4040946 w 8009775"/>
              <a:gd name="connsiteY209" fmla="*/ 2178368 h 6858001"/>
              <a:gd name="connsiteX210" fmla="*/ 4037991 w 8009775"/>
              <a:gd name="connsiteY210" fmla="*/ 2172970 h 6858001"/>
              <a:gd name="connsiteX211" fmla="*/ 4034740 w 8009775"/>
              <a:gd name="connsiteY211" fmla="*/ 2167890 h 6858001"/>
              <a:gd name="connsiteX212" fmla="*/ 4031193 w 8009775"/>
              <a:gd name="connsiteY212" fmla="*/ 2162494 h 6858001"/>
              <a:gd name="connsiteX213" fmla="*/ 4027646 w 8009775"/>
              <a:gd name="connsiteY213" fmla="*/ 2157730 h 6858001"/>
              <a:gd name="connsiteX214" fmla="*/ 4023213 w 8009775"/>
              <a:gd name="connsiteY214" fmla="*/ 2153285 h 6858001"/>
              <a:gd name="connsiteX215" fmla="*/ 4018779 w 8009775"/>
              <a:gd name="connsiteY215" fmla="*/ 2148523 h 6858001"/>
              <a:gd name="connsiteX216" fmla="*/ 3632182 w 8009775"/>
              <a:gd name="connsiteY216" fmla="*/ 1761490 h 6858001"/>
              <a:gd name="connsiteX217" fmla="*/ 3435928 w 8009775"/>
              <a:gd name="connsiteY217" fmla="*/ 1565276 h 6858001"/>
              <a:gd name="connsiteX218" fmla="*/ 3431198 w 8009775"/>
              <a:gd name="connsiteY218" fmla="*/ 1560514 h 6858001"/>
              <a:gd name="connsiteX219" fmla="*/ 3427356 w 8009775"/>
              <a:gd name="connsiteY219" fmla="*/ 1555751 h 6858001"/>
              <a:gd name="connsiteX220" fmla="*/ 3423218 w 8009775"/>
              <a:gd name="connsiteY220" fmla="*/ 1550671 h 6858001"/>
              <a:gd name="connsiteX221" fmla="*/ 3420262 w 8009775"/>
              <a:gd name="connsiteY221" fmla="*/ 1545909 h 6858001"/>
              <a:gd name="connsiteX222" fmla="*/ 3417012 w 8009775"/>
              <a:gd name="connsiteY222" fmla="*/ 1540829 h 6858001"/>
              <a:gd name="connsiteX223" fmla="*/ 3413760 w 8009775"/>
              <a:gd name="connsiteY223" fmla="*/ 1535430 h 6858001"/>
              <a:gd name="connsiteX224" fmla="*/ 3411100 w 8009775"/>
              <a:gd name="connsiteY224" fmla="*/ 1530034 h 6858001"/>
              <a:gd name="connsiteX225" fmla="*/ 3408736 w 8009775"/>
              <a:gd name="connsiteY225" fmla="*/ 1524635 h 6858001"/>
              <a:gd name="connsiteX226" fmla="*/ 3406371 w 8009775"/>
              <a:gd name="connsiteY226" fmla="*/ 1518920 h 6858001"/>
              <a:gd name="connsiteX227" fmla="*/ 3404598 w 8009775"/>
              <a:gd name="connsiteY227" fmla="*/ 1513205 h 6858001"/>
              <a:gd name="connsiteX228" fmla="*/ 3403120 w 8009775"/>
              <a:gd name="connsiteY228" fmla="*/ 1507174 h 6858001"/>
              <a:gd name="connsiteX229" fmla="*/ 3401938 w 8009775"/>
              <a:gd name="connsiteY229" fmla="*/ 1501459 h 6858001"/>
              <a:gd name="connsiteX230" fmla="*/ 3401051 w 8009775"/>
              <a:gd name="connsiteY230" fmla="*/ 1495744 h 6858001"/>
              <a:gd name="connsiteX231" fmla="*/ 3400460 w 8009775"/>
              <a:gd name="connsiteY231" fmla="*/ 1489710 h 6858001"/>
              <a:gd name="connsiteX232" fmla="*/ 3399869 w 8009775"/>
              <a:gd name="connsiteY232" fmla="*/ 1483995 h 6858001"/>
              <a:gd name="connsiteX233" fmla="*/ 3399573 w 8009775"/>
              <a:gd name="connsiteY233" fmla="*/ 1478281 h 6858001"/>
              <a:gd name="connsiteX234" fmla="*/ 3399869 w 8009775"/>
              <a:gd name="connsiteY234" fmla="*/ 1472249 h 6858001"/>
              <a:gd name="connsiteX235" fmla="*/ 3400460 w 8009775"/>
              <a:gd name="connsiteY235" fmla="*/ 1466215 h 6858001"/>
              <a:gd name="connsiteX236" fmla="*/ 3401051 w 8009775"/>
              <a:gd name="connsiteY236" fmla="*/ 1460183 h 6858001"/>
              <a:gd name="connsiteX237" fmla="*/ 3401938 w 8009775"/>
              <a:gd name="connsiteY237" fmla="*/ 1454468 h 6858001"/>
              <a:gd name="connsiteX238" fmla="*/ 3403120 w 8009775"/>
              <a:gd name="connsiteY238" fmla="*/ 1448754 h 6858001"/>
              <a:gd name="connsiteX239" fmla="*/ 3404598 w 8009775"/>
              <a:gd name="connsiteY239" fmla="*/ 1443039 h 6858001"/>
              <a:gd name="connsiteX240" fmla="*/ 3406371 w 8009775"/>
              <a:gd name="connsiteY240" fmla="*/ 1437324 h 6858001"/>
              <a:gd name="connsiteX241" fmla="*/ 3408736 w 8009775"/>
              <a:gd name="connsiteY241" fmla="*/ 1431609 h 6858001"/>
              <a:gd name="connsiteX242" fmla="*/ 3411100 w 8009775"/>
              <a:gd name="connsiteY242" fmla="*/ 1426211 h 6858001"/>
              <a:gd name="connsiteX243" fmla="*/ 3413760 w 8009775"/>
              <a:gd name="connsiteY243" fmla="*/ 1420814 h 6858001"/>
              <a:gd name="connsiteX244" fmla="*/ 3417012 w 8009775"/>
              <a:gd name="connsiteY244" fmla="*/ 1415416 h 6858001"/>
              <a:gd name="connsiteX245" fmla="*/ 3420262 w 8009775"/>
              <a:gd name="connsiteY245" fmla="*/ 1410336 h 6858001"/>
              <a:gd name="connsiteX246" fmla="*/ 3423218 w 8009775"/>
              <a:gd name="connsiteY246" fmla="*/ 1405256 h 6858001"/>
              <a:gd name="connsiteX247" fmla="*/ 3427356 w 8009775"/>
              <a:gd name="connsiteY247" fmla="*/ 1400175 h 6858001"/>
              <a:gd name="connsiteX248" fmla="*/ 3431198 w 8009775"/>
              <a:gd name="connsiteY248" fmla="*/ 1395731 h 6858001"/>
              <a:gd name="connsiteX249" fmla="*/ 3435928 w 8009775"/>
              <a:gd name="connsiteY249" fmla="*/ 1390969 h 6858001"/>
              <a:gd name="connsiteX250" fmla="*/ 3440361 w 8009775"/>
              <a:gd name="connsiteY250" fmla="*/ 1386524 h 6858001"/>
              <a:gd name="connsiteX251" fmla="*/ 3445386 w 8009775"/>
              <a:gd name="connsiteY251" fmla="*/ 1382396 h 6858001"/>
              <a:gd name="connsiteX252" fmla="*/ 3449819 w 8009775"/>
              <a:gd name="connsiteY252" fmla="*/ 1378585 h 6858001"/>
              <a:gd name="connsiteX253" fmla="*/ 3454844 w 8009775"/>
              <a:gd name="connsiteY253" fmla="*/ 1375094 h 6858001"/>
              <a:gd name="connsiteX254" fmla="*/ 3460459 w 8009775"/>
              <a:gd name="connsiteY254" fmla="*/ 1371919 h 6858001"/>
              <a:gd name="connsiteX255" fmla="*/ 3465780 w 8009775"/>
              <a:gd name="connsiteY255" fmla="*/ 1369061 h 6858001"/>
              <a:gd name="connsiteX256" fmla="*/ 3471100 w 8009775"/>
              <a:gd name="connsiteY256" fmla="*/ 1366204 h 6858001"/>
              <a:gd name="connsiteX257" fmla="*/ 3476420 w 8009775"/>
              <a:gd name="connsiteY257" fmla="*/ 1363980 h 6858001"/>
              <a:gd name="connsiteX258" fmla="*/ 3482331 w 8009775"/>
              <a:gd name="connsiteY258" fmla="*/ 1361759 h 6858001"/>
              <a:gd name="connsiteX259" fmla="*/ 3487947 w 8009775"/>
              <a:gd name="connsiteY259" fmla="*/ 1360170 h 6858001"/>
              <a:gd name="connsiteX260" fmla="*/ 3493858 w 8009775"/>
              <a:gd name="connsiteY260" fmla="*/ 1358265 h 6858001"/>
              <a:gd name="connsiteX261" fmla="*/ 3499474 w 8009775"/>
              <a:gd name="connsiteY261" fmla="*/ 1357314 h 6858001"/>
              <a:gd name="connsiteX262" fmla="*/ 3505385 w 8009775"/>
              <a:gd name="connsiteY262" fmla="*/ 1356043 h 6858001"/>
              <a:gd name="connsiteX263" fmla="*/ 3511001 w 8009775"/>
              <a:gd name="connsiteY263" fmla="*/ 1355409 h 6858001"/>
              <a:gd name="connsiteX264" fmla="*/ 3517208 w 8009775"/>
              <a:gd name="connsiteY264" fmla="*/ 1355090 h 6858001"/>
              <a:gd name="connsiteX265" fmla="*/ 3522823 w 8009775"/>
              <a:gd name="connsiteY265" fmla="*/ 1354773 h 6858001"/>
              <a:gd name="connsiteX266" fmla="*/ 3529030 w 8009775"/>
              <a:gd name="connsiteY266" fmla="*/ 1355090 h 6858001"/>
              <a:gd name="connsiteX267" fmla="*/ 3534646 w 8009775"/>
              <a:gd name="connsiteY267" fmla="*/ 1355409 h 6858001"/>
              <a:gd name="connsiteX268" fmla="*/ 3540557 w 8009775"/>
              <a:gd name="connsiteY268" fmla="*/ 1356043 h 6858001"/>
              <a:gd name="connsiteX269" fmla="*/ 3546468 w 8009775"/>
              <a:gd name="connsiteY269" fmla="*/ 1357314 h 6858001"/>
              <a:gd name="connsiteX270" fmla="*/ 3552380 w 8009775"/>
              <a:gd name="connsiteY270" fmla="*/ 1358265 h 6858001"/>
              <a:gd name="connsiteX271" fmla="*/ 3557995 w 8009775"/>
              <a:gd name="connsiteY271" fmla="*/ 1360170 h 6858001"/>
              <a:gd name="connsiteX272" fmla="*/ 3563906 w 8009775"/>
              <a:gd name="connsiteY272" fmla="*/ 1361759 h 6858001"/>
              <a:gd name="connsiteX273" fmla="*/ 3569227 w 8009775"/>
              <a:gd name="connsiteY273" fmla="*/ 1363980 h 6858001"/>
              <a:gd name="connsiteX274" fmla="*/ 3574842 w 8009775"/>
              <a:gd name="connsiteY274" fmla="*/ 1366204 h 6858001"/>
              <a:gd name="connsiteX275" fmla="*/ 3580458 w 8009775"/>
              <a:gd name="connsiteY275" fmla="*/ 1369061 h 6858001"/>
              <a:gd name="connsiteX276" fmla="*/ 3585778 w 8009775"/>
              <a:gd name="connsiteY276" fmla="*/ 1371919 h 6858001"/>
              <a:gd name="connsiteX277" fmla="*/ 3590803 w 8009775"/>
              <a:gd name="connsiteY277" fmla="*/ 1375094 h 6858001"/>
              <a:gd name="connsiteX278" fmla="*/ 3595828 w 8009775"/>
              <a:gd name="connsiteY278" fmla="*/ 1378585 h 6858001"/>
              <a:gd name="connsiteX279" fmla="*/ 3600852 w 8009775"/>
              <a:gd name="connsiteY279" fmla="*/ 1382396 h 6858001"/>
              <a:gd name="connsiteX280" fmla="*/ 3605581 w 8009775"/>
              <a:gd name="connsiteY280" fmla="*/ 1386524 h 6858001"/>
              <a:gd name="connsiteX281" fmla="*/ 3610014 w 8009775"/>
              <a:gd name="connsiteY281" fmla="*/ 1390969 h 6858001"/>
              <a:gd name="connsiteX282" fmla="*/ 3817500 w 8009775"/>
              <a:gd name="connsiteY282" fmla="*/ 1598296 h 6858001"/>
              <a:gd name="connsiteX283" fmla="*/ 3821934 w 8009775"/>
              <a:gd name="connsiteY283" fmla="*/ 1602423 h 6858001"/>
              <a:gd name="connsiteX284" fmla="*/ 3826663 w 8009775"/>
              <a:gd name="connsiteY284" fmla="*/ 1606869 h 6858001"/>
              <a:gd name="connsiteX285" fmla="*/ 3831687 w 8009775"/>
              <a:gd name="connsiteY285" fmla="*/ 1610361 h 6858001"/>
              <a:gd name="connsiteX286" fmla="*/ 3836712 w 8009775"/>
              <a:gd name="connsiteY286" fmla="*/ 1613854 h 6858001"/>
              <a:gd name="connsiteX287" fmla="*/ 3841736 w 8009775"/>
              <a:gd name="connsiteY287" fmla="*/ 1617345 h 6858001"/>
              <a:gd name="connsiteX288" fmla="*/ 3847352 w 8009775"/>
              <a:gd name="connsiteY288" fmla="*/ 1620204 h 6858001"/>
              <a:gd name="connsiteX289" fmla="*/ 3852672 w 8009775"/>
              <a:gd name="connsiteY289" fmla="*/ 1623061 h 6858001"/>
              <a:gd name="connsiteX290" fmla="*/ 3857992 w 8009775"/>
              <a:gd name="connsiteY290" fmla="*/ 1625283 h 6858001"/>
              <a:gd name="connsiteX291" fmla="*/ 3863608 w 8009775"/>
              <a:gd name="connsiteY291" fmla="*/ 1627189 h 6858001"/>
              <a:gd name="connsiteX292" fmla="*/ 3869519 w 8009775"/>
              <a:gd name="connsiteY292" fmla="*/ 1629094 h 6858001"/>
              <a:gd name="connsiteX293" fmla="*/ 3875135 w 8009775"/>
              <a:gd name="connsiteY293" fmla="*/ 1630998 h 6858001"/>
              <a:gd name="connsiteX294" fmla="*/ 3881046 w 8009775"/>
              <a:gd name="connsiteY294" fmla="*/ 1631950 h 6858001"/>
              <a:gd name="connsiteX295" fmla="*/ 3886662 w 8009775"/>
              <a:gd name="connsiteY295" fmla="*/ 1632904 h 6858001"/>
              <a:gd name="connsiteX296" fmla="*/ 3892869 w 8009775"/>
              <a:gd name="connsiteY296" fmla="*/ 1633856 h 6858001"/>
              <a:gd name="connsiteX297" fmla="*/ 3898485 w 8009775"/>
              <a:gd name="connsiteY297" fmla="*/ 1634174 h 6858001"/>
              <a:gd name="connsiteX298" fmla="*/ 3904396 w 8009775"/>
              <a:gd name="connsiteY298" fmla="*/ 1634174 h 6858001"/>
              <a:gd name="connsiteX299" fmla="*/ 3910307 w 8009775"/>
              <a:gd name="connsiteY299" fmla="*/ 1634174 h 6858001"/>
              <a:gd name="connsiteX300" fmla="*/ 3916219 w 8009775"/>
              <a:gd name="connsiteY300" fmla="*/ 1633856 h 6858001"/>
              <a:gd name="connsiteX301" fmla="*/ 3922425 w 8009775"/>
              <a:gd name="connsiteY301" fmla="*/ 1632904 h 6858001"/>
              <a:gd name="connsiteX302" fmla="*/ 3928041 w 8009775"/>
              <a:gd name="connsiteY302" fmla="*/ 1631950 h 6858001"/>
              <a:gd name="connsiteX303" fmla="*/ 3933657 w 8009775"/>
              <a:gd name="connsiteY303" fmla="*/ 1630998 h 6858001"/>
              <a:gd name="connsiteX304" fmla="*/ 3939568 w 8009775"/>
              <a:gd name="connsiteY304" fmla="*/ 1629094 h 6858001"/>
              <a:gd name="connsiteX305" fmla="*/ 3945184 w 8009775"/>
              <a:gd name="connsiteY305" fmla="*/ 1627189 h 6858001"/>
              <a:gd name="connsiteX306" fmla="*/ 3950799 w 8009775"/>
              <a:gd name="connsiteY306" fmla="*/ 1625283 h 6858001"/>
              <a:gd name="connsiteX307" fmla="*/ 3956415 w 8009775"/>
              <a:gd name="connsiteY307" fmla="*/ 1623061 h 6858001"/>
              <a:gd name="connsiteX308" fmla="*/ 3961735 w 8009775"/>
              <a:gd name="connsiteY308" fmla="*/ 1620204 h 6858001"/>
              <a:gd name="connsiteX309" fmla="*/ 3967055 w 8009775"/>
              <a:gd name="connsiteY309" fmla="*/ 1617345 h 6858001"/>
              <a:gd name="connsiteX310" fmla="*/ 3972376 w 8009775"/>
              <a:gd name="connsiteY310" fmla="*/ 1613854 h 6858001"/>
              <a:gd name="connsiteX311" fmla="*/ 3977400 w 8009775"/>
              <a:gd name="connsiteY311" fmla="*/ 1610361 h 6858001"/>
              <a:gd name="connsiteX312" fmla="*/ 3982425 w 8009775"/>
              <a:gd name="connsiteY312" fmla="*/ 1606869 h 6858001"/>
              <a:gd name="connsiteX313" fmla="*/ 3986858 w 8009775"/>
              <a:gd name="connsiteY313" fmla="*/ 1602423 h 6858001"/>
              <a:gd name="connsiteX314" fmla="*/ 3991587 w 8009775"/>
              <a:gd name="connsiteY314" fmla="*/ 1598296 h 6858001"/>
              <a:gd name="connsiteX315" fmla="*/ 3996021 w 8009775"/>
              <a:gd name="connsiteY315" fmla="*/ 1593533 h 6858001"/>
              <a:gd name="connsiteX316" fmla="*/ 4000159 w 8009775"/>
              <a:gd name="connsiteY316" fmla="*/ 1588771 h 6858001"/>
              <a:gd name="connsiteX317" fmla="*/ 4003705 w 8009775"/>
              <a:gd name="connsiteY317" fmla="*/ 1583691 h 6858001"/>
              <a:gd name="connsiteX318" fmla="*/ 4007548 w 8009775"/>
              <a:gd name="connsiteY318" fmla="*/ 1578928 h 6858001"/>
              <a:gd name="connsiteX319" fmla="*/ 4010799 w 8009775"/>
              <a:gd name="connsiteY319" fmla="*/ 1573849 h 6858001"/>
              <a:gd name="connsiteX320" fmla="*/ 4013459 w 8009775"/>
              <a:gd name="connsiteY320" fmla="*/ 1568451 h 6858001"/>
              <a:gd name="connsiteX321" fmla="*/ 4016415 w 8009775"/>
              <a:gd name="connsiteY321" fmla="*/ 1563054 h 6858001"/>
              <a:gd name="connsiteX322" fmla="*/ 4018484 w 8009775"/>
              <a:gd name="connsiteY322" fmla="*/ 1557339 h 6858001"/>
              <a:gd name="connsiteX323" fmla="*/ 4020848 w 8009775"/>
              <a:gd name="connsiteY323" fmla="*/ 1551941 h 6858001"/>
              <a:gd name="connsiteX324" fmla="*/ 4022621 w 8009775"/>
              <a:gd name="connsiteY324" fmla="*/ 1546226 h 6858001"/>
              <a:gd name="connsiteX325" fmla="*/ 4024395 w 8009775"/>
              <a:gd name="connsiteY325" fmla="*/ 1540511 h 6858001"/>
              <a:gd name="connsiteX326" fmla="*/ 4025282 w 8009775"/>
              <a:gd name="connsiteY326" fmla="*/ 1534478 h 6858001"/>
              <a:gd name="connsiteX327" fmla="*/ 4026464 w 8009775"/>
              <a:gd name="connsiteY327" fmla="*/ 1528763 h 6858001"/>
              <a:gd name="connsiteX328" fmla="*/ 4027055 w 8009775"/>
              <a:gd name="connsiteY328" fmla="*/ 1522731 h 6858001"/>
              <a:gd name="connsiteX329" fmla="*/ 4027646 w 8009775"/>
              <a:gd name="connsiteY329" fmla="*/ 1517016 h 6858001"/>
              <a:gd name="connsiteX330" fmla="*/ 4027646 w 8009775"/>
              <a:gd name="connsiteY330" fmla="*/ 1510984 h 6858001"/>
              <a:gd name="connsiteX331" fmla="*/ 4027646 w 8009775"/>
              <a:gd name="connsiteY331" fmla="*/ 1505268 h 6858001"/>
              <a:gd name="connsiteX332" fmla="*/ 4027055 w 8009775"/>
              <a:gd name="connsiteY332" fmla="*/ 1499553 h 6858001"/>
              <a:gd name="connsiteX333" fmla="*/ 4026464 w 8009775"/>
              <a:gd name="connsiteY333" fmla="*/ 1493204 h 6858001"/>
              <a:gd name="connsiteX334" fmla="*/ 4025282 w 8009775"/>
              <a:gd name="connsiteY334" fmla="*/ 1487489 h 6858001"/>
              <a:gd name="connsiteX335" fmla="*/ 4024395 w 8009775"/>
              <a:gd name="connsiteY335" fmla="*/ 1481773 h 6858001"/>
              <a:gd name="connsiteX336" fmla="*/ 4022621 w 8009775"/>
              <a:gd name="connsiteY336" fmla="*/ 1476058 h 6858001"/>
              <a:gd name="connsiteX337" fmla="*/ 4020848 w 8009775"/>
              <a:gd name="connsiteY337" fmla="*/ 1470343 h 6858001"/>
              <a:gd name="connsiteX338" fmla="*/ 4018484 w 8009775"/>
              <a:gd name="connsiteY338" fmla="*/ 1464629 h 6858001"/>
              <a:gd name="connsiteX339" fmla="*/ 4016415 w 8009775"/>
              <a:gd name="connsiteY339" fmla="*/ 1459231 h 6858001"/>
              <a:gd name="connsiteX340" fmla="*/ 4013459 w 8009775"/>
              <a:gd name="connsiteY340" fmla="*/ 1453834 h 6858001"/>
              <a:gd name="connsiteX341" fmla="*/ 4010799 w 8009775"/>
              <a:gd name="connsiteY341" fmla="*/ 1448436 h 6858001"/>
              <a:gd name="connsiteX342" fmla="*/ 4007548 w 8009775"/>
              <a:gd name="connsiteY342" fmla="*/ 1443356 h 6858001"/>
              <a:gd name="connsiteX343" fmla="*/ 4003705 w 8009775"/>
              <a:gd name="connsiteY343" fmla="*/ 1438275 h 6858001"/>
              <a:gd name="connsiteX344" fmla="*/ 4000159 w 8009775"/>
              <a:gd name="connsiteY344" fmla="*/ 1433195 h 6858001"/>
              <a:gd name="connsiteX345" fmla="*/ 3996021 w 8009775"/>
              <a:gd name="connsiteY345" fmla="*/ 1428751 h 6858001"/>
              <a:gd name="connsiteX346" fmla="*/ 3991587 w 8009775"/>
              <a:gd name="connsiteY346" fmla="*/ 1423988 h 6858001"/>
              <a:gd name="connsiteX347" fmla="*/ 3323022 w 8009775"/>
              <a:gd name="connsiteY347" fmla="*/ 755333 h 6858001"/>
              <a:gd name="connsiteX348" fmla="*/ 3316815 w 8009775"/>
              <a:gd name="connsiteY348" fmla="*/ 748348 h 6858001"/>
              <a:gd name="connsiteX349" fmla="*/ 3310904 w 8009775"/>
              <a:gd name="connsiteY349" fmla="*/ 741045 h 6858001"/>
              <a:gd name="connsiteX350" fmla="*/ 3305584 w 8009775"/>
              <a:gd name="connsiteY350" fmla="*/ 733108 h 6858001"/>
              <a:gd name="connsiteX351" fmla="*/ 3300855 w 8009775"/>
              <a:gd name="connsiteY351" fmla="*/ 725170 h 6858001"/>
              <a:gd name="connsiteX352" fmla="*/ 3297308 w 8009775"/>
              <a:gd name="connsiteY352" fmla="*/ 716915 h 6858001"/>
              <a:gd name="connsiteX353" fmla="*/ 3293761 w 8009775"/>
              <a:gd name="connsiteY353" fmla="*/ 708660 h 6858001"/>
              <a:gd name="connsiteX354" fmla="*/ 3291101 w 8009775"/>
              <a:gd name="connsiteY354" fmla="*/ 699770 h 6858001"/>
              <a:gd name="connsiteX355" fmla="*/ 3289328 w 8009775"/>
              <a:gd name="connsiteY355" fmla="*/ 691198 h 6858001"/>
              <a:gd name="connsiteX356" fmla="*/ 2596527 w 8009775"/>
              <a:gd name="connsiteY356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004395 w 8009775"/>
              <a:gd name="connsiteY73" fmla="*/ 6858000 h 6858001"/>
              <a:gd name="connsiteX74" fmla="*/ 7099646 w 8009775"/>
              <a:gd name="connsiteY74" fmla="*/ 6858001 h 6858001"/>
              <a:gd name="connsiteX75" fmla="*/ 7364776 w 8009775"/>
              <a:gd name="connsiteY75" fmla="*/ 6858001 h 6858001"/>
              <a:gd name="connsiteX76" fmla="*/ 7460026 w 8009775"/>
              <a:gd name="connsiteY76" fmla="*/ 6858001 h 6858001"/>
              <a:gd name="connsiteX77" fmla="*/ 7507651 w 8009775"/>
              <a:gd name="connsiteY77" fmla="*/ 6858001 h 6858001"/>
              <a:gd name="connsiteX78" fmla="*/ 7507650 w 8009775"/>
              <a:gd name="connsiteY78" fmla="*/ 6858000 h 6858001"/>
              <a:gd name="connsiteX79" fmla="*/ 8009775 w 8009775"/>
              <a:gd name="connsiteY79" fmla="*/ 6858000 h 6858001"/>
              <a:gd name="connsiteX80" fmla="*/ 3996316 w 8009775"/>
              <a:gd name="connsiteY80" fmla="*/ 2818448 h 6858001"/>
              <a:gd name="connsiteX81" fmla="*/ 3980947 w 8009775"/>
              <a:gd name="connsiteY81" fmla="*/ 2804795 h 6858001"/>
              <a:gd name="connsiteX82" fmla="*/ 3965282 w 8009775"/>
              <a:gd name="connsiteY82" fmla="*/ 2791144 h 6858001"/>
              <a:gd name="connsiteX83" fmla="*/ 3950799 w 8009775"/>
              <a:gd name="connsiteY83" fmla="*/ 2776856 h 6858001"/>
              <a:gd name="connsiteX84" fmla="*/ 3936021 w 8009775"/>
              <a:gd name="connsiteY84" fmla="*/ 2762568 h 6858001"/>
              <a:gd name="connsiteX85" fmla="*/ 3001744 w 8009775"/>
              <a:gd name="connsiteY85" fmla="*/ 1828166 h 6858001"/>
              <a:gd name="connsiteX86" fmla="*/ 2997311 w 8009775"/>
              <a:gd name="connsiteY86" fmla="*/ 1823404 h 6858001"/>
              <a:gd name="connsiteX87" fmla="*/ 2992878 w 8009775"/>
              <a:gd name="connsiteY87" fmla="*/ 1818640 h 6858001"/>
              <a:gd name="connsiteX88" fmla="*/ 2989331 w 8009775"/>
              <a:gd name="connsiteY88" fmla="*/ 1814195 h 6858001"/>
              <a:gd name="connsiteX89" fmla="*/ 2985784 w 8009775"/>
              <a:gd name="connsiteY89" fmla="*/ 1808799 h 6858001"/>
              <a:gd name="connsiteX90" fmla="*/ 2982533 w 8009775"/>
              <a:gd name="connsiteY90" fmla="*/ 1803718 h 6858001"/>
              <a:gd name="connsiteX91" fmla="*/ 2979873 w 8009775"/>
              <a:gd name="connsiteY91" fmla="*/ 1798321 h 6858001"/>
              <a:gd name="connsiteX92" fmla="*/ 2976917 w 8009775"/>
              <a:gd name="connsiteY92" fmla="*/ 1792924 h 6858001"/>
              <a:gd name="connsiteX93" fmla="*/ 2974552 w 8009775"/>
              <a:gd name="connsiteY93" fmla="*/ 1787526 h 6858001"/>
              <a:gd name="connsiteX94" fmla="*/ 2972484 w 8009775"/>
              <a:gd name="connsiteY94" fmla="*/ 1781811 h 6858001"/>
              <a:gd name="connsiteX95" fmla="*/ 2970710 w 8009775"/>
              <a:gd name="connsiteY95" fmla="*/ 1776095 h 6858001"/>
              <a:gd name="connsiteX96" fmla="*/ 2968937 w 8009775"/>
              <a:gd name="connsiteY96" fmla="*/ 1770380 h 6858001"/>
              <a:gd name="connsiteX97" fmla="*/ 2967755 w 8009775"/>
              <a:gd name="connsiteY97" fmla="*/ 1764665 h 6858001"/>
              <a:gd name="connsiteX98" fmla="*/ 2966868 w 8009775"/>
              <a:gd name="connsiteY98" fmla="*/ 1758634 h 6858001"/>
              <a:gd name="connsiteX99" fmla="*/ 2965981 w 8009775"/>
              <a:gd name="connsiteY99" fmla="*/ 1752919 h 6858001"/>
              <a:gd name="connsiteX100" fmla="*/ 2965686 w 8009775"/>
              <a:gd name="connsiteY100" fmla="*/ 1746885 h 6858001"/>
              <a:gd name="connsiteX101" fmla="*/ 2965686 w 8009775"/>
              <a:gd name="connsiteY101" fmla="*/ 1741170 h 6858001"/>
              <a:gd name="connsiteX102" fmla="*/ 2965686 w 8009775"/>
              <a:gd name="connsiteY102" fmla="*/ 1735139 h 6858001"/>
              <a:gd name="connsiteX103" fmla="*/ 2965981 w 8009775"/>
              <a:gd name="connsiteY103" fmla="*/ 1729424 h 6858001"/>
              <a:gd name="connsiteX104" fmla="*/ 2966868 w 8009775"/>
              <a:gd name="connsiteY104" fmla="*/ 1723074 h 6858001"/>
              <a:gd name="connsiteX105" fmla="*/ 2967755 w 8009775"/>
              <a:gd name="connsiteY105" fmla="*/ 1717358 h 6858001"/>
              <a:gd name="connsiteX106" fmla="*/ 2968937 w 8009775"/>
              <a:gd name="connsiteY106" fmla="*/ 1711643 h 6858001"/>
              <a:gd name="connsiteX107" fmla="*/ 2970710 w 8009775"/>
              <a:gd name="connsiteY107" fmla="*/ 1705929 h 6858001"/>
              <a:gd name="connsiteX108" fmla="*/ 2972484 w 8009775"/>
              <a:gd name="connsiteY108" fmla="*/ 1700214 h 6858001"/>
              <a:gd name="connsiteX109" fmla="*/ 2974552 w 8009775"/>
              <a:gd name="connsiteY109" fmla="*/ 1694816 h 6858001"/>
              <a:gd name="connsiteX110" fmla="*/ 2976917 w 8009775"/>
              <a:gd name="connsiteY110" fmla="*/ 1689101 h 6858001"/>
              <a:gd name="connsiteX111" fmla="*/ 2979873 w 8009775"/>
              <a:gd name="connsiteY111" fmla="*/ 1683703 h 6858001"/>
              <a:gd name="connsiteX112" fmla="*/ 2982533 w 8009775"/>
              <a:gd name="connsiteY112" fmla="*/ 1678305 h 6858001"/>
              <a:gd name="connsiteX113" fmla="*/ 2985784 w 8009775"/>
              <a:gd name="connsiteY113" fmla="*/ 1673226 h 6858001"/>
              <a:gd name="connsiteX114" fmla="*/ 2989331 w 8009775"/>
              <a:gd name="connsiteY114" fmla="*/ 1668145 h 6858001"/>
              <a:gd name="connsiteX115" fmla="*/ 2992878 w 8009775"/>
              <a:gd name="connsiteY115" fmla="*/ 1663066 h 6858001"/>
              <a:gd name="connsiteX116" fmla="*/ 2997311 w 8009775"/>
              <a:gd name="connsiteY116" fmla="*/ 1658621 h 6858001"/>
              <a:gd name="connsiteX117" fmla="*/ 3001744 w 8009775"/>
              <a:gd name="connsiteY117" fmla="*/ 1653859 h 6858001"/>
              <a:gd name="connsiteX118" fmla="*/ 3006178 w 8009775"/>
              <a:gd name="connsiteY118" fmla="*/ 1649414 h 6858001"/>
              <a:gd name="connsiteX119" fmla="*/ 3010907 w 8009775"/>
              <a:gd name="connsiteY119" fmla="*/ 1645603 h 6858001"/>
              <a:gd name="connsiteX120" fmla="*/ 3015932 w 8009775"/>
              <a:gd name="connsiteY120" fmla="*/ 1641794 h 6858001"/>
              <a:gd name="connsiteX121" fmla="*/ 3020956 w 8009775"/>
              <a:gd name="connsiteY121" fmla="*/ 1637984 h 6858001"/>
              <a:gd name="connsiteX122" fmla="*/ 3025981 w 8009775"/>
              <a:gd name="connsiteY122" fmla="*/ 1634809 h 6858001"/>
              <a:gd name="connsiteX123" fmla="*/ 3031596 w 8009775"/>
              <a:gd name="connsiteY123" fmla="*/ 1631950 h 6858001"/>
              <a:gd name="connsiteX124" fmla="*/ 3036916 w 8009775"/>
              <a:gd name="connsiteY124" fmla="*/ 1629094 h 6858001"/>
              <a:gd name="connsiteX125" fmla="*/ 3042532 w 8009775"/>
              <a:gd name="connsiteY125" fmla="*/ 1626871 h 6858001"/>
              <a:gd name="connsiteX126" fmla="*/ 3047852 w 8009775"/>
              <a:gd name="connsiteY126" fmla="*/ 1624649 h 6858001"/>
              <a:gd name="connsiteX127" fmla="*/ 3053764 w 8009775"/>
              <a:gd name="connsiteY127" fmla="*/ 1623061 h 6858001"/>
              <a:gd name="connsiteX128" fmla="*/ 3059379 w 8009775"/>
              <a:gd name="connsiteY128" fmla="*/ 1621155 h 6858001"/>
              <a:gd name="connsiteX129" fmla="*/ 3065291 w 8009775"/>
              <a:gd name="connsiteY129" fmla="*/ 1620204 h 6858001"/>
              <a:gd name="connsiteX130" fmla="*/ 3070906 w 8009775"/>
              <a:gd name="connsiteY130" fmla="*/ 1618934 h 6858001"/>
              <a:gd name="connsiteX131" fmla="*/ 3077113 w 8009775"/>
              <a:gd name="connsiteY131" fmla="*/ 1618299 h 6858001"/>
              <a:gd name="connsiteX132" fmla="*/ 3082729 w 8009775"/>
              <a:gd name="connsiteY132" fmla="*/ 1617981 h 6858001"/>
              <a:gd name="connsiteX133" fmla="*/ 3088936 w 8009775"/>
              <a:gd name="connsiteY133" fmla="*/ 1617981 h 6858001"/>
              <a:gd name="connsiteX134" fmla="*/ 3094552 w 8009775"/>
              <a:gd name="connsiteY134" fmla="*/ 1617981 h 6858001"/>
              <a:gd name="connsiteX135" fmla="*/ 3100758 w 8009775"/>
              <a:gd name="connsiteY135" fmla="*/ 1618299 h 6858001"/>
              <a:gd name="connsiteX136" fmla="*/ 3106670 w 8009775"/>
              <a:gd name="connsiteY136" fmla="*/ 1618934 h 6858001"/>
              <a:gd name="connsiteX137" fmla="*/ 3112285 w 8009775"/>
              <a:gd name="connsiteY137" fmla="*/ 1620204 h 6858001"/>
              <a:gd name="connsiteX138" fmla="*/ 3117901 w 8009775"/>
              <a:gd name="connsiteY138" fmla="*/ 1621155 h 6858001"/>
              <a:gd name="connsiteX139" fmla="*/ 3123812 w 8009775"/>
              <a:gd name="connsiteY139" fmla="*/ 1623061 h 6858001"/>
              <a:gd name="connsiteX140" fmla="*/ 3129428 w 8009775"/>
              <a:gd name="connsiteY140" fmla="*/ 1624649 h 6858001"/>
              <a:gd name="connsiteX141" fmla="*/ 3135339 w 8009775"/>
              <a:gd name="connsiteY141" fmla="*/ 1626871 h 6858001"/>
              <a:gd name="connsiteX142" fmla="*/ 3140660 w 8009775"/>
              <a:gd name="connsiteY142" fmla="*/ 1629094 h 6858001"/>
              <a:gd name="connsiteX143" fmla="*/ 3145980 w 8009775"/>
              <a:gd name="connsiteY143" fmla="*/ 1631950 h 6858001"/>
              <a:gd name="connsiteX144" fmla="*/ 3151300 w 8009775"/>
              <a:gd name="connsiteY144" fmla="*/ 1634809 h 6858001"/>
              <a:gd name="connsiteX145" fmla="*/ 3156324 w 8009775"/>
              <a:gd name="connsiteY145" fmla="*/ 1637984 h 6858001"/>
              <a:gd name="connsiteX146" fmla="*/ 3161349 w 8009775"/>
              <a:gd name="connsiteY146" fmla="*/ 1641794 h 6858001"/>
              <a:gd name="connsiteX147" fmla="*/ 3166374 w 8009775"/>
              <a:gd name="connsiteY147" fmla="*/ 1645603 h 6858001"/>
              <a:gd name="connsiteX148" fmla="*/ 3171102 w 8009775"/>
              <a:gd name="connsiteY148" fmla="*/ 1649414 h 6858001"/>
              <a:gd name="connsiteX149" fmla="*/ 3175832 w 8009775"/>
              <a:gd name="connsiteY149" fmla="*/ 1653859 h 6858001"/>
              <a:gd name="connsiteX150" fmla="*/ 3844692 w 8009775"/>
              <a:gd name="connsiteY150" fmla="*/ 2322830 h 6858001"/>
              <a:gd name="connsiteX151" fmla="*/ 3849421 w 8009775"/>
              <a:gd name="connsiteY151" fmla="*/ 2326958 h 6858001"/>
              <a:gd name="connsiteX152" fmla="*/ 3854150 w 8009775"/>
              <a:gd name="connsiteY152" fmla="*/ 2331085 h 6858001"/>
              <a:gd name="connsiteX153" fmla="*/ 3859175 w 8009775"/>
              <a:gd name="connsiteY153" fmla="*/ 2334895 h 6858001"/>
              <a:gd name="connsiteX154" fmla="*/ 3864199 w 8009775"/>
              <a:gd name="connsiteY154" fmla="*/ 2338705 h 6858001"/>
              <a:gd name="connsiteX155" fmla="*/ 3869224 w 8009775"/>
              <a:gd name="connsiteY155" fmla="*/ 2341880 h 6858001"/>
              <a:gd name="connsiteX156" fmla="*/ 3874544 w 8009775"/>
              <a:gd name="connsiteY156" fmla="*/ 2344738 h 6858001"/>
              <a:gd name="connsiteX157" fmla="*/ 3879864 w 8009775"/>
              <a:gd name="connsiteY157" fmla="*/ 2347595 h 6858001"/>
              <a:gd name="connsiteX158" fmla="*/ 3885775 w 8009775"/>
              <a:gd name="connsiteY158" fmla="*/ 2349818 h 6858001"/>
              <a:gd name="connsiteX159" fmla="*/ 3891096 w 8009775"/>
              <a:gd name="connsiteY159" fmla="*/ 2351723 h 6858001"/>
              <a:gd name="connsiteX160" fmla="*/ 3896711 w 8009775"/>
              <a:gd name="connsiteY160" fmla="*/ 2353628 h 6858001"/>
              <a:gd name="connsiteX161" fmla="*/ 3902623 w 8009775"/>
              <a:gd name="connsiteY161" fmla="*/ 2355534 h 6858001"/>
              <a:gd name="connsiteX162" fmla="*/ 3908238 w 8009775"/>
              <a:gd name="connsiteY162" fmla="*/ 2356485 h 6858001"/>
              <a:gd name="connsiteX163" fmla="*/ 3914150 w 8009775"/>
              <a:gd name="connsiteY163" fmla="*/ 2357755 h 6858001"/>
              <a:gd name="connsiteX164" fmla="*/ 3920061 w 8009775"/>
              <a:gd name="connsiteY164" fmla="*/ 2358391 h 6858001"/>
              <a:gd name="connsiteX165" fmla="*/ 3925972 w 8009775"/>
              <a:gd name="connsiteY165" fmla="*/ 2358708 h 6858001"/>
              <a:gd name="connsiteX166" fmla="*/ 3931883 w 8009775"/>
              <a:gd name="connsiteY166" fmla="*/ 2358708 h 6858001"/>
              <a:gd name="connsiteX167" fmla="*/ 3937795 w 8009775"/>
              <a:gd name="connsiteY167" fmla="*/ 2358708 h 6858001"/>
              <a:gd name="connsiteX168" fmla="*/ 3943706 w 8009775"/>
              <a:gd name="connsiteY168" fmla="*/ 2358391 h 6858001"/>
              <a:gd name="connsiteX169" fmla="*/ 3949617 w 8009775"/>
              <a:gd name="connsiteY169" fmla="*/ 2357755 h 6858001"/>
              <a:gd name="connsiteX170" fmla="*/ 3955233 w 8009775"/>
              <a:gd name="connsiteY170" fmla="*/ 2356485 h 6858001"/>
              <a:gd name="connsiteX171" fmla="*/ 3961144 w 8009775"/>
              <a:gd name="connsiteY171" fmla="*/ 2355534 h 6858001"/>
              <a:gd name="connsiteX172" fmla="*/ 3966760 w 8009775"/>
              <a:gd name="connsiteY172" fmla="*/ 2353628 h 6858001"/>
              <a:gd name="connsiteX173" fmla="*/ 3972671 w 8009775"/>
              <a:gd name="connsiteY173" fmla="*/ 2351723 h 6858001"/>
              <a:gd name="connsiteX174" fmla="*/ 3978287 w 8009775"/>
              <a:gd name="connsiteY174" fmla="*/ 2349818 h 6858001"/>
              <a:gd name="connsiteX175" fmla="*/ 3983607 w 8009775"/>
              <a:gd name="connsiteY175" fmla="*/ 2347595 h 6858001"/>
              <a:gd name="connsiteX176" fmla="*/ 3989223 w 8009775"/>
              <a:gd name="connsiteY176" fmla="*/ 2344738 h 6858001"/>
              <a:gd name="connsiteX177" fmla="*/ 3994543 w 8009775"/>
              <a:gd name="connsiteY177" fmla="*/ 2341880 h 6858001"/>
              <a:gd name="connsiteX178" fmla="*/ 3999567 w 8009775"/>
              <a:gd name="connsiteY178" fmla="*/ 2338705 h 6858001"/>
              <a:gd name="connsiteX179" fmla="*/ 4004888 w 8009775"/>
              <a:gd name="connsiteY179" fmla="*/ 2334895 h 6858001"/>
              <a:gd name="connsiteX180" fmla="*/ 4009617 w 8009775"/>
              <a:gd name="connsiteY180" fmla="*/ 2331085 h 6858001"/>
              <a:gd name="connsiteX181" fmla="*/ 4014346 w 8009775"/>
              <a:gd name="connsiteY181" fmla="*/ 2326958 h 6858001"/>
              <a:gd name="connsiteX182" fmla="*/ 4018779 w 8009775"/>
              <a:gd name="connsiteY182" fmla="*/ 2322830 h 6858001"/>
              <a:gd name="connsiteX183" fmla="*/ 4023213 w 8009775"/>
              <a:gd name="connsiteY183" fmla="*/ 2318068 h 6858001"/>
              <a:gd name="connsiteX184" fmla="*/ 4027646 w 8009775"/>
              <a:gd name="connsiteY184" fmla="*/ 2313306 h 6858001"/>
              <a:gd name="connsiteX185" fmla="*/ 4031193 w 8009775"/>
              <a:gd name="connsiteY185" fmla="*/ 2308544 h 6858001"/>
              <a:gd name="connsiteX186" fmla="*/ 4034740 w 8009775"/>
              <a:gd name="connsiteY186" fmla="*/ 2303463 h 6858001"/>
              <a:gd name="connsiteX187" fmla="*/ 4037991 w 8009775"/>
              <a:gd name="connsiteY187" fmla="*/ 2298384 h 6858001"/>
              <a:gd name="connsiteX188" fmla="*/ 4040946 w 8009775"/>
              <a:gd name="connsiteY188" fmla="*/ 2292985 h 6858001"/>
              <a:gd name="connsiteX189" fmla="*/ 4043606 w 8009775"/>
              <a:gd name="connsiteY189" fmla="*/ 2287588 h 6858001"/>
              <a:gd name="connsiteX190" fmla="*/ 4046267 w 8009775"/>
              <a:gd name="connsiteY190" fmla="*/ 2281873 h 6858001"/>
              <a:gd name="connsiteX191" fmla="*/ 4048040 w 8009775"/>
              <a:gd name="connsiteY191" fmla="*/ 2276476 h 6858001"/>
              <a:gd name="connsiteX192" fmla="*/ 4050109 w 8009775"/>
              <a:gd name="connsiteY192" fmla="*/ 2270761 h 6858001"/>
              <a:gd name="connsiteX193" fmla="*/ 4051587 w 8009775"/>
              <a:gd name="connsiteY193" fmla="*/ 2265046 h 6858001"/>
              <a:gd name="connsiteX194" fmla="*/ 4052769 w 8009775"/>
              <a:gd name="connsiteY194" fmla="*/ 2259331 h 6858001"/>
              <a:gd name="connsiteX195" fmla="*/ 4053656 w 8009775"/>
              <a:gd name="connsiteY195" fmla="*/ 2253298 h 6858001"/>
              <a:gd name="connsiteX196" fmla="*/ 4054542 w 8009775"/>
              <a:gd name="connsiteY196" fmla="*/ 2247266 h 6858001"/>
              <a:gd name="connsiteX197" fmla="*/ 4054838 w 8009775"/>
              <a:gd name="connsiteY197" fmla="*/ 2241551 h 6858001"/>
              <a:gd name="connsiteX198" fmla="*/ 4055133 w 8009775"/>
              <a:gd name="connsiteY198" fmla="*/ 2235519 h 6858001"/>
              <a:gd name="connsiteX199" fmla="*/ 4054838 w 8009775"/>
              <a:gd name="connsiteY199" fmla="*/ 2229804 h 6858001"/>
              <a:gd name="connsiteX200" fmla="*/ 4054542 w 8009775"/>
              <a:gd name="connsiteY200" fmla="*/ 2223770 h 6858001"/>
              <a:gd name="connsiteX201" fmla="*/ 4053656 w 8009775"/>
              <a:gd name="connsiteY201" fmla="*/ 2217739 h 6858001"/>
              <a:gd name="connsiteX202" fmla="*/ 4052769 w 8009775"/>
              <a:gd name="connsiteY202" fmla="*/ 2212024 h 6858001"/>
              <a:gd name="connsiteX203" fmla="*/ 4051587 w 8009775"/>
              <a:gd name="connsiteY203" fmla="*/ 2206309 h 6858001"/>
              <a:gd name="connsiteX204" fmla="*/ 4050109 w 8009775"/>
              <a:gd name="connsiteY204" fmla="*/ 2200593 h 6858001"/>
              <a:gd name="connsiteX205" fmla="*/ 4048040 w 8009775"/>
              <a:gd name="connsiteY205" fmla="*/ 2194878 h 6858001"/>
              <a:gd name="connsiteX206" fmla="*/ 4046267 w 8009775"/>
              <a:gd name="connsiteY206" fmla="*/ 2189163 h 6858001"/>
              <a:gd name="connsiteX207" fmla="*/ 4043606 w 8009775"/>
              <a:gd name="connsiteY207" fmla="*/ 2183765 h 6858001"/>
              <a:gd name="connsiteX208" fmla="*/ 4040946 w 8009775"/>
              <a:gd name="connsiteY208" fmla="*/ 2178368 h 6858001"/>
              <a:gd name="connsiteX209" fmla="*/ 4037991 w 8009775"/>
              <a:gd name="connsiteY209" fmla="*/ 2172970 h 6858001"/>
              <a:gd name="connsiteX210" fmla="*/ 4034740 w 8009775"/>
              <a:gd name="connsiteY210" fmla="*/ 2167890 h 6858001"/>
              <a:gd name="connsiteX211" fmla="*/ 4031193 w 8009775"/>
              <a:gd name="connsiteY211" fmla="*/ 2162494 h 6858001"/>
              <a:gd name="connsiteX212" fmla="*/ 4027646 w 8009775"/>
              <a:gd name="connsiteY212" fmla="*/ 2157730 h 6858001"/>
              <a:gd name="connsiteX213" fmla="*/ 4023213 w 8009775"/>
              <a:gd name="connsiteY213" fmla="*/ 2153285 h 6858001"/>
              <a:gd name="connsiteX214" fmla="*/ 4018779 w 8009775"/>
              <a:gd name="connsiteY214" fmla="*/ 2148523 h 6858001"/>
              <a:gd name="connsiteX215" fmla="*/ 3632182 w 8009775"/>
              <a:gd name="connsiteY215" fmla="*/ 1761490 h 6858001"/>
              <a:gd name="connsiteX216" fmla="*/ 3435928 w 8009775"/>
              <a:gd name="connsiteY216" fmla="*/ 1565276 h 6858001"/>
              <a:gd name="connsiteX217" fmla="*/ 3431198 w 8009775"/>
              <a:gd name="connsiteY217" fmla="*/ 1560514 h 6858001"/>
              <a:gd name="connsiteX218" fmla="*/ 3427356 w 8009775"/>
              <a:gd name="connsiteY218" fmla="*/ 1555751 h 6858001"/>
              <a:gd name="connsiteX219" fmla="*/ 3423218 w 8009775"/>
              <a:gd name="connsiteY219" fmla="*/ 1550671 h 6858001"/>
              <a:gd name="connsiteX220" fmla="*/ 3420262 w 8009775"/>
              <a:gd name="connsiteY220" fmla="*/ 1545909 h 6858001"/>
              <a:gd name="connsiteX221" fmla="*/ 3417012 w 8009775"/>
              <a:gd name="connsiteY221" fmla="*/ 1540829 h 6858001"/>
              <a:gd name="connsiteX222" fmla="*/ 3413760 w 8009775"/>
              <a:gd name="connsiteY222" fmla="*/ 1535430 h 6858001"/>
              <a:gd name="connsiteX223" fmla="*/ 3411100 w 8009775"/>
              <a:gd name="connsiteY223" fmla="*/ 1530034 h 6858001"/>
              <a:gd name="connsiteX224" fmla="*/ 3408736 w 8009775"/>
              <a:gd name="connsiteY224" fmla="*/ 1524635 h 6858001"/>
              <a:gd name="connsiteX225" fmla="*/ 3406371 w 8009775"/>
              <a:gd name="connsiteY225" fmla="*/ 1518920 h 6858001"/>
              <a:gd name="connsiteX226" fmla="*/ 3404598 w 8009775"/>
              <a:gd name="connsiteY226" fmla="*/ 1513205 h 6858001"/>
              <a:gd name="connsiteX227" fmla="*/ 3403120 w 8009775"/>
              <a:gd name="connsiteY227" fmla="*/ 1507174 h 6858001"/>
              <a:gd name="connsiteX228" fmla="*/ 3401938 w 8009775"/>
              <a:gd name="connsiteY228" fmla="*/ 1501459 h 6858001"/>
              <a:gd name="connsiteX229" fmla="*/ 3401051 w 8009775"/>
              <a:gd name="connsiteY229" fmla="*/ 1495744 h 6858001"/>
              <a:gd name="connsiteX230" fmla="*/ 3400460 w 8009775"/>
              <a:gd name="connsiteY230" fmla="*/ 1489710 h 6858001"/>
              <a:gd name="connsiteX231" fmla="*/ 3399869 w 8009775"/>
              <a:gd name="connsiteY231" fmla="*/ 1483995 h 6858001"/>
              <a:gd name="connsiteX232" fmla="*/ 3399573 w 8009775"/>
              <a:gd name="connsiteY232" fmla="*/ 1478281 h 6858001"/>
              <a:gd name="connsiteX233" fmla="*/ 3399869 w 8009775"/>
              <a:gd name="connsiteY233" fmla="*/ 1472249 h 6858001"/>
              <a:gd name="connsiteX234" fmla="*/ 3400460 w 8009775"/>
              <a:gd name="connsiteY234" fmla="*/ 1466215 h 6858001"/>
              <a:gd name="connsiteX235" fmla="*/ 3401051 w 8009775"/>
              <a:gd name="connsiteY235" fmla="*/ 1460183 h 6858001"/>
              <a:gd name="connsiteX236" fmla="*/ 3401938 w 8009775"/>
              <a:gd name="connsiteY236" fmla="*/ 1454468 h 6858001"/>
              <a:gd name="connsiteX237" fmla="*/ 3403120 w 8009775"/>
              <a:gd name="connsiteY237" fmla="*/ 1448754 h 6858001"/>
              <a:gd name="connsiteX238" fmla="*/ 3404598 w 8009775"/>
              <a:gd name="connsiteY238" fmla="*/ 1443039 h 6858001"/>
              <a:gd name="connsiteX239" fmla="*/ 3406371 w 8009775"/>
              <a:gd name="connsiteY239" fmla="*/ 1437324 h 6858001"/>
              <a:gd name="connsiteX240" fmla="*/ 3408736 w 8009775"/>
              <a:gd name="connsiteY240" fmla="*/ 1431609 h 6858001"/>
              <a:gd name="connsiteX241" fmla="*/ 3411100 w 8009775"/>
              <a:gd name="connsiteY241" fmla="*/ 1426211 h 6858001"/>
              <a:gd name="connsiteX242" fmla="*/ 3413760 w 8009775"/>
              <a:gd name="connsiteY242" fmla="*/ 1420814 h 6858001"/>
              <a:gd name="connsiteX243" fmla="*/ 3417012 w 8009775"/>
              <a:gd name="connsiteY243" fmla="*/ 1415416 h 6858001"/>
              <a:gd name="connsiteX244" fmla="*/ 3420262 w 8009775"/>
              <a:gd name="connsiteY244" fmla="*/ 1410336 h 6858001"/>
              <a:gd name="connsiteX245" fmla="*/ 3423218 w 8009775"/>
              <a:gd name="connsiteY245" fmla="*/ 1405256 h 6858001"/>
              <a:gd name="connsiteX246" fmla="*/ 3427356 w 8009775"/>
              <a:gd name="connsiteY246" fmla="*/ 1400175 h 6858001"/>
              <a:gd name="connsiteX247" fmla="*/ 3431198 w 8009775"/>
              <a:gd name="connsiteY247" fmla="*/ 1395731 h 6858001"/>
              <a:gd name="connsiteX248" fmla="*/ 3435928 w 8009775"/>
              <a:gd name="connsiteY248" fmla="*/ 1390969 h 6858001"/>
              <a:gd name="connsiteX249" fmla="*/ 3440361 w 8009775"/>
              <a:gd name="connsiteY249" fmla="*/ 1386524 h 6858001"/>
              <a:gd name="connsiteX250" fmla="*/ 3445386 w 8009775"/>
              <a:gd name="connsiteY250" fmla="*/ 1382396 h 6858001"/>
              <a:gd name="connsiteX251" fmla="*/ 3449819 w 8009775"/>
              <a:gd name="connsiteY251" fmla="*/ 1378585 h 6858001"/>
              <a:gd name="connsiteX252" fmla="*/ 3454844 w 8009775"/>
              <a:gd name="connsiteY252" fmla="*/ 1375094 h 6858001"/>
              <a:gd name="connsiteX253" fmla="*/ 3460459 w 8009775"/>
              <a:gd name="connsiteY253" fmla="*/ 1371919 h 6858001"/>
              <a:gd name="connsiteX254" fmla="*/ 3465780 w 8009775"/>
              <a:gd name="connsiteY254" fmla="*/ 1369061 h 6858001"/>
              <a:gd name="connsiteX255" fmla="*/ 3471100 w 8009775"/>
              <a:gd name="connsiteY255" fmla="*/ 1366204 h 6858001"/>
              <a:gd name="connsiteX256" fmla="*/ 3476420 w 8009775"/>
              <a:gd name="connsiteY256" fmla="*/ 1363980 h 6858001"/>
              <a:gd name="connsiteX257" fmla="*/ 3482331 w 8009775"/>
              <a:gd name="connsiteY257" fmla="*/ 1361759 h 6858001"/>
              <a:gd name="connsiteX258" fmla="*/ 3487947 w 8009775"/>
              <a:gd name="connsiteY258" fmla="*/ 1360170 h 6858001"/>
              <a:gd name="connsiteX259" fmla="*/ 3493858 w 8009775"/>
              <a:gd name="connsiteY259" fmla="*/ 1358265 h 6858001"/>
              <a:gd name="connsiteX260" fmla="*/ 3499474 w 8009775"/>
              <a:gd name="connsiteY260" fmla="*/ 1357314 h 6858001"/>
              <a:gd name="connsiteX261" fmla="*/ 3505385 w 8009775"/>
              <a:gd name="connsiteY261" fmla="*/ 1356043 h 6858001"/>
              <a:gd name="connsiteX262" fmla="*/ 3511001 w 8009775"/>
              <a:gd name="connsiteY262" fmla="*/ 1355409 h 6858001"/>
              <a:gd name="connsiteX263" fmla="*/ 3517208 w 8009775"/>
              <a:gd name="connsiteY263" fmla="*/ 1355090 h 6858001"/>
              <a:gd name="connsiteX264" fmla="*/ 3522823 w 8009775"/>
              <a:gd name="connsiteY264" fmla="*/ 1354773 h 6858001"/>
              <a:gd name="connsiteX265" fmla="*/ 3529030 w 8009775"/>
              <a:gd name="connsiteY265" fmla="*/ 1355090 h 6858001"/>
              <a:gd name="connsiteX266" fmla="*/ 3534646 w 8009775"/>
              <a:gd name="connsiteY266" fmla="*/ 1355409 h 6858001"/>
              <a:gd name="connsiteX267" fmla="*/ 3540557 w 8009775"/>
              <a:gd name="connsiteY267" fmla="*/ 1356043 h 6858001"/>
              <a:gd name="connsiteX268" fmla="*/ 3546468 w 8009775"/>
              <a:gd name="connsiteY268" fmla="*/ 1357314 h 6858001"/>
              <a:gd name="connsiteX269" fmla="*/ 3552380 w 8009775"/>
              <a:gd name="connsiteY269" fmla="*/ 1358265 h 6858001"/>
              <a:gd name="connsiteX270" fmla="*/ 3557995 w 8009775"/>
              <a:gd name="connsiteY270" fmla="*/ 1360170 h 6858001"/>
              <a:gd name="connsiteX271" fmla="*/ 3563906 w 8009775"/>
              <a:gd name="connsiteY271" fmla="*/ 1361759 h 6858001"/>
              <a:gd name="connsiteX272" fmla="*/ 3569227 w 8009775"/>
              <a:gd name="connsiteY272" fmla="*/ 1363980 h 6858001"/>
              <a:gd name="connsiteX273" fmla="*/ 3574842 w 8009775"/>
              <a:gd name="connsiteY273" fmla="*/ 1366204 h 6858001"/>
              <a:gd name="connsiteX274" fmla="*/ 3580458 w 8009775"/>
              <a:gd name="connsiteY274" fmla="*/ 1369061 h 6858001"/>
              <a:gd name="connsiteX275" fmla="*/ 3585778 w 8009775"/>
              <a:gd name="connsiteY275" fmla="*/ 1371919 h 6858001"/>
              <a:gd name="connsiteX276" fmla="*/ 3590803 w 8009775"/>
              <a:gd name="connsiteY276" fmla="*/ 1375094 h 6858001"/>
              <a:gd name="connsiteX277" fmla="*/ 3595828 w 8009775"/>
              <a:gd name="connsiteY277" fmla="*/ 1378585 h 6858001"/>
              <a:gd name="connsiteX278" fmla="*/ 3600852 w 8009775"/>
              <a:gd name="connsiteY278" fmla="*/ 1382396 h 6858001"/>
              <a:gd name="connsiteX279" fmla="*/ 3605581 w 8009775"/>
              <a:gd name="connsiteY279" fmla="*/ 1386524 h 6858001"/>
              <a:gd name="connsiteX280" fmla="*/ 3610014 w 8009775"/>
              <a:gd name="connsiteY280" fmla="*/ 1390969 h 6858001"/>
              <a:gd name="connsiteX281" fmla="*/ 3817500 w 8009775"/>
              <a:gd name="connsiteY281" fmla="*/ 1598296 h 6858001"/>
              <a:gd name="connsiteX282" fmla="*/ 3821934 w 8009775"/>
              <a:gd name="connsiteY282" fmla="*/ 1602423 h 6858001"/>
              <a:gd name="connsiteX283" fmla="*/ 3826663 w 8009775"/>
              <a:gd name="connsiteY283" fmla="*/ 1606869 h 6858001"/>
              <a:gd name="connsiteX284" fmla="*/ 3831687 w 8009775"/>
              <a:gd name="connsiteY284" fmla="*/ 1610361 h 6858001"/>
              <a:gd name="connsiteX285" fmla="*/ 3836712 w 8009775"/>
              <a:gd name="connsiteY285" fmla="*/ 1613854 h 6858001"/>
              <a:gd name="connsiteX286" fmla="*/ 3841736 w 8009775"/>
              <a:gd name="connsiteY286" fmla="*/ 1617345 h 6858001"/>
              <a:gd name="connsiteX287" fmla="*/ 3847352 w 8009775"/>
              <a:gd name="connsiteY287" fmla="*/ 1620204 h 6858001"/>
              <a:gd name="connsiteX288" fmla="*/ 3852672 w 8009775"/>
              <a:gd name="connsiteY288" fmla="*/ 1623061 h 6858001"/>
              <a:gd name="connsiteX289" fmla="*/ 3857992 w 8009775"/>
              <a:gd name="connsiteY289" fmla="*/ 1625283 h 6858001"/>
              <a:gd name="connsiteX290" fmla="*/ 3863608 w 8009775"/>
              <a:gd name="connsiteY290" fmla="*/ 1627189 h 6858001"/>
              <a:gd name="connsiteX291" fmla="*/ 3869519 w 8009775"/>
              <a:gd name="connsiteY291" fmla="*/ 1629094 h 6858001"/>
              <a:gd name="connsiteX292" fmla="*/ 3875135 w 8009775"/>
              <a:gd name="connsiteY292" fmla="*/ 1630998 h 6858001"/>
              <a:gd name="connsiteX293" fmla="*/ 3881046 w 8009775"/>
              <a:gd name="connsiteY293" fmla="*/ 1631950 h 6858001"/>
              <a:gd name="connsiteX294" fmla="*/ 3886662 w 8009775"/>
              <a:gd name="connsiteY294" fmla="*/ 1632904 h 6858001"/>
              <a:gd name="connsiteX295" fmla="*/ 3892869 w 8009775"/>
              <a:gd name="connsiteY295" fmla="*/ 1633856 h 6858001"/>
              <a:gd name="connsiteX296" fmla="*/ 3898485 w 8009775"/>
              <a:gd name="connsiteY296" fmla="*/ 1634174 h 6858001"/>
              <a:gd name="connsiteX297" fmla="*/ 3904396 w 8009775"/>
              <a:gd name="connsiteY297" fmla="*/ 1634174 h 6858001"/>
              <a:gd name="connsiteX298" fmla="*/ 3910307 w 8009775"/>
              <a:gd name="connsiteY298" fmla="*/ 1634174 h 6858001"/>
              <a:gd name="connsiteX299" fmla="*/ 3916219 w 8009775"/>
              <a:gd name="connsiteY299" fmla="*/ 1633856 h 6858001"/>
              <a:gd name="connsiteX300" fmla="*/ 3922425 w 8009775"/>
              <a:gd name="connsiteY300" fmla="*/ 1632904 h 6858001"/>
              <a:gd name="connsiteX301" fmla="*/ 3928041 w 8009775"/>
              <a:gd name="connsiteY301" fmla="*/ 1631950 h 6858001"/>
              <a:gd name="connsiteX302" fmla="*/ 3933657 w 8009775"/>
              <a:gd name="connsiteY302" fmla="*/ 1630998 h 6858001"/>
              <a:gd name="connsiteX303" fmla="*/ 3939568 w 8009775"/>
              <a:gd name="connsiteY303" fmla="*/ 1629094 h 6858001"/>
              <a:gd name="connsiteX304" fmla="*/ 3945184 w 8009775"/>
              <a:gd name="connsiteY304" fmla="*/ 1627189 h 6858001"/>
              <a:gd name="connsiteX305" fmla="*/ 3950799 w 8009775"/>
              <a:gd name="connsiteY305" fmla="*/ 1625283 h 6858001"/>
              <a:gd name="connsiteX306" fmla="*/ 3956415 w 8009775"/>
              <a:gd name="connsiteY306" fmla="*/ 1623061 h 6858001"/>
              <a:gd name="connsiteX307" fmla="*/ 3961735 w 8009775"/>
              <a:gd name="connsiteY307" fmla="*/ 1620204 h 6858001"/>
              <a:gd name="connsiteX308" fmla="*/ 3967055 w 8009775"/>
              <a:gd name="connsiteY308" fmla="*/ 1617345 h 6858001"/>
              <a:gd name="connsiteX309" fmla="*/ 3972376 w 8009775"/>
              <a:gd name="connsiteY309" fmla="*/ 1613854 h 6858001"/>
              <a:gd name="connsiteX310" fmla="*/ 3977400 w 8009775"/>
              <a:gd name="connsiteY310" fmla="*/ 1610361 h 6858001"/>
              <a:gd name="connsiteX311" fmla="*/ 3982425 w 8009775"/>
              <a:gd name="connsiteY311" fmla="*/ 1606869 h 6858001"/>
              <a:gd name="connsiteX312" fmla="*/ 3986858 w 8009775"/>
              <a:gd name="connsiteY312" fmla="*/ 1602423 h 6858001"/>
              <a:gd name="connsiteX313" fmla="*/ 3991587 w 8009775"/>
              <a:gd name="connsiteY313" fmla="*/ 1598296 h 6858001"/>
              <a:gd name="connsiteX314" fmla="*/ 3996021 w 8009775"/>
              <a:gd name="connsiteY314" fmla="*/ 1593533 h 6858001"/>
              <a:gd name="connsiteX315" fmla="*/ 4000159 w 8009775"/>
              <a:gd name="connsiteY315" fmla="*/ 1588771 h 6858001"/>
              <a:gd name="connsiteX316" fmla="*/ 4003705 w 8009775"/>
              <a:gd name="connsiteY316" fmla="*/ 1583691 h 6858001"/>
              <a:gd name="connsiteX317" fmla="*/ 4007548 w 8009775"/>
              <a:gd name="connsiteY317" fmla="*/ 1578928 h 6858001"/>
              <a:gd name="connsiteX318" fmla="*/ 4010799 w 8009775"/>
              <a:gd name="connsiteY318" fmla="*/ 1573849 h 6858001"/>
              <a:gd name="connsiteX319" fmla="*/ 4013459 w 8009775"/>
              <a:gd name="connsiteY319" fmla="*/ 1568451 h 6858001"/>
              <a:gd name="connsiteX320" fmla="*/ 4016415 w 8009775"/>
              <a:gd name="connsiteY320" fmla="*/ 1563054 h 6858001"/>
              <a:gd name="connsiteX321" fmla="*/ 4018484 w 8009775"/>
              <a:gd name="connsiteY321" fmla="*/ 1557339 h 6858001"/>
              <a:gd name="connsiteX322" fmla="*/ 4020848 w 8009775"/>
              <a:gd name="connsiteY322" fmla="*/ 1551941 h 6858001"/>
              <a:gd name="connsiteX323" fmla="*/ 4022621 w 8009775"/>
              <a:gd name="connsiteY323" fmla="*/ 1546226 h 6858001"/>
              <a:gd name="connsiteX324" fmla="*/ 4024395 w 8009775"/>
              <a:gd name="connsiteY324" fmla="*/ 1540511 h 6858001"/>
              <a:gd name="connsiteX325" fmla="*/ 4025282 w 8009775"/>
              <a:gd name="connsiteY325" fmla="*/ 1534478 h 6858001"/>
              <a:gd name="connsiteX326" fmla="*/ 4026464 w 8009775"/>
              <a:gd name="connsiteY326" fmla="*/ 1528763 h 6858001"/>
              <a:gd name="connsiteX327" fmla="*/ 4027055 w 8009775"/>
              <a:gd name="connsiteY327" fmla="*/ 1522731 h 6858001"/>
              <a:gd name="connsiteX328" fmla="*/ 4027646 w 8009775"/>
              <a:gd name="connsiteY328" fmla="*/ 1517016 h 6858001"/>
              <a:gd name="connsiteX329" fmla="*/ 4027646 w 8009775"/>
              <a:gd name="connsiteY329" fmla="*/ 1510984 h 6858001"/>
              <a:gd name="connsiteX330" fmla="*/ 4027646 w 8009775"/>
              <a:gd name="connsiteY330" fmla="*/ 1505268 h 6858001"/>
              <a:gd name="connsiteX331" fmla="*/ 4027055 w 8009775"/>
              <a:gd name="connsiteY331" fmla="*/ 1499553 h 6858001"/>
              <a:gd name="connsiteX332" fmla="*/ 4026464 w 8009775"/>
              <a:gd name="connsiteY332" fmla="*/ 1493204 h 6858001"/>
              <a:gd name="connsiteX333" fmla="*/ 4025282 w 8009775"/>
              <a:gd name="connsiteY333" fmla="*/ 1487489 h 6858001"/>
              <a:gd name="connsiteX334" fmla="*/ 4024395 w 8009775"/>
              <a:gd name="connsiteY334" fmla="*/ 1481773 h 6858001"/>
              <a:gd name="connsiteX335" fmla="*/ 4022621 w 8009775"/>
              <a:gd name="connsiteY335" fmla="*/ 1476058 h 6858001"/>
              <a:gd name="connsiteX336" fmla="*/ 4020848 w 8009775"/>
              <a:gd name="connsiteY336" fmla="*/ 1470343 h 6858001"/>
              <a:gd name="connsiteX337" fmla="*/ 4018484 w 8009775"/>
              <a:gd name="connsiteY337" fmla="*/ 1464629 h 6858001"/>
              <a:gd name="connsiteX338" fmla="*/ 4016415 w 8009775"/>
              <a:gd name="connsiteY338" fmla="*/ 1459231 h 6858001"/>
              <a:gd name="connsiteX339" fmla="*/ 4013459 w 8009775"/>
              <a:gd name="connsiteY339" fmla="*/ 1453834 h 6858001"/>
              <a:gd name="connsiteX340" fmla="*/ 4010799 w 8009775"/>
              <a:gd name="connsiteY340" fmla="*/ 1448436 h 6858001"/>
              <a:gd name="connsiteX341" fmla="*/ 4007548 w 8009775"/>
              <a:gd name="connsiteY341" fmla="*/ 1443356 h 6858001"/>
              <a:gd name="connsiteX342" fmla="*/ 4003705 w 8009775"/>
              <a:gd name="connsiteY342" fmla="*/ 1438275 h 6858001"/>
              <a:gd name="connsiteX343" fmla="*/ 4000159 w 8009775"/>
              <a:gd name="connsiteY343" fmla="*/ 1433195 h 6858001"/>
              <a:gd name="connsiteX344" fmla="*/ 3996021 w 8009775"/>
              <a:gd name="connsiteY344" fmla="*/ 1428751 h 6858001"/>
              <a:gd name="connsiteX345" fmla="*/ 3991587 w 8009775"/>
              <a:gd name="connsiteY345" fmla="*/ 1423988 h 6858001"/>
              <a:gd name="connsiteX346" fmla="*/ 3323022 w 8009775"/>
              <a:gd name="connsiteY346" fmla="*/ 755333 h 6858001"/>
              <a:gd name="connsiteX347" fmla="*/ 3316815 w 8009775"/>
              <a:gd name="connsiteY347" fmla="*/ 748348 h 6858001"/>
              <a:gd name="connsiteX348" fmla="*/ 3310904 w 8009775"/>
              <a:gd name="connsiteY348" fmla="*/ 741045 h 6858001"/>
              <a:gd name="connsiteX349" fmla="*/ 3305584 w 8009775"/>
              <a:gd name="connsiteY349" fmla="*/ 733108 h 6858001"/>
              <a:gd name="connsiteX350" fmla="*/ 3300855 w 8009775"/>
              <a:gd name="connsiteY350" fmla="*/ 725170 h 6858001"/>
              <a:gd name="connsiteX351" fmla="*/ 3297308 w 8009775"/>
              <a:gd name="connsiteY351" fmla="*/ 716915 h 6858001"/>
              <a:gd name="connsiteX352" fmla="*/ 3293761 w 8009775"/>
              <a:gd name="connsiteY352" fmla="*/ 708660 h 6858001"/>
              <a:gd name="connsiteX353" fmla="*/ 3291101 w 8009775"/>
              <a:gd name="connsiteY353" fmla="*/ 699770 h 6858001"/>
              <a:gd name="connsiteX354" fmla="*/ 3289328 w 8009775"/>
              <a:gd name="connsiteY354" fmla="*/ 691198 h 6858001"/>
              <a:gd name="connsiteX355" fmla="*/ 2596527 w 8009775"/>
              <a:gd name="connsiteY355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004395 w 8009775"/>
              <a:gd name="connsiteY73" fmla="*/ 6858000 h 6858001"/>
              <a:gd name="connsiteX74" fmla="*/ 7364776 w 8009775"/>
              <a:gd name="connsiteY74" fmla="*/ 6858001 h 6858001"/>
              <a:gd name="connsiteX75" fmla="*/ 7460026 w 8009775"/>
              <a:gd name="connsiteY75" fmla="*/ 6858001 h 6858001"/>
              <a:gd name="connsiteX76" fmla="*/ 7507651 w 8009775"/>
              <a:gd name="connsiteY76" fmla="*/ 6858001 h 6858001"/>
              <a:gd name="connsiteX77" fmla="*/ 7507650 w 8009775"/>
              <a:gd name="connsiteY77" fmla="*/ 6858000 h 6858001"/>
              <a:gd name="connsiteX78" fmla="*/ 8009775 w 8009775"/>
              <a:gd name="connsiteY78" fmla="*/ 6858000 h 6858001"/>
              <a:gd name="connsiteX79" fmla="*/ 3996316 w 8009775"/>
              <a:gd name="connsiteY79" fmla="*/ 2818448 h 6858001"/>
              <a:gd name="connsiteX80" fmla="*/ 3980947 w 8009775"/>
              <a:gd name="connsiteY80" fmla="*/ 2804795 h 6858001"/>
              <a:gd name="connsiteX81" fmla="*/ 3965282 w 8009775"/>
              <a:gd name="connsiteY81" fmla="*/ 2791144 h 6858001"/>
              <a:gd name="connsiteX82" fmla="*/ 3950799 w 8009775"/>
              <a:gd name="connsiteY82" fmla="*/ 2776856 h 6858001"/>
              <a:gd name="connsiteX83" fmla="*/ 3936021 w 8009775"/>
              <a:gd name="connsiteY83" fmla="*/ 2762568 h 6858001"/>
              <a:gd name="connsiteX84" fmla="*/ 3001744 w 8009775"/>
              <a:gd name="connsiteY84" fmla="*/ 1828166 h 6858001"/>
              <a:gd name="connsiteX85" fmla="*/ 2997311 w 8009775"/>
              <a:gd name="connsiteY85" fmla="*/ 1823404 h 6858001"/>
              <a:gd name="connsiteX86" fmla="*/ 2992878 w 8009775"/>
              <a:gd name="connsiteY86" fmla="*/ 1818640 h 6858001"/>
              <a:gd name="connsiteX87" fmla="*/ 2989331 w 8009775"/>
              <a:gd name="connsiteY87" fmla="*/ 1814195 h 6858001"/>
              <a:gd name="connsiteX88" fmla="*/ 2985784 w 8009775"/>
              <a:gd name="connsiteY88" fmla="*/ 1808799 h 6858001"/>
              <a:gd name="connsiteX89" fmla="*/ 2982533 w 8009775"/>
              <a:gd name="connsiteY89" fmla="*/ 1803718 h 6858001"/>
              <a:gd name="connsiteX90" fmla="*/ 2979873 w 8009775"/>
              <a:gd name="connsiteY90" fmla="*/ 1798321 h 6858001"/>
              <a:gd name="connsiteX91" fmla="*/ 2976917 w 8009775"/>
              <a:gd name="connsiteY91" fmla="*/ 1792924 h 6858001"/>
              <a:gd name="connsiteX92" fmla="*/ 2974552 w 8009775"/>
              <a:gd name="connsiteY92" fmla="*/ 1787526 h 6858001"/>
              <a:gd name="connsiteX93" fmla="*/ 2972484 w 8009775"/>
              <a:gd name="connsiteY93" fmla="*/ 1781811 h 6858001"/>
              <a:gd name="connsiteX94" fmla="*/ 2970710 w 8009775"/>
              <a:gd name="connsiteY94" fmla="*/ 1776095 h 6858001"/>
              <a:gd name="connsiteX95" fmla="*/ 2968937 w 8009775"/>
              <a:gd name="connsiteY95" fmla="*/ 1770380 h 6858001"/>
              <a:gd name="connsiteX96" fmla="*/ 2967755 w 8009775"/>
              <a:gd name="connsiteY96" fmla="*/ 1764665 h 6858001"/>
              <a:gd name="connsiteX97" fmla="*/ 2966868 w 8009775"/>
              <a:gd name="connsiteY97" fmla="*/ 1758634 h 6858001"/>
              <a:gd name="connsiteX98" fmla="*/ 2965981 w 8009775"/>
              <a:gd name="connsiteY98" fmla="*/ 1752919 h 6858001"/>
              <a:gd name="connsiteX99" fmla="*/ 2965686 w 8009775"/>
              <a:gd name="connsiteY99" fmla="*/ 1746885 h 6858001"/>
              <a:gd name="connsiteX100" fmla="*/ 2965686 w 8009775"/>
              <a:gd name="connsiteY100" fmla="*/ 1741170 h 6858001"/>
              <a:gd name="connsiteX101" fmla="*/ 2965686 w 8009775"/>
              <a:gd name="connsiteY101" fmla="*/ 1735139 h 6858001"/>
              <a:gd name="connsiteX102" fmla="*/ 2965981 w 8009775"/>
              <a:gd name="connsiteY102" fmla="*/ 1729424 h 6858001"/>
              <a:gd name="connsiteX103" fmla="*/ 2966868 w 8009775"/>
              <a:gd name="connsiteY103" fmla="*/ 1723074 h 6858001"/>
              <a:gd name="connsiteX104" fmla="*/ 2967755 w 8009775"/>
              <a:gd name="connsiteY104" fmla="*/ 1717358 h 6858001"/>
              <a:gd name="connsiteX105" fmla="*/ 2968937 w 8009775"/>
              <a:gd name="connsiteY105" fmla="*/ 1711643 h 6858001"/>
              <a:gd name="connsiteX106" fmla="*/ 2970710 w 8009775"/>
              <a:gd name="connsiteY106" fmla="*/ 1705929 h 6858001"/>
              <a:gd name="connsiteX107" fmla="*/ 2972484 w 8009775"/>
              <a:gd name="connsiteY107" fmla="*/ 1700214 h 6858001"/>
              <a:gd name="connsiteX108" fmla="*/ 2974552 w 8009775"/>
              <a:gd name="connsiteY108" fmla="*/ 1694816 h 6858001"/>
              <a:gd name="connsiteX109" fmla="*/ 2976917 w 8009775"/>
              <a:gd name="connsiteY109" fmla="*/ 1689101 h 6858001"/>
              <a:gd name="connsiteX110" fmla="*/ 2979873 w 8009775"/>
              <a:gd name="connsiteY110" fmla="*/ 1683703 h 6858001"/>
              <a:gd name="connsiteX111" fmla="*/ 2982533 w 8009775"/>
              <a:gd name="connsiteY111" fmla="*/ 1678305 h 6858001"/>
              <a:gd name="connsiteX112" fmla="*/ 2985784 w 8009775"/>
              <a:gd name="connsiteY112" fmla="*/ 1673226 h 6858001"/>
              <a:gd name="connsiteX113" fmla="*/ 2989331 w 8009775"/>
              <a:gd name="connsiteY113" fmla="*/ 1668145 h 6858001"/>
              <a:gd name="connsiteX114" fmla="*/ 2992878 w 8009775"/>
              <a:gd name="connsiteY114" fmla="*/ 1663066 h 6858001"/>
              <a:gd name="connsiteX115" fmla="*/ 2997311 w 8009775"/>
              <a:gd name="connsiteY115" fmla="*/ 1658621 h 6858001"/>
              <a:gd name="connsiteX116" fmla="*/ 3001744 w 8009775"/>
              <a:gd name="connsiteY116" fmla="*/ 1653859 h 6858001"/>
              <a:gd name="connsiteX117" fmla="*/ 3006178 w 8009775"/>
              <a:gd name="connsiteY117" fmla="*/ 1649414 h 6858001"/>
              <a:gd name="connsiteX118" fmla="*/ 3010907 w 8009775"/>
              <a:gd name="connsiteY118" fmla="*/ 1645603 h 6858001"/>
              <a:gd name="connsiteX119" fmla="*/ 3015932 w 8009775"/>
              <a:gd name="connsiteY119" fmla="*/ 1641794 h 6858001"/>
              <a:gd name="connsiteX120" fmla="*/ 3020956 w 8009775"/>
              <a:gd name="connsiteY120" fmla="*/ 1637984 h 6858001"/>
              <a:gd name="connsiteX121" fmla="*/ 3025981 w 8009775"/>
              <a:gd name="connsiteY121" fmla="*/ 1634809 h 6858001"/>
              <a:gd name="connsiteX122" fmla="*/ 3031596 w 8009775"/>
              <a:gd name="connsiteY122" fmla="*/ 1631950 h 6858001"/>
              <a:gd name="connsiteX123" fmla="*/ 3036916 w 8009775"/>
              <a:gd name="connsiteY123" fmla="*/ 1629094 h 6858001"/>
              <a:gd name="connsiteX124" fmla="*/ 3042532 w 8009775"/>
              <a:gd name="connsiteY124" fmla="*/ 1626871 h 6858001"/>
              <a:gd name="connsiteX125" fmla="*/ 3047852 w 8009775"/>
              <a:gd name="connsiteY125" fmla="*/ 1624649 h 6858001"/>
              <a:gd name="connsiteX126" fmla="*/ 3053764 w 8009775"/>
              <a:gd name="connsiteY126" fmla="*/ 1623061 h 6858001"/>
              <a:gd name="connsiteX127" fmla="*/ 3059379 w 8009775"/>
              <a:gd name="connsiteY127" fmla="*/ 1621155 h 6858001"/>
              <a:gd name="connsiteX128" fmla="*/ 3065291 w 8009775"/>
              <a:gd name="connsiteY128" fmla="*/ 1620204 h 6858001"/>
              <a:gd name="connsiteX129" fmla="*/ 3070906 w 8009775"/>
              <a:gd name="connsiteY129" fmla="*/ 1618934 h 6858001"/>
              <a:gd name="connsiteX130" fmla="*/ 3077113 w 8009775"/>
              <a:gd name="connsiteY130" fmla="*/ 1618299 h 6858001"/>
              <a:gd name="connsiteX131" fmla="*/ 3082729 w 8009775"/>
              <a:gd name="connsiteY131" fmla="*/ 1617981 h 6858001"/>
              <a:gd name="connsiteX132" fmla="*/ 3088936 w 8009775"/>
              <a:gd name="connsiteY132" fmla="*/ 1617981 h 6858001"/>
              <a:gd name="connsiteX133" fmla="*/ 3094552 w 8009775"/>
              <a:gd name="connsiteY133" fmla="*/ 1617981 h 6858001"/>
              <a:gd name="connsiteX134" fmla="*/ 3100758 w 8009775"/>
              <a:gd name="connsiteY134" fmla="*/ 1618299 h 6858001"/>
              <a:gd name="connsiteX135" fmla="*/ 3106670 w 8009775"/>
              <a:gd name="connsiteY135" fmla="*/ 1618934 h 6858001"/>
              <a:gd name="connsiteX136" fmla="*/ 3112285 w 8009775"/>
              <a:gd name="connsiteY136" fmla="*/ 1620204 h 6858001"/>
              <a:gd name="connsiteX137" fmla="*/ 3117901 w 8009775"/>
              <a:gd name="connsiteY137" fmla="*/ 1621155 h 6858001"/>
              <a:gd name="connsiteX138" fmla="*/ 3123812 w 8009775"/>
              <a:gd name="connsiteY138" fmla="*/ 1623061 h 6858001"/>
              <a:gd name="connsiteX139" fmla="*/ 3129428 w 8009775"/>
              <a:gd name="connsiteY139" fmla="*/ 1624649 h 6858001"/>
              <a:gd name="connsiteX140" fmla="*/ 3135339 w 8009775"/>
              <a:gd name="connsiteY140" fmla="*/ 1626871 h 6858001"/>
              <a:gd name="connsiteX141" fmla="*/ 3140660 w 8009775"/>
              <a:gd name="connsiteY141" fmla="*/ 1629094 h 6858001"/>
              <a:gd name="connsiteX142" fmla="*/ 3145980 w 8009775"/>
              <a:gd name="connsiteY142" fmla="*/ 1631950 h 6858001"/>
              <a:gd name="connsiteX143" fmla="*/ 3151300 w 8009775"/>
              <a:gd name="connsiteY143" fmla="*/ 1634809 h 6858001"/>
              <a:gd name="connsiteX144" fmla="*/ 3156324 w 8009775"/>
              <a:gd name="connsiteY144" fmla="*/ 1637984 h 6858001"/>
              <a:gd name="connsiteX145" fmla="*/ 3161349 w 8009775"/>
              <a:gd name="connsiteY145" fmla="*/ 1641794 h 6858001"/>
              <a:gd name="connsiteX146" fmla="*/ 3166374 w 8009775"/>
              <a:gd name="connsiteY146" fmla="*/ 1645603 h 6858001"/>
              <a:gd name="connsiteX147" fmla="*/ 3171102 w 8009775"/>
              <a:gd name="connsiteY147" fmla="*/ 1649414 h 6858001"/>
              <a:gd name="connsiteX148" fmla="*/ 3175832 w 8009775"/>
              <a:gd name="connsiteY148" fmla="*/ 1653859 h 6858001"/>
              <a:gd name="connsiteX149" fmla="*/ 3844692 w 8009775"/>
              <a:gd name="connsiteY149" fmla="*/ 2322830 h 6858001"/>
              <a:gd name="connsiteX150" fmla="*/ 3849421 w 8009775"/>
              <a:gd name="connsiteY150" fmla="*/ 2326958 h 6858001"/>
              <a:gd name="connsiteX151" fmla="*/ 3854150 w 8009775"/>
              <a:gd name="connsiteY151" fmla="*/ 2331085 h 6858001"/>
              <a:gd name="connsiteX152" fmla="*/ 3859175 w 8009775"/>
              <a:gd name="connsiteY152" fmla="*/ 2334895 h 6858001"/>
              <a:gd name="connsiteX153" fmla="*/ 3864199 w 8009775"/>
              <a:gd name="connsiteY153" fmla="*/ 2338705 h 6858001"/>
              <a:gd name="connsiteX154" fmla="*/ 3869224 w 8009775"/>
              <a:gd name="connsiteY154" fmla="*/ 2341880 h 6858001"/>
              <a:gd name="connsiteX155" fmla="*/ 3874544 w 8009775"/>
              <a:gd name="connsiteY155" fmla="*/ 2344738 h 6858001"/>
              <a:gd name="connsiteX156" fmla="*/ 3879864 w 8009775"/>
              <a:gd name="connsiteY156" fmla="*/ 2347595 h 6858001"/>
              <a:gd name="connsiteX157" fmla="*/ 3885775 w 8009775"/>
              <a:gd name="connsiteY157" fmla="*/ 2349818 h 6858001"/>
              <a:gd name="connsiteX158" fmla="*/ 3891096 w 8009775"/>
              <a:gd name="connsiteY158" fmla="*/ 2351723 h 6858001"/>
              <a:gd name="connsiteX159" fmla="*/ 3896711 w 8009775"/>
              <a:gd name="connsiteY159" fmla="*/ 2353628 h 6858001"/>
              <a:gd name="connsiteX160" fmla="*/ 3902623 w 8009775"/>
              <a:gd name="connsiteY160" fmla="*/ 2355534 h 6858001"/>
              <a:gd name="connsiteX161" fmla="*/ 3908238 w 8009775"/>
              <a:gd name="connsiteY161" fmla="*/ 2356485 h 6858001"/>
              <a:gd name="connsiteX162" fmla="*/ 3914150 w 8009775"/>
              <a:gd name="connsiteY162" fmla="*/ 2357755 h 6858001"/>
              <a:gd name="connsiteX163" fmla="*/ 3920061 w 8009775"/>
              <a:gd name="connsiteY163" fmla="*/ 2358391 h 6858001"/>
              <a:gd name="connsiteX164" fmla="*/ 3925972 w 8009775"/>
              <a:gd name="connsiteY164" fmla="*/ 2358708 h 6858001"/>
              <a:gd name="connsiteX165" fmla="*/ 3931883 w 8009775"/>
              <a:gd name="connsiteY165" fmla="*/ 2358708 h 6858001"/>
              <a:gd name="connsiteX166" fmla="*/ 3937795 w 8009775"/>
              <a:gd name="connsiteY166" fmla="*/ 2358708 h 6858001"/>
              <a:gd name="connsiteX167" fmla="*/ 3943706 w 8009775"/>
              <a:gd name="connsiteY167" fmla="*/ 2358391 h 6858001"/>
              <a:gd name="connsiteX168" fmla="*/ 3949617 w 8009775"/>
              <a:gd name="connsiteY168" fmla="*/ 2357755 h 6858001"/>
              <a:gd name="connsiteX169" fmla="*/ 3955233 w 8009775"/>
              <a:gd name="connsiteY169" fmla="*/ 2356485 h 6858001"/>
              <a:gd name="connsiteX170" fmla="*/ 3961144 w 8009775"/>
              <a:gd name="connsiteY170" fmla="*/ 2355534 h 6858001"/>
              <a:gd name="connsiteX171" fmla="*/ 3966760 w 8009775"/>
              <a:gd name="connsiteY171" fmla="*/ 2353628 h 6858001"/>
              <a:gd name="connsiteX172" fmla="*/ 3972671 w 8009775"/>
              <a:gd name="connsiteY172" fmla="*/ 2351723 h 6858001"/>
              <a:gd name="connsiteX173" fmla="*/ 3978287 w 8009775"/>
              <a:gd name="connsiteY173" fmla="*/ 2349818 h 6858001"/>
              <a:gd name="connsiteX174" fmla="*/ 3983607 w 8009775"/>
              <a:gd name="connsiteY174" fmla="*/ 2347595 h 6858001"/>
              <a:gd name="connsiteX175" fmla="*/ 3989223 w 8009775"/>
              <a:gd name="connsiteY175" fmla="*/ 2344738 h 6858001"/>
              <a:gd name="connsiteX176" fmla="*/ 3994543 w 8009775"/>
              <a:gd name="connsiteY176" fmla="*/ 2341880 h 6858001"/>
              <a:gd name="connsiteX177" fmla="*/ 3999567 w 8009775"/>
              <a:gd name="connsiteY177" fmla="*/ 2338705 h 6858001"/>
              <a:gd name="connsiteX178" fmla="*/ 4004888 w 8009775"/>
              <a:gd name="connsiteY178" fmla="*/ 2334895 h 6858001"/>
              <a:gd name="connsiteX179" fmla="*/ 4009617 w 8009775"/>
              <a:gd name="connsiteY179" fmla="*/ 2331085 h 6858001"/>
              <a:gd name="connsiteX180" fmla="*/ 4014346 w 8009775"/>
              <a:gd name="connsiteY180" fmla="*/ 2326958 h 6858001"/>
              <a:gd name="connsiteX181" fmla="*/ 4018779 w 8009775"/>
              <a:gd name="connsiteY181" fmla="*/ 2322830 h 6858001"/>
              <a:gd name="connsiteX182" fmla="*/ 4023213 w 8009775"/>
              <a:gd name="connsiteY182" fmla="*/ 2318068 h 6858001"/>
              <a:gd name="connsiteX183" fmla="*/ 4027646 w 8009775"/>
              <a:gd name="connsiteY183" fmla="*/ 2313306 h 6858001"/>
              <a:gd name="connsiteX184" fmla="*/ 4031193 w 8009775"/>
              <a:gd name="connsiteY184" fmla="*/ 2308544 h 6858001"/>
              <a:gd name="connsiteX185" fmla="*/ 4034740 w 8009775"/>
              <a:gd name="connsiteY185" fmla="*/ 2303463 h 6858001"/>
              <a:gd name="connsiteX186" fmla="*/ 4037991 w 8009775"/>
              <a:gd name="connsiteY186" fmla="*/ 2298384 h 6858001"/>
              <a:gd name="connsiteX187" fmla="*/ 4040946 w 8009775"/>
              <a:gd name="connsiteY187" fmla="*/ 2292985 h 6858001"/>
              <a:gd name="connsiteX188" fmla="*/ 4043606 w 8009775"/>
              <a:gd name="connsiteY188" fmla="*/ 2287588 h 6858001"/>
              <a:gd name="connsiteX189" fmla="*/ 4046267 w 8009775"/>
              <a:gd name="connsiteY189" fmla="*/ 2281873 h 6858001"/>
              <a:gd name="connsiteX190" fmla="*/ 4048040 w 8009775"/>
              <a:gd name="connsiteY190" fmla="*/ 2276476 h 6858001"/>
              <a:gd name="connsiteX191" fmla="*/ 4050109 w 8009775"/>
              <a:gd name="connsiteY191" fmla="*/ 2270761 h 6858001"/>
              <a:gd name="connsiteX192" fmla="*/ 4051587 w 8009775"/>
              <a:gd name="connsiteY192" fmla="*/ 2265046 h 6858001"/>
              <a:gd name="connsiteX193" fmla="*/ 4052769 w 8009775"/>
              <a:gd name="connsiteY193" fmla="*/ 2259331 h 6858001"/>
              <a:gd name="connsiteX194" fmla="*/ 4053656 w 8009775"/>
              <a:gd name="connsiteY194" fmla="*/ 2253298 h 6858001"/>
              <a:gd name="connsiteX195" fmla="*/ 4054542 w 8009775"/>
              <a:gd name="connsiteY195" fmla="*/ 2247266 h 6858001"/>
              <a:gd name="connsiteX196" fmla="*/ 4054838 w 8009775"/>
              <a:gd name="connsiteY196" fmla="*/ 2241551 h 6858001"/>
              <a:gd name="connsiteX197" fmla="*/ 4055133 w 8009775"/>
              <a:gd name="connsiteY197" fmla="*/ 2235519 h 6858001"/>
              <a:gd name="connsiteX198" fmla="*/ 4054838 w 8009775"/>
              <a:gd name="connsiteY198" fmla="*/ 2229804 h 6858001"/>
              <a:gd name="connsiteX199" fmla="*/ 4054542 w 8009775"/>
              <a:gd name="connsiteY199" fmla="*/ 2223770 h 6858001"/>
              <a:gd name="connsiteX200" fmla="*/ 4053656 w 8009775"/>
              <a:gd name="connsiteY200" fmla="*/ 2217739 h 6858001"/>
              <a:gd name="connsiteX201" fmla="*/ 4052769 w 8009775"/>
              <a:gd name="connsiteY201" fmla="*/ 2212024 h 6858001"/>
              <a:gd name="connsiteX202" fmla="*/ 4051587 w 8009775"/>
              <a:gd name="connsiteY202" fmla="*/ 2206309 h 6858001"/>
              <a:gd name="connsiteX203" fmla="*/ 4050109 w 8009775"/>
              <a:gd name="connsiteY203" fmla="*/ 2200593 h 6858001"/>
              <a:gd name="connsiteX204" fmla="*/ 4048040 w 8009775"/>
              <a:gd name="connsiteY204" fmla="*/ 2194878 h 6858001"/>
              <a:gd name="connsiteX205" fmla="*/ 4046267 w 8009775"/>
              <a:gd name="connsiteY205" fmla="*/ 2189163 h 6858001"/>
              <a:gd name="connsiteX206" fmla="*/ 4043606 w 8009775"/>
              <a:gd name="connsiteY206" fmla="*/ 2183765 h 6858001"/>
              <a:gd name="connsiteX207" fmla="*/ 4040946 w 8009775"/>
              <a:gd name="connsiteY207" fmla="*/ 2178368 h 6858001"/>
              <a:gd name="connsiteX208" fmla="*/ 4037991 w 8009775"/>
              <a:gd name="connsiteY208" fmla="*/ 2172970 h 6858001"/>
              <a:gd name="connsiteX209" fmla="*/ 4034740 w 8009775"/>
              <a:gd name="connsiteY209" fmla="*/ 2167890 h 6858001"/>
              <a:gd name="connsiteX210" fmla="*/ 4031193 w 8009775"/>
              <a:gd name="connsiteY210" fmla="*/ 2162494 h 6858001"/>
              <a:gd name="connsiteX211" fmla="*/ 4027646 w 8009775"/>
              <a:gd name="connsiteY211" fmla="*/ 2157730 h 6858001"/>
              <a:gd name="connsiteX212" fmla="*/ 4023213 w 8009775"/>
              <a:gd name="connsiteY212" fmla="*/ 2153285 h 6858001"/>
              <a:gd name="connsiteX213" fmla="*/ 4018779 w 8009775"/>
              <a:gd name="connsiteY213" fmla="*/ 2148523 h 6858001"/>
              <a:gd name="connsiteX214" fmla="*/ 3632182 w 8009775"/>
              <a:gd name="connsiteY214" fmla="*/ 1761490 h 6858001"/>
              <a:gd name="connsiteX215" fmla="*/ 3435928 w 8009775"/>
              <a:gd name="connsiteY215" fmla="*/ 1565276 h 6858001"/>
              <a:gd name="connsiteX216" fmla="*/ 3431198 w 8009775"/>
              <a:gd name="connsiteY216" fmla="*/ 1560514 h 6858001"/>
              <a:gd name="connsiteX217" fmla="*/ 3427356 w 8009775"/>
              <a:gd name="connsiteY217" fmla="*/ 1555751 h 6858001"/>
              <a:gd name="connsiteX218" fmla="*/ 3423218 w 8009775"/>
              <a:gd name="connsiteY218" fmla="*/ 1550671 h 6858001"/>
              <a:gd name="connsiteX219" fmla="*/ 3420262 w 8009775"/>
              <a:gd name="connsiteY219" fmla="*/ 1545909 h 6858001"/>
              <a:gd name="connsiteX220" fmla="*/ 3417012 w 8009775"/>
              <a:gd name="connsiteY220" fmla="*/ 1540829 h 6858001"/>
              <a:gd name="connsiteX221" fmla="*/ 3413760 w 8009775"/>
              <a:gd name="connsiteY221" fmla="*/ 1535430 h 6858001"/>
              <a:gd name="connsiteX222" fmla="*/ 3411100 w 8009775"/>
              <a:gd name="connsiteY222" fmla="*/ 1530034 h 6858001"/>
              <a:gd name="connsiteX223" fmla="*/ 3408736 w 8009775"/>
              <a:gd name="connsiteY223" fmla="*/ 1524635 h 6858001"/>
              <a:gd name="connsiteX224" fmla="*/ 3406371 w 8009775"/>
              <a:gd name="connsiteY224" fmla="*/ 1518920 h 6858001"/>
              <a:gd name="connsiteX225" fmla="*/ 3404598 w 8009775"/>
              <a:gd name="connsiteY225" fmla="*/ 1513205 h 6858001"/>
              <a:gd name="connsiteX226" fmla="*/ 3403120 w 8009775"/>
              <a:gd name="connsiteY226" fmla="*/ 1507174 h 6858001"/>
              <a:gd name="connsiteX227" fmla="*/ 3401938 w 8009775"/>
              <a:gd name="connsiteY227" fmla="*/ 1501459 h 6858001"/>
              <a:gd name="connsiteX228" fmla="*/ 3401051 w 8009775"/>
              <a:gd name="connsiteY228" fmla="*/ 1495744 h 6858001"/>
              <a:gd name="connsiteX229" fmla="*/ 3400460 w 8009775"/>
              <a:gd name="connsiteY229" fmla="*/ 1489710 h 6858001"/>
              <a:gd name="connsiteX230" fmla="*/ 3399869 w 8009775"/>
              <a:gd name="connsiteY230" fmla="*/ 1483995 h 6858001"/>
              <a:gd name="connsiteX231" fmla="*/ 3399573 w 8009775"/>
              <a:gd name="connsiteY231" fmla="*/ 1478281 h 6858001"/>
              <a:gd name="connsiteX232" fmla="*/ 3399869 w 8009775"/>
              <a:gd name="connsiteY232" fmla="*/ 1472249 h 6858001"/>
              <a:gd name="connsiteX233" fmla="*/ 3400460 w 8009775"/>
              <a:gd name="connsiteY233" fmla="*/ 1466215 h 6858001"/>
              <a:gd name="connsiteX234" fmla="*/ 3401051 w 8009775"/>
              <a:gd name="connsiteY234" fmla="*/ 1460183 h 6858001"/>
              <a:gd name="connsiteX235" fmla="*/ 3401938 w 8009775"/>
              <a:gd name="connsiteY235" fmla="*/ 1454468 h 6858001"/>
              <a:gd name="connsiteX236" fmla="*/ 3403120 w 8009775"/>
              <a:gd name="connsiteY236" fmla="*/ 1448754 h 6858001"/>
              <a:gd name="connsiteX237" fmla="*/ 3404598 w 8009775"/>
              <a:gd name="connsiteY237" fmla="*/ 1443039 h 6858001"/>
              <a:gd name="connsiteX238" fmla="*/ 3406371 w 8009775"/>
              <a:gd name="connsiteY238" fmla="*/ 1437324 h 6858001"/>
              <a:gd name="connsiteX239" fmla="*/ 3408736 w 8009775"/>
              <a:gd name="connsiteY239" fmla="*/ 1431609 h 6858001"/>
              <a:gd name="connsiteX240" fmla="*/ 3411100 w 8009775"/>
              <a:gd name="connsiteY240" fmla="*/ 1426211 h 6858001"/>
              <a:gd name="connsiteX241" fmla="*/ 3413760 w 8009775"/>
              <a:gd name="connsiteY241" fmla="*/ 1420814 h 6858001"/>
              <a:gd name="connsiteX242" fmla="*/ 3417012 w 8009775"/>
              <a:gd name="connsiteY242" fmla="*/ 1415416 h 6858001"/>
              <a:gd name="connsiteX243" fmla="*/ 3420262 w 8009775"/>
              <a:gd name="connsiteY243" fmla="*/ 1410336 h 6858001"/>
              <a:gd name="connsiteX244" fmla="*/ 3423218 w 8009775"/>
              <a:gd name="connsiteY244" fmla="*/ 1405256 h 6858001"/>
              <a:gd name="connsiteX245" fmla="*/ 3427356 w 8009775"/>
              <a:gd name="connsiteY245" fmla="*/ 1400175 h 6858001"/>
              <a:gd name="connsiteX246" fmla="*/ 3431198 w 8009775"/>
              <a:gd name="connsiteY246" fmla="*/ 1395731 h 6858001"/>
              <a:gd name="connsiteX247" fmla="*/ 3435928 w 8009775"/>
              <a:gd name="connsiteY247" fmla="*/ 1390969 h 6858001"/>
              <a:gd name="connsiteX248" fmla="*/ 3440361 w 8009775"/>
              <a:gd name="connsiteY248" fmla="*/ 1386524 h 6858001"/>
              <a:gd name="connsiteX249" fmla="*/ 3445386 w 8009775"/>
              <a:gd name="connsiteY249" fmla="*/ 1382396 h 6858001"/>
              <a:gd name="connsiteX250" fmla="*/ 3449819 w 8009775"/>
              <a:gd name="connsiteY250" fmla="*/ 1378585 h 6858001"/>
              <a:gd name="connsiteX251" fmla="*/ 3454844 w 8009775"/>
              <a:gd name="connsiteY251" fmla="*/ 1375094 h 6858001"/>
              <a:gd name="connsiteX252" fmla="*/ 3460459 w 8009775"/>
              <a:gd name="connsiteY252" fmla="*/ 1371919 h 6858001"/>
              <a:gd name="connsiteX253" fmla="*/ 3465780 w 8009775"/>
              <a:gd name="connsiteY253" fmla="*/ 1369061 h 6858001"/>
              <a:gd name="connsiteX254" fmla="*/ 3471100 w 8009775"/>
              <a:gd name="connsiteY254" fmla="*/ 1366204 h 6858001"/>
              <a:gd name="connsiteX255" fmla="*/ 3476420 w 8009775"/>
              <a:gd name="connsiteY255" fmla="*/ 1363980 h 6858001"/>
              <a:gd name="connsiteX256" fmla="*/ 3482331 w 8009775"/>
              <a:gd name="connsiteY256" fmla="*/ 1361759 h 6858001"/>
              <a:gd name="connsiteX257" fmla="*/ 3487947 w 8009775"/>
              <a:gd name="connsiteY257" fmla="*/ 1360170 h 6858001"/>
              <a:gd name="connsiteX258" fmla="*/ 3493858 w 8009775"/>
              <a:gd name="connsiteY258" fmla="*/ 1358265 h 6858001"/>
              <a:gd name="connsiteX259" fmla="*/ 3499474 w 8009775"/>
              <a:gd name="connsiteY259" fmla="*/ 1357314 h 6858001"/>
              <a:gd name="connsiteX260" fmla="*/ 3505385 w 8009775"/>
              <a:gd name="connsiteY260" fmla="*/ 1356043 h 6858001"/>
              <a:gd name="connsiteX261" fmla="*/ 3511001 w 8009775"/>
              <a:gd name="connsiteY261" fmla="*/ 1355409 h 6858001"/>
              <a:gd name="connsiteX262" fmla="*/ 3517208 w 8009775"/>
              <a:gd name="connsiteY262" fmla="*/ 1355090 h 6858001"/>
              <a:gd name="connsiteX263" fmla="*/ 3522823 w 8009775"/>
              <a:gd name="connsiteY263" fmla="*/ 1354773 h 6858001"/>
              <a:gd name="connsiteX264" fmla="*/ 3529030 w 8009775"/>
              <a:gd name="connsiteY264" fmla="*/ 1355090 h 6858001"/>
              <a:gd name="connsiteX265" fmla="*/ 3534646 w 8009775"/>
              <a:gd name="connsiteY265" fmla="*/ 1355409 h 6858001"/>
              <a:gd name="connsiteX266" fmla="*/ 3540557 w 8009775"/>
              <a:gd name="connsiteY266" fmla="*/ 1356043 h 6858001"/>
              <a:gd name="connsiteX267" fmla="*/ 3546468 w 8009775"/>
              <a:gd name="connsiteY267" fmla="*/ 1357314 h 6858001"/>
              <a:gd name="connsiteX268" fmla="*/ 3552380 w 8009775"/>
              <a:gd name="connsiteY268" fmla="*/ 1358265 h 6858001"/>
              <a:gd name="connsiteX269" fmla="*/ 3557995 w 8009775"/>
              <a:gd name="connsiteY269" fmla="*/ 1360170 h 6858001"/>
              <a:gd name="connsiteX270" fmla="*/ 3563906 w 8009775"/>
              <a:gd name="connsiteY270" fmla="*/ 1361759 h 6858001"/>
              <a:gd name="connsiteX271" fmla="*/ 3569227 w 8009775"/>
              <a:gd name="connsiteY271" fmla="*/ 1363980 h 6858001"/>
              <a:gd name="connsiteX272" fmla="*/ 3574842 w 8009775"/>
              <a:gd name="connsiteY272" fmla="*/ 1366204 h 6858001"/>
              <a:gd name="connsiteX273" fmla="*/ 3580458 w 8009775"/>
              <a:gd name="connsiteY273" fmla="*/ 1369061 h 6858001"/>
              <a:gd name="connsiteX274" fmla="*/ 3585778 w 8009775"/>
              <a:gd name="connsiteY274" fmla="*/ 1371919 h 6858001"/>
              <a:gd name="connsiteX275" fmla="*/ 3590803 w 8009775"/>
              <a:gd name="connsiteY275" fmla="*/ 1375094 h 6858001"/>
              <a:gd name="connsiteX276" fmla="*/ 3595828 w 8009775"/>
              <a:gd name="connsiteY276" fmla="*/ 1378585 h 6858001"/>
              <a:gd name="connsiteX277" fmla="*/ 3600852 w 8009775"/>
              <a:gd name="connsiteY277" fmla="*/ 1382396 h 6858001"/>
              <a:gd name="connsiteX278" fmla="*/ 3605581 w 8009775"/>
              <a:gd name="connsiteY278" fmla="*/ 1386524 h 6858001"/>
              <a:gd name="connsiteX279" fmla="*/ 3610014 w 8009775"/>
              <a:gd name="connsiteY279" fmla="*/ 1390969 h 6858001"/>
              <a:gd name="connsiteX280" fmla="*/ 3817500 w 8009775"/>
              <a:gd name="connsiteY280" fmla="*/ 1598296 h 6858001"/>
              <a:gd name="connsiteX281" fmla="*/ 3821934 w 8009775"/>
              <a:gd name="connsiteY281" fmla="*/ 1602423 h 6858001"/>
              <a:gd name="connsiteX282" fmla="*/ 3826663 w 8009775"/>
              <a:gd name="connsiteY282" fmla="*/ 1606869 h 6858001"/>
              <a:gd name="connsiteX283" fmla="*/ 3831687 w 8009775"/>
              <a:gd name="connsiteY283" fmla="*/ 1610361 h 6858001"/>
              <a:gd name="connsiteX284" fmla="*/ 3836712 w 8009775"/>
              <a:gd name="connsiteY284" fmla="*/ 1613854 h 6858001"/>
              <a:gd name="connsiteX285" fmla="*/ 3841736 w 8009775"/>
              <a:gd name="connsiteY285" fmla="*/ 1617345 h 6858001"/>
              <a:gd name="connsiteX286" fmla="*/ 3847352 w 8009775"/>
              <a:gd name="connsiteY286" fmla="*/ 1620204 h 6858001"/>
              <a:gd name="connsiteX287" fmla="*/ 3852672 w 8009775"/>
              <a:gd name="connsiteY287" fmla="*/ 1623061 h 6858001"/>
              <a:gd name="connsiteX288" fmla="*/ 3857992 w 8009775"/>
              <a:gd name="connsiteY288" fmla="*/ 1625283 h 6858001"/>
              <a:gd name="connsiteX289" fmla="*/ 3863608 w 8009775"/>
              <a:gd name="connsiteY289" fmla="*/ 1627189 h 6858001"/>
              <a:gd name="connsiteX290" fmla="*/ 3869519 w 8009775"/>
              <a:gd name="connsiteY290" fmla="*/ 1629094 h 6858001"/>
              <a:gd name="connsiteX291" fmla="*/ 3875135 w 8009775"/>
              <a:gd name="connsiteY291" fmla="*/ 1630998 h 6858001"/>
              <a:gd name="connsiteX292" fmla="*/ 3881046 w 8009775"/>
              <a:gd name="connsiteY292" fmla="*/ 1631950 h 6858001"/>
              <a:gd name="connsiteX293" fmla="*/ 3886662 w 8009775"/>
              <a:gd name="connsiteY293" fmla="*/ 1632904 h 6858001"/>
              <a:gd name="connsiteX294" fmla="*/ 3892869 w 8009775"/>
              <a:gd name="connsiteY294" fmla="*/ 1633856 h 6858001"/>
              <a:gd name="connsiteX295" fmla="*/ 3898485 w 8009775"/>
              <a:gd name="connsiteY295" fmla="*/ 1634174 h 6858001"/>
              <a:gd name="connsiteX296" fmla="*/ 3904396 w 8009775"/>
              <a:gd name="connsiteY296" fmla="*/ 1634174 h 6858001"/>
              <a:gd name="connsiteX297" fmla="*/ 3910307 w 8009775"/>
              <a:gd name="connsiteY297" fmla="*/ 1634174 h 6858001"/>
              <a:gd name="connsiteX298" fmla="*/ 3916219 w 8009775"/>
              <a:gd name="connsiteY298" fmla="*/ 1633856 h 6858001"/>
              <a:gd name="connsiteX299" fmla="*/ 3922425 w 8009775"/>
              <a:gd name="connsiteY299" fmla="*/ 1632904 h 6858001"/>
              <a:gd name="connsiteX300" fmla="*/ 3928041 w 8009775"/>
              <a:gd name="connsiteY300" fmla="*/ 1631950 h 6858001"/>
              <a:gd name="connsiteX301" fmla="*/ 3933657 w 8009775"/>
              <a:gd name="connsiteY301" fmla="*/ 1630998 h 6858001"/>
              <a:gd name="connsiteX302" fmla="*/ 3939568 w 8009775"/>
              <a:gd name="connsiteY302" fmla="*/ 1629094 h 6858001"/>
              <a:gd name="connsiteX303" fmla="*/ 3945184 w 8009775"/>
              <a:gd name="connsiteY303" fmla="*/ 1627189 h 6858001"/>
              <a:gd name="connsiteX304" fmla="*/ 3950799 w 8009775"/>
              <a:gd name="connsiteY304" fmla="*/ 1625283 h 6858001"/>
              <a:gd name="connsiteX305" fmla="*/ 3956415 w 8009775"/>
              <a:gd name="connsiteY305" fmla="*/ 1623061 h 6858001"/>
              <a:gd name="connsiteX306" fmla="*/ 3961735 w 8009775"/>
              <a:gd name="connsiteY306" fmla="*/ 1620204 h 6858001"/>
              <a:gd name="connsiteX307" fmla="*/ 3967055 w 8009775"/>
              <a:gd name="connsiteY307" fmla="*/ 1617345 h 6858001"/>
              <a:gd name="connsiteX308" fmla="*/ 3972376 w 8009775"/>
              <a:gd name="connsiteY308" fmla="*/ 1613854 h 6858001"/>
              <a:gd name="connsiteX309" fmla="*/ 3977400 w 8009775"/>
              <a:gd name="connsiteY309" fmla="*/ 1610361 h 6858001"/>
              <a:gd name="connsiteX310" fmla="*/ 3982425 w 8009775"/>
              <a:gd name="connsiteY310" fmla="*/ 1606869 h 6858001"/>
              <a:gd name="connsiteX311" fmla="*/ 3986858 w 8009775"/>
              <a:gd name="connsiteY311" fmla="*/ 1602423 h 6858001"/>
              <a:gd name="connsiteX312" fmla="*/ 3991587 w 8009775"/>
              <a:gd name="connsiteY312" fmla="*/ 1598296 h 6858001"/>
              <a:gd name="connsiteX313" fmla="*/ 3996021 w 8009775"/>
              <a:gd name="connsiteY313" fmla="*/ 1593533 h 6858001"/>
              <a:gd name="connsiteX314" fmla="*/ 4000159 w 8009775"/>
              <a:gd name="connsiteY314" fmla="*/ 1588771 h 6858001"/>
              <a:gd name="connsiteX315" fmla="*/ 4003705 w 8009775"/>
              <a:gd name="connsiteY315" fmla="*/ 1583691 h 6858001"/>
              <a:gd name="connsiteX316" fmla="*/ 4007548 w 8009775"/>
              <a:gd name="connsiteY316" fmla="*/ 1578928 h 6858001"/>
              <a:gd name="connsiteX317" fmla="*/ 4010799 w 8009775"/>
              <a:gd name="connsiteY317" fmla="*/ 1573849 h 6858001"/>
              <a:gd name="connsiteX318" fmla="*/ 4013459 w 8009775"/>
              <a:gd name="connsiteY318" fmla="*/ 1568451 h 6858001"/>
              <a:gd name="connsiteX319" fmla="*/ 4016415 w 8009775"/>
              <a:gd name="connsiteY319" fmla="*/ 1563054 h 6858001"/>
              <a:gd name="connsiteX320" fmla="*/ 4018484 w 8009775"/>
              <a:gd name="connsiteY320" fmla="*/ 1557339 h 6858001"/>
              <a:gd name="connsiteX321" fmla="*/ 4020848 w 8009775"/>
              <a:gd name="connsiteY321" fmla="*/ 1551941 h 6858001"/>
              <a:gd name="connsiteX322" fmla="*/ 4022621 w 8009775"/>
              <a:gd name="connsiteY322" fmla="*/ 1546226 h 6858001"/>
              <a:gd name="connsiteX323" fmla="*/ 4024395 w 8009775"/>
              <a:gd name="connsiteY323" fmla="*/ 1540511 h 6858001"/>
              <a:gd name="connsiteX324" fmla="*/ 4025282 w 8009775"/>
              <a:gd name="connsiteY324" fmla="*/ 1534478 h 6858001"/>
              <a:gd name="connsiteX325" fmla="*/ 4026464 w 8009775"/>
              <a:gd name="connsiteY325" fmla="*/ 1528763 h 6858001"/>
              <a:gd name="connsiteX326" fmla="*/ 4027055 w 8009775"/>
              <a:gd name="connsiteY326" fmla="*/ 1522731 h 6858001"/>
              <a:gd name="connsiteX327" fmla="*/ 4027646 w 8009775"/>
              <a:gd name="connsiteY327" fmla="*/ 1517016 h 6858001"/>
              <a:gd name="connsiteX328" fmla="*/ 4027646 w 8009775"/>
              <a:gd name="connsiteY328" fmla="*/ 1510984 h 6858001"/>
              <a:gd name="connsiteX329" fmla="*/ 4027646 w 8009775"/>
              <a:gd name="connsiteY329" fmla="*/ 1505268 h 6858001"/>
              <a:gd name="connsiteX330" fmla="*/ 4027055 w 8009775"/>
              <a:gd name="connsiteY330" fmla="*/ 1499553 h 6858001"/>
              <a:gd name="connsiteX331" fmla="*/ 4026464 w 8009775"/>
              <a:gd name="connsiteY331" fmla="*/ 1493204 h 6858001"/>
              <a:gd name="connsiteX332" fmla="*/ 4025282 w 8009775"/>
              <a:gd name="connsiteY332" fmla="*/ 1487489 h 6858001"/>
              <a:gd name="connsiteX333" fmla="*/ 4024395 w 8009775"/>
              <a:gd name="connsiteY333" fmla="*/ 1481773 h 6858001"/>
              <a:gd name="connsiteX334" fmla="*/ 4022621 w 8009775"/>
              <a:gd name="connsiteY334" fmla="*/ 1476058 h 6858001"/>
              <a:gd name="connsiteX335" fmla="*/ 4020848 w 8009775"/>
              <a:gd name="connsiteY335" fmla="*/ 1470343 h 6858001"/>
              <a:gd name="connsiteX336" fmla="*/ 4018484 w 8009775"/>
              <a:gd name="connsiteY336" fmla="*/ 1464629 h 6858001"/>
              <a:gd name="connsiteX337" fmla="*/ 4016415 w 8009775"/>
              <a:gd name="connsiteY337" fmla="*/ 1459231 h 6858001"/>
              <a:gd name="connsiteX338" fmla="*/ 4013459 w 8009775"/>
              <a:gd name="connsiteY338" fmla="*/ 1453834 h 6858001"/>
              <a:gd name="connsiteX339" fmla="*/ 4010799 w 8009775"/>
              <a:gd name="connsiteY339" fmla="*/ 1448436 h 6858001"/>
              <a:gd name="connsiteX340" fmla="*/ 4007548 w 8009775"/>
              <a:gd name="connsiteY340" fmla="*/ 1443356 h 6858001"/>
              <a:gd name="connsiteX341" fmla="*/ 4003705 w 8009775"/>
              <a:gd name="connsiteY341" fmla="*/ 1438275 h 6858001"/>
              <a:gd name="connsiteX342" fmla="*/ 4000159 w 8009775"/>
              <a:gd name="connsiteY342" fmla="*/ 1433195 h 6858001"/>
              <a:gd name="connsiteX343" fmla="*/ 3996021 w 8009775"/>
              <a:gd name="connsiteY343" fmla="*/ 1428751 h 6858001"/>
              <a:gd name="connsiteX344" fmla="*/ 3991587 w 8009775"/>
              <a:gd name="connsiteY344" fmla="*/ 1423988 h 6858001"/>
              <a:gd name="connsiteX345" fmla="*/ 3323022 w 8009775"/>
              <a:gd name="connsiteY345" fmla="*/ 755333 h 6858001"/>
              <a:gd name="connsiteX346" fmla="*/ 3316815 w 8009775"/>
              <a:gd name="connsiteY346" fmla="*/ 748348 h 6858001"/>
              <a:gd name="connsiteX347" fmla="*/ 3310904 w 8009775"/>
              <a:gd name="connsiteY347" fmla="*/ 741045 h 6858001"/>
              <a:gd name="connsiteX348" fmla="*/ 3305584 w 8009775"/>
              <a:gd name="connsiteY348" fmla="*/ 733108 h 6858001"/>
              <a:gd name="connsiteX349" fmla="*/ 3300855 w 8009775"/>
              <a:gd name="connsiteY349" fmla="*/ 725170 h 6858001"/>
              <a:gd name="connsiteX350" fmla="*/ 3297308 w 8009775"/>
              <a:gd name="connsiteY350" fmla="*/ 716915 h 6858001"/>
              <a:gd name="connsiteX351" fmla="*/ 3293761 w 8009775"/>
              <a:gd name="connsiteY351" fmla="*/ 708660 h 6858001"/>
              <a:gd name="connsiteX352" fmla="*/ 3291101 w 8009775"/>
              <a:gd name="connsiteY352" fmla="*/ 699770 h 6858001"/>
              <a:gd name="connsiteX353" fmla="*/ 3289328 w 8009775"/>
              <a:gd name="connsiteY353" fmla="*/ 691198 h 6858001"/>
              <a:gd name="connsiteX354" fmla="*/ 2596527 w 8009775"/>
              <a:gd name="connsiteY354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364776 w 8009775"/>
              <a:gd name="connsiteY73" fmla="*/ 6858001 h 6858001"/>
              <a:gd name="connsiteX74" fmla="*/ 7460026 w 8009775"/>
              <a:gd name="connsiteY74" fmla="*/ 6858001 h 6858001"/>
              <a:gd name="connsiteX75" fmla="*/ 7507651 w 8009775"/>
              <a:gd name="connsiteY75" fmla="*/ 6858001 h 6858001"/>
              <a:gd name="connsiteX76" fmla="*/ 7507650 w 8009775"/>
              <a:gd name="connsiteY76" fmla="*/ 6858000 h 6858001"/>
              <a:gd name="connsiteX77" fmla="*/ 8009775 w 8009775"/>
              <a:gd name="connsiteY77" fmla="*/ 6858000 h 6858001"/>
              <a:gd name="connsiteX78" fmla="*/ 3996316 w 8009775"/>
              <a:gd name="connsiteY78" fmla="*/ 2818448 h 6858001"/>
              <a:gd name="connsiteX79" fmla="*/ 3980947 w 8009775"/>
              <a:gd name="connsiteY79" fmla="*/ 2804795 h 6858001"/>
              <a:gd name="connsiteX80" fmla="*/ 3965282 w 8009775"/>
              <a:gd name="connsiteY80" fmla="*/ 2791144 h 6858001"/>
              <a:gd name="connsiteX81" fmla="*/ 3950799 w 8009775"/>
              <a:gd name="connsiteY81" fmla="*/ 2776856 h 6858001"/>
              <a:gd name="connsiteX82" fmla="*/ 3936021 w 8009775"/>
              <a:gd name="connsiteY82" fmla="*/ 2762568 h 6858001"/>
              <a:gd name="connsiteX83" fmla="*/ 3001744 w 8009775"/>
              <a:gd name="connsiteY83" fmla="*/ 1828166 h 6858001"/>
              <a:gd name="connsiteX84" fmla="*/ 2997311 w 8009775"/>
              <a:gd name="connsiteY84" fmla="*/ 1823404 h 6858001"/>
              <a:gd name="connsiteX85" fmla="*/ 2992878 w 8009775"/>
              <a:gd name="connsiteY85" fmla="*/ 1818640 h 6858001"/>
              <a:gd name="connsiteX86" fmla="*/ 2989331 w 8009775"/>
              <a:gd name="connsiteY86" fmla="*/ 1814195 h 6858001"/>
              <a:gd name="connsiteX87" fmla="*/ 2985784 w 8009775"/>
              <a:gd name="connsiteY87" fmla="*/ 1808799 h 6858001"/>
              <a:gd name="connsiteX88" fmla="*/ 2982533 w 8009775"/>
              <a:gd name="connsiteY88" fmla="*/ 1803718 h 6858001"/>
              <a:gd name="connsiteX89" fmla="*/ 2979873 w 8009775"/>
              <a:gd name="connsiteY89" fmla="*/ 1798321 h 6858001"/>
              <a:gd name="connsiteX90" fmla="*/ 2976917 w 8009775"/>
              <a:gd name="connsiteY90" fmla="*/ 1792924 h 6858001"/>
              <a:gd name="connsiteX91" fmla="*/ 2974552 w 8009775"/>
              <a:gd name="connsiteY91" fmla="*/ 1787526 h 6858001"/>
              <a:gd name="connsiteX92" fmla="*/ 2972484 w 8009775"/>
              <a:gd name="connsiteY92" fmla="*/ 1781811 h 6858001"/>
              <a:gd name="connsiteX93" fmla="*/ 2970710 w 8009775"/>
              <a:gd name="connsiteY93" fmla="*/ 1776095 h 6858001"/>
              <a:gd name="connsiteX94" fmla="*/ 2968937 w 8009775"/>
              <a:gd name="connsiteY94" fmla="*/ 1770380 h 6858001"/>
              <a:gd name="connsiteX95" fmla="*/ 2967755 w 8009775"/>
              <a:gd name="connsiteY95" fmla="*/ 1764665 h 6858001"/>
              <a:gd name="connsiteX96" fmla="*/ 2966868 w 8009775"/>
              <a:gd name="connsiteY96" fmla="*/ 1758634 h 6858001"/>
              <a:gd name="connsiteX97" fmla="*/ 2965981 w 8009775"/>
              <a:gd name="connsiteY97" fmla="*/ 1752919 h 6858001"/>
              <a:gd name="connsiteX98" fmla="*/ 2965686 w 8009775"/>
              <a:gd name="connsiteY98" fmla="*/ 1746885 h 6858001"/>
              <a:gd name="connsiteX99" fmla="*/ 2965686 w 8009775"/>
              <a:gd name="connsiteY99" fmla="*/ 1741170 h 6858001"/>
              <a:gd name="connsiteX100" fmla="*/ 2965686 w 8009775"/>
              <a:gd name="connsiteY100" fmla="*/ 1735139 h 6858001"/>
              <a:gd name="connsiteX101" fmla="*/ 2965981 w 8009775"/>
              <a:gd name="connsiteY101" fmla="*/ 1729424 h 6858001"/>
              <a:gd name="connsiteX102" fmla="*/ 2966868 w 8009775"/>
              <a:gd name="connsiteY102" fmla="*/ 1723074 h 6858001"/>
              <a:gd name="connsiteX103" fmla="*/ 2967755 w 8009775"/>
              <a:gd name="connsiteY103" fmla="*/ 1717358 h 6858001"/>
              <a:gd name="connsiteX104" fmla="*/ 2968937 w 8009775"/>
              <a:gd name="connsiteY104" fmla="*/ 1711643 h 6858001"/>
              <a:gd name="connsiteX105" fmla="*/ 2970710 w 8009775"/>
              <a:gd name="connsiteY105" fmla="*/ 1705929 h 6858001"/>
              <a:gd name="connsiteX106" fmla="*/ 2972484 w 8009775"/>
              <a:gd name="connsiteY106" fmla="*/ 1700214 h 6858001"/>
              <a:gd name="connsiteX107" fmla="*/ 2974552 w 8009775"/>
              <a:gd name="connsiteY107" fmla="*/ 1694816 h 6858001"/>
              <a:gd name="connsiteX108" fmla="*/ 2976917 w 8009775"/>
              <a:gd name="connsiteY108" fmla="*/ 1689101 h 6858001"/>
              <a:gd name="connsiteX109" fmla="*/ 2979873 w 8009775"/>
              <a:gd name="connsiteY109" fmla="*/ 1683703 h 6858001"/>
              <a:gd name="connsiteX110" fmla="*/ 2982533 w 8009775"/>
              <a:gd name="connsiteY110" fmla="*/ 1678305 h 6858001"/>
              <a:gd name="connsiteX111" fmla="*/ 2985784 w 8009775"/>
              <a:gd name="connsiteY111" fmla="*/ 1673226 h 6858001"/>
              <a:gd name="connsiteX112" fmla="*/ 2989331 w 8009775"/>
              <a:gd name="connsiteY112" fmla="*/ 1668145 h 6858001"/>
              <a:gd name="connsiteX113" fmla="*/ 2992878 w 8009775"/>
              <a:gd name="connsiteY113" fmla="*/ 1663066 h 6858001"/>
              <a:gd name="connsiteX114" fmla="*/ 2997311 w 8009775"/>
              <a:gd name="connsiteY114" fmla="*/ 1658621 h 6858001"/>
              <a:gd name="connsiteX115" fmla="*/ 3001744 w 8009775"/>
              <a:gd name="connsiteY115" fmla="*/ 1653859 h 6858001"/>
              <a:gd name="connsiteX116" fmla="*/ 3006178 w 8009775"/>
              <a:gd name="connsiteY116" fmla="*/ 1649414 h 6858001"/>
              <a:gd name="connsiteX117" fmla="*/ 3010907 w 8009775"/>
              <a:gd name="connsiteY117" fmla="*/ 1645603 h 6858001"/>
              <a:gd name="connsiteX118" fmla="*/ 3015932 w 8009775"/>
              <a:gd name="connsiteY118" fmla="*/ 1641794 h 6858001"/>
              <a:gd name="connsiteX119" fmla="*/ 3020956 w 8009775"/>
              <a:gd name="connsiteY119" fmla="*/ 1637984 h 6858001"/>
              <a:gd name="connsiteX120" fmla="*/ 3025981 w 8009775"/>
              <a:gd name="connsiteY120" fmla="*/ 1634809 h 6858001"/>
              <a:gd name="connsiteX121" fmla="*/ 3031596 w 8009775"/>
              <a:gd name="connsiteY121" fmla="*/ 1631950 h 6858001"/>
              <a:gd name="connsiteX122" fmla="*/ 3036916 w 8009775"/>
              <a:gd name="connsiteY122" fmla="*/ 1629094 h 6858001"/>
              <a:gd name="connsiteX123" fmla="*/ 3042532 w 8009775"/>
              <a:gd name="connsiteY123" fmla="*/ 1626871 h 6858001"/>
              <a:gd name="connsiteX124" fmla="*/ 3047852 w 8009775"/>
              <a:gd name="connsiteY124" fmla="*/ 1624649 h 6858001"/>
              <a:gd name="connsiteX125" fmla="*/ 3053764 w 8009775"/>
              <a:gd name="connsiteY125" fmla="*/ 1623061 h 6858001"/>
              <a:gd name="connsiteX126" fmla="*/ 3059379 w 8009775"/>
              <a:gd name="connsiteY126" fmla="*/ 1621155 h 6858001"/>
              <a:gd name="connsiteX127" fmla="*/ 3065291 w 8009775"/>
              <a:gd name="connsiteY127" fmla="*/ 1620204 h 6858001"/>
              <a:gd name="connsiteX128" fmla="*/ 3070906 w 8009775"/>
              <a:gd name="connsiteY128" fmla="*/ 1618934 h 6858001"/>
              <a:gd name="connsiteX129" fmla="*/ 3077113 w 8009775"/>
              <a:gd name="connsiteY129" fmla="*/ 1618299 h 6858001"/>
              <a:gd name="connsiteX130" fmla="*/ 3082729 w 8009775"/>
              <a:gd name="connsiteY130" fmla="*/ 1617981 h 6858001"/>
              <a:gd name="connsiteX131" fmla="*/ 3088936 w 8009775"/>
              <a:gd name="connsiteY131" fmla="*/ 1617981 h 6858001"/>
              <a:gd name="connsiteX132" fmla="*/ 3094552 w 8009775"/>
              <a:gd name="connsiteY132" fmla="*/ 1617981 h 6858001"/>
              <a:gd name="connsiteX133" fmla="*/ 3100758 w 8009775"/>
              <a:gd name="connsiteY133" fmla="*/ 1618299 h 6858001"/>
              <a:gd name="connsiteX134" fmla="*/ 3106670 w 8009775"/>
              <a:gd name="connsiteY134" fmla="*/ 1618934 h 6858001"/>
              <a:gd name="connsiteX135" fmla="*/ 3112285 w 8009775"/>
              <a:gd name="connsiteY135" fmla="*/ 1620204 h 6858001"/>
              <a:gd name="connsiteX136" fmla="*/ 3117901 w 8009775"/>
              <a:gd name="connsiteY136" fmla="*/ 1621155 h 6858001"/>
              <a:gd name="connsiteX137" fmla="*/ 3123812 w 8009775"/>
              <a:gd name="connsiteY137" fmla="*/ 1623061 h 6858001"/>
              <a:gd name="connsiteX138" fmla="*/ 3129428 w 8009775"/>
              <a:gd name="connsiteY138" fmla="*/ 1624649 h 6858001"/>
              <a:gd name="connsiteX139" fmla="*/ 3135339 w 8009775"/>
              <a:gd name="connsiteY139" fmla="*/ 1626871 h 6858001"/>
              <a:gd name="connsiteX140" fmla="*/ 3140660 w 8009775"/>
              <a:gd name="connsiteY140" fmla="*/ 1629094 h 6858001"/>
              <a:gd name="connsiteX141" fmla="*/ 3145980 w 8009775"/>
              <a:gd name="connsiteY141" fmla="*/ 1631950 h 6858001"/>
              <a:gd name="connsiteX142" fmla="*/ 3151300 w 8009775"/>
              <a:gd name="connsiteY142" fmla="*/ 1634809 h 6858001"/>
              <a:gd name="connsiteX143" fmla="*/ 3156324 w 8009775"/>
              <a:gd name="connsiteY143" fmla="*/ 1637984 h 6858001"/>
              <a:gd name="connsiteX144" fmla="*/ 3161349 w 8009775"/>
              <a:gd name="connsiteY144" fmla="*/ 1641794 h 6858001"/>
              <a:gd name="connsiteX145" fmla="*/ 3166374 w 8009775"/>
              <a:gd name="connsiteY145" fmla="*/ 1645603 h 6858001"/>
              <a:gd name="connsiteX146" fmla="*/ 3171102 w 8009775"/>
              <a:gd name="connsiteY146" fmla="*/ 1649414 h 6858001"/>
              <a:gd name="connsiteX147" fmla="*/ 3175832 w 8009775"/>
              <a:gd name="connsiteY147" fmla="*/ 1653859 h 6858001"/>
              <a:gd name="connsiteX148" fmla="*/ 3844692 w 8009775"/>
              <a:gd name="connsiteY148" fmla="*/ 2322830 h 6858001"/>
              <a:gd name="connsiteX149" fmla="*/ 3849421 w 8009775"/>
              <a:gd name="connsiteY149" fmla="*/ 2326958 h 6858001"/>
              <a:gd name="connsiteX150" fmla="*/ 3854150 w 8009775"/>
              <a:gd name="connsiteY150" fmla="*/ 2331085 h 6858001"/>
              <a:gd name="connsiteX151" fmla="*/ 3859175 w 8009775"/>
              <a:gd name="connsiteY151" fmla="*/ 2334895 h 6858001"/>
              <a:gd name="connsiteX152" fmla="*/ 3864199 w 8009775"/>
              <a:gd name="connsiteY152" fmla="*/ 2338705 h 6858001"/>
              <a:gd name="connsiteX153" fmla="*/ 3869224 w 8009775"/>
              <a:gd name="connsiteY153" fmla="*/ 2341880 h 6858001"/>
              <a:gd name="connsiteX154" fmla="*/ 3874544 w 8009775"/>
              <a:gd name="connsiteY154" fmla="*/ 2344738 h 6858001"/>
              <a:gd name="connsiteX155" fmla="*/ 3879864 w 8009775"/>
              <a:gd name="connsiteY155" fmla="*/ 2347595 h 6858001"/>
              <a:gd name="connsiteX156" fmla="*/ 3885775 w 8009775"/>
              <a:gd name="connsiteY156" fmla="*/ 2349818 h 6858001"/>
              <a:gd name="connsiteX157" fmla="*/ 3891096 w 8009775"/>
              <a:gd name="connsiteY157" fmla="*/ 2351723 h 6858001"/>
              <a:gd name="connsiteX158" fmla="*/ 3896711 w 8009775"/>
              <a:gd name="connsiteY158" fmla="*/ 2353628 h 6858001"/>
              <a:gd name="connsiteX159" fmla="*/ 3902623 w 8009775"/>
              <a:gd name="connsiteY159" fmla="*/ 2355534 h 6858001"/>
              <a:gd name="connsiteX160" fmla="*/ 3908238 w 8009775"/>
              <a:gd name="connsiteY160" fmla="*/ 2356485 h 6858001"/>
              <a:gd name="connsiteX161" fmla="*/ 3914150 w 8009775"/>
              <a:gd name="connsiteY161" fmla="*/ 2357755 h 6858001"/>
              <a:gd name="connsiteX162" fmla="*/ 3920061 w 8009775"/>
              <a:gd name="connsiteY162" fmla="*/ 2358391 h 6858001"/>
              <a:gd name="connsiteX163" fmla="*/ 3925972 w 8009775"/>
              <a:gd name="connsiteY163" fmla="*/ 2358708 h 6858001"/>
              <a:gd name="connsiteX164" fmla="*/ 3931883 w 8009775"/>
              <a:gd name="connsiteY164" fmla="*/ 2358708 h 6858001"/>
              <a:gd name="connsiteX165" fmla="*/ 3937795 w 8009775"/>
              <a:gd name="connsiteY165" fmla="*/ 2358708 h 6858001"/>
              <a:gd name="connsiteX166" fmla="*/ 3943706 w 8009775"/>
              <a:gd name="connsiteY166" fmla="*/ 2358391 h 6858001"/>
              <a:gd name="connsiteX167" fmla="*/ 3949617 w 8009775"/>
              <a:gd name="connsiteY167" fmla="*/ 2357755 h 6858001"/>
              <a:gd name="connsiteX168" fmla="*/ 3955233 w 8009775"/>
              <a:gd name="connsiteY168" fmla="*/ 2356485 h 6858001"/>
              <a:gd name="connsiteX169" fmla="*/ 3961144 w 8009775"/>
              <a:gd name="connsiteY169" fmla="*/ 2355534 h 6858001"/>
              <a:gd name="connsiteX170" fmla="*/ 3966760 w 8009775"/>
              <a:gd name="connsiteY170" fmla="*/ 2353628 h 6858001"/>
              <a:gd name="connsiteX171" fmla="*/ 3972671 w 8009775"/>
              <a:gd name="connsiteY171" fmla="*/ 2351723 h 6858001"/>
              <a:gd name="connsiteX172" fmla="*/ 3978287 w 8009775"/>
              <a:gd name="connsiteY172" fmla="*/ 2349818 h 6858001"/>
              <a:gd name="connsiteX173" fmla="*/ 3983607 w 8009775"/>
              <a:gd name="connsiteY173" fmla="*/ 2347595 h 6858001"/>
              <a:gd name="connsiteX174" fmla="*/ 3989223 w 8009775"/>
              <a:gd name="connsiteY174" fmla="*/ 2344738 h 6858001"/>
              <a:gd name="connsiteX175" fmla="*/ 3994543 w 8009775"/>
              <a:gd name="connsiteY175" fmla="*/ 2341880 h 6858001"/>
              <a:gd name="connsiteX176" fmla="*/ 3999567 w 8009775"/>
              <a:gd name="connsiteY176" fmla="*/ 2338705 h 6858001"/>
              <a:gd name="connsiteX177" fmla="*/ 4004888 w 8009775"/>
              <a:gd name="connsiteY177" fmla="*/ 2334895 h 6858001"/>
              <a:gd name="connsiteX178" fmla="*/ 4009617 w 8009775"/>
              <a:gd name="connsiteY178" fmla="*/ 2331085 h 6858001"/>
              <a:gd name="connsiteX179" fmla="*/ 4014346 w 8009775"/>
              <a:gd name="connsiteY179" fmla="*/ 2326958 h 6858001"/>
              <a:gd name="connsiteX180" fmla="*/ 4018779 w 8009775"/>
              <a:gd name="connsiteY180" fmla="*/ 2322830 h 6858001"/>
              <a:gd name="connsiteX181" fmla="*/ 4023213 w 8009775"/>
              <a:gd name="connsiteY181" fmla="*/ 2318068 h 6858001"/>
              <a:gd name="connsiteX182" fmla="*/ 4027646 w 8009775"/>
              <a:gd name="connsiteY182" fmla="*/ 2313306 h 6858001"/>
              <a:gd name="connsiteX183" fmla="*/ 4031193 w 8009775"/>
              <a:gd name="connsiteY183" fmla="*/ 2308544 h 6858001"/>
              <a:gd name="connsiteX184" fmla="*/ 4034740 w 8009775"/>
              <a:gd name="connsiteY184" fmla="*/ 2303463 h 6858001"/>
              <a:gd name="connsiteX185" fmla="*/ 4037991 w 8009775"/>
              <a:gd name="connsiteY185" fmla="*/ 2298384 h 6858001"/>
              <a:gd name="connsiteX186" fmla="*/ 4040946 w 8009775"/>
              <a:gd name="connsiteY186" fmla="*/ 2292985 h 6858001"/>
              <a:gd name="connsiteX187" fmla="*/ 4043606 w 8009775"/>
              <a:gd name="connsiteY187" fmla="*/ 2287588 h 6858001"/>
              <a:gd name="connsiteX188" fmla="*/ 4046267 w 8009775"/>
              <a:gd name="connsiteY188" fmla="*/ 2281873 h 6858001"/>
              <a:gd name="connsiteX189" fmla="*/ 4048040 w 8009775"/>
              <a:gd name="connsiteY189" fmla="*/ 2276476 h 6858001"/>
              <a:gd name="connsiteX190" fmla="*/ 4050109 w 8009775"/>
              <a:gd name="connsiteY190" fmla="*/ 2270761 h 6858001"/>
              <a:gd name="connsiteX191" fmla="*/ 4051587 w 8009775"/>
              <a:gd name="connsiteY191" fmla="*/ 2265046 h 6858001"/>
              <a:gd name="connsiteX192" fmla="*/ 4052769 w 8009775"/>
              <a:gd name="connsiteY192" fmla="*/ 2259331 h 6858001"/>
              <a:gd name="connsiteX193" fmla="*/ 4053656 w 8009775"/>
              <a:gd name="connsiteY193" fmla="*/ 2253298 h 6858001"/>
              <a:gd name="connsiteX194" fmla="*/ 4054542 w 8009775"/>
              <a:gd name="connsiteY194" fmla="*/ 2247266 h 6858001"/>
              <a:gd name="connsiteX195" fmla="*/ 4054838 w 8009775"/>
              <a:gd name="connsiteY195" fmla="*/ 2241551 h 6858001"/>
              <a:gd name="connsiteX196" fmla="*/ 4055133 w 8009775"/>
              <a:gd name="connsiteY196" fmla="*/ 2235519 h 6858001"/>
              <a:gd name="connsiteX197" fmla="*/ 4054838 w 8009775"/>
              <a:gd name="connsiteY197" fmla="*/ 2229804 h 6858001"/>
              <a:gd name="connsiteX198" fmla="*/ 4054542 w 8009775"/>
              <a:gd name="connsiteY198" fmla="*/ 2223770 h 6858001"/>
              <a:gd name="connsiteX199" fmla="*/ 4053656 w 8009775"/>
              <a:gd name="connsiteY199" fmla="*/ 2217739 h 6858001"/>
              <a:gd name="connsiteX200" fmla="*/ 4052769 w 8009775"/>
              <a:gd name="connsiteY200" fmla="*/ 2212024 h 6858001"/>
              <a:gd name="connsiteX201" fmla="*/ 4051587 w 8009775"/>
              <a:gd name="connsiteY201" fmla="*/ 2206309 h 6858001"/>
              <a:gd name="connsiteX202" fmla="*/ 4050109 w 8009775"/>
              <a:gd name="connsiteY202" fmla="*/ 2200593 h 6858001"/>
              <a:gd name="connsiteX203" fmla="*/ 4048040 w 8009775"/>
              <a:gd name="connsiteY203" fmla="*/ 2194878 h 6858001"/>
              <a:gd name="connsiteX204" fmla="*/ 4046267 w 8009775"/>
              <a:gd name="connsiteY204" fmla="*/ 2189163 h 6858001"/>
              <a:gd name="connsiteX205" fmla="*/ 4043606 w 8009775"/>
              <a:gd name="connsiteY205" fmla="*/ 2183765 h 6858001"/>
              <a:gd name="connsiteX206" fmla="*/ 4040946 w 8009775"/>
              <a:gd name="connsiteY206" fmla="*/ 2178368 h 6858001"/>
              <a:gd name="connsiteX207" fmla="*/ 4037991 w 8009775"/>
              <a:gd name="connsiteY207" fmla="*/ 2172970 h 6858001"/>
              <a:gd name="connsiteX208" fmla="*/ 4034740 w 8009775"/>
              <a:gd name="connsiteY208" fmla="*/ 2167890 h 6858001"/>
              <a:gd name="connsiteX209" fmla="*/ 4031193 w 8009775"/>
              <a:gd name="connsiteY209" fmla="*/ 2162494 h 6858001"/>
              <a:gd name="connsiteX210" fmla="*/ 4027646 w 8009775"/>
              <a:gd name="connsiteY210" fmla="*/ 2157730 h 6858001"/>
              <a:gd name="connsiteX211" fmla="*/ 4023213 w 8009775"/>
              <a:gd name="connsiteY211" fmla="*/ 2153285 h 6858001"/>
              <a:gd name="connsiteX212" fmla="*/ 4018779 w 8009775"/>
              <a:gd name="connsiteY212" fmla="*/ 2148523 h 6858001"/>
              <a:gd name="connsiteX213" fmla="*/ 3632182 w 8009775"/>
              <a:gd name="connsiteY213" fmla="*/ 1761490 h 6858001"/>
              <a:gd name="connsiteX214" fmla="*/ 3435928 w 8009775"/>
              <a:gd name="connsiteY214" fmla="*/ 1565276 h 6858001"/>
              <a:gd name="connsiteX215" fmla="*/ 3431198 w 8009775"/>
              <a:gd name="connsiteY215" fmla="*/ 1560514 h 6858001"/>
              <a:gd name="connsiteX216" fmla="*/ 3427356 w 8009775"/>
              <a:gd name="connsiteY216" fmla="*/ 1555751 h 6858001"/>
              <a:gd name="connsiteX217" fmla="*/ 3423218 w 8009775"/>
              <a:gd name="connsiteY217" fmla="*/ 1550671 h 6858001"/>
              <a:gd name="connsiteX218" fmla="*/ 3420262 w 8009775"/>
              <a:gd name="connsiteY218" fmla="*/ 1545909 h 6858001"/>
              <a:gd name="connsiteX219" fmla="*/ 3417012 w 8009775"/>
              <a:gd name="connsiteY219" fmla="*/ 1540829 h 6858001"/>
              <a:gd name="connsiteX220" fmla="*/ 3413760 w 8009775"/>
              <a:gd name="connsiteY220" fmla="*/ 1535430 h 6858001"/>
              <a:gd name="connsiteX221" fmla="*/ 3411100 w 8009775"/>
              <a:gd name="connsiteY221" fmla="*/ 1530034 h 6858001"/>
              <a:gd name="connsiteX222" fmla="*/ 3408736 w 8009775"/>
              <a:gd name="connsiteY222" fmla="*/ 1524635 h 6858001"/>
              <a:gd name="connsiteX223" fmla="*/ 3406371 w 8009775"/>
              <a:gd name="connsiteY223" fmla="*/ 1518920 h 6858001"/>
              <a:gd name="connsiteX224" fmla="*/ 3404598 w 8009775"/>
              <a:gd name="connsiteY224" fmla="*/ 1513205 h 6858001"/>
              <a:gd name="connsiteX225" fmla="*/ 3403120 w 8009775"/>
              <a:gd name="connsiteY225" fmla="*/ 1507174 h 6858001"/>
              <a:gd name="connsiteX226" fmla="*/ 3401938 w 8009775"/>
              <a:gd name="connsiteY226" fmla="*/ 1501459 h 6858001"/>
              <a:gd name="connsiteX227" fmla="*/ 3401051 w 8009775"/>
              <a:gd name="connsiteY227" fmla="*/ 1495744 h 6858001"/>
              <a:gd name="connsiteX228" fmla="*/ 3400460 w 8009775"/>
              <a:gd name="connsiteY228" fmla="*/ 1489710 h 6858001"/>
              <a:gd name="connsiteX229" fmla="*/ 3399869 w 8009775"/>
              <a:gd name="connsiteY229" fmla="*/ 1483995 h 6858001"/>
              <a:gd name="connsiteX230" fmla="*/ 3399573 w 8009775"/>
              <a:gd name="connsiteY230" fmla="*/ 1478281 h 6858001"/>
              <a:gd name="connsiteX231" fmla="*/ 3399869 w 8009775"/>
              <a:gd name="connsiteY231" fmla="*/ 1472249 h 6858001"/>
              <a:gd name="connsiteX232" fmla="*/ 3400460 w 8009775"/>
              <a:gd name="connsiteY232" fmla="*/ 1466215 h 6858001"/>
              <a:gd name="connsiteX233" fmla="*/ 3401051 w 8009775"/>
              <a:gd name="connsiteY233" fmla="*/ 1460183 h 6858001"/>
              <a:gd name="connsiteX234" fmla="*/ 3401938 w 8009775"/>
              <a:gd name="connsiteY234" fmla="*/ 1454468 h 6858001"/>
              <a:gd name="connsiteX235" fmla="*/ 3403120 w 8009775"/>
              <a:gd name="connsiteY235" fmla="*/ 1448754 h 6858001"/>
              <a:gd name="connsiteX236" fmla="*/ 3404598 w 8009775"/>
              <a:gd name="connsiteY236" fmla="*/ 1443039 h 6858001"/>
              <a:gd name="connsiteX237" fmla="*/ 3406371 w 8009775"/>
              <a:gd name="connsiteY237" fmla="*/ 1437324 h 6858001"/>
              <a:gd name="connsiteX238" fmla="*/ 3408736 w 8009775"/>
              <a:gd name="connsiteY238" fmla="*/ 1431609 h 6858001"/>
              <a:gd name="connsiteX239" fmla="*/ 3411100 w 8009775"/>
              <a:gd name="connsiteY239" fmla="*/ 1426211 h 6858001"/>
              <a:gd name="connsiteX240" fmla="*/ 3413760 w 8009775"/>
              <a:gd name="connsiteY240" fmla="*/ 1420814 h 6858001"/>
              <a:gd name="connsiteX241" fmla="*/ 3417012 w 8009775"/>
              <a:gd name="connsiteY241" fmla="*/ 1415416 h 6858001"/>
              <a:gd name="connsiteX242" fmla="*/ 3420262 w 8009775"/>
              <a:gd name="connsiteY242" fmla="*/ 1410336 h 6858001"/>
              <a:gd name="connsiteX243" fmla="*/ 3423218 w 8009775"/>
              <a:gd name="connsiteY243" fmla="*/ 1405256 h 6858001"/>
              <a:gd name="connsiteX244" fmla="*/ 3427356 w 8009775"/>
              <a:gd name="connsiteY244" fmla="*/ 1400175 h 6858001"/>
              <a:gd name="connsiteX245" fmla="*/ 3431198 w 8009775"/>
              <a:gd name="connsiteY245" fmla="*/ 1395731 h 6858001"/>
              <a:gd name="connsiteX246" fmla="*/ 3435928 w 8009775"/>
              <a:gd name="connsiteY246" fmla="*/ 1390969 h 6858001"/>
              <a:gd name="connsiteX247" fmla="*/ 3440361 w 8009775"/>
              <a:gd name="connsiteY247" fmla="*/ 1386524 h 6858001"/>
              <a:gd name="connsiteX248" fmla="*/ 3445386 w 8009775"/>
              <a:gd name="connsiteY248" fmla="*/ 1382396 h 6858001"/>
              <a:gd name="connsiteX249" fmla="*/ 3449819 w 8009775"/>
              <a:gd name="connsiteY249" fmla="*/ 1378585 h 6858001"/>
              <a:gd name="connsiteX250" fmla="*/ 3454844 w 8009775"/>
              <a:gd name="connsiteY250" fmla="*/ 1375094 h 6858001"/>
              <a:gd name="connsiteX251" fmla="*/ 3460459 w 8009775"/>
              <a:gd name="connsiteY251" fmla="*/ 1371919 h 6858001"/>
              <a:gd name="connsiteX252" fmla="*/ 3465780 w 8009775"/>
              <a:gd name="connsiteY252" fmla="*/ 1369061 h 6858001"/>
              <a:gd name="connsiteX253" fmla="*/ 3471100 w 8009775"/>
              <a:gd name="connsiteY253" fmla="*/ 1366204 h 6858001"/>
              <a:gd name="connsiteX254" fmla="*/ 3476420 w 8009775"/>
              <a:gd name="connsiteY254" fmla="*/ 1363980 h 6858001"/>
              <a:gd name="connsiteX255" fmla="*/ 3482331 w 8009775"/>
              <a:gd name="connsiteY255" fmla="*/ 1361759 h 6858001"/>
              <a:gd name="connsiteX256" fmla="*/ 3487947 w 8009775"/>
              <a:gd name="connsiteY256" fmla="*/ 1360170 h 6858001"/>
              <a:gd name="connsiteX257" fmla="*/ 3493858 w 8009775"/>
              <a:gd name="connsiteY257" fmla="*/ 1358265 h 6858001"/>
              <a:gd name="connsiteX258" fmla="*/ 3499474 w 8009775"/>
              <a:gd name="connsiteY258" fmla="*/ 1357314 h 6858001"/>
              <a:gd name="connsiteX259" fmla="*/ 3505385 w 8009775"/>
              <a:gd name="connsiteY259" fmla="*/ 1356043 h 6858001"/>
              <a:gd name="connsiteX260" fmla="*/ 3511001 w 8009775"/>
              <a:gd name="connsiteY260" fmla="*/ 1355409 h 6858001"/>
              <a:gd name="connsiteX261" fmla="*/ 3517208 w 8009775"/>
              <a:gd name="connsiteY261" fmla="*/ 1355090 h 6858001"/>
              <a:gd name="connsiteX262" fmla="*/ 3522823 w 8009775"/>
              <a:gd name="connsiteY262" fmla="*/ 1354773 h 6858001"/>
              <a:gd name="connsiteX263" fmla="*/ 3529030 w 8009775"/>
              <a:gd name="connsiteY263" fmla="*/ 1355090 h 6858001"/>
              <a:gd name="connsiteX264" fmla="*/ 3534646 w 8009775"/>
              <a:gd name="connsiteY264" fmla="*/ 1355409 h 6858001"/>
              <a:gd name="connsiteX265" fmla="*/ 3540557 w 8009775"/>
              <a:gd name="connsiteY265" fmla="*/ 1356043 h 6858001"/>
              <a:gd name="connsiteX266" fmla="*/ 3546468 w 8009775"/>
              <a:gd name="connsiteY266" fmla="*/ 1357314 h 6858001"/>
              <a:gd name="connsiteX267" fmla="*/ 3552380 w 8009775"/>
              <a:gd name="connsiteY267" fmla="*/ 1358265 h 6858001"/>
              <a:gd name="connsiteX268" fmla="*/ 3557995 w 8009775"/>
              <a:gd name="connsiteY268" fmla="*/ 1360170 h 6858001"/>
              <a:gd name="connsiteX269" fmla="*/ 3563906 w 8009775"/>
              <a:gd name="connsiteY269" fmla="*/ 1361759 h 6858001"/>
              <a:gd name="connsiteX270" fmla="*/ 3569227 w 8009775"/>
              <a:gd name="connsiteY270" fmla="*/ 1363980 h 6858001"/>
              <a:gd name="connsiteX271" fmla="*/ 3574842 w 8009775"/>
              <a:gd name="connsiteY271" fmla="*/ 1366204 h 6858001"/>
              <a:gd name="connsiteX272" fmla="*/ 3580458 w 8009775"/>
              <a:gd name="connsiteY272" fmla="*/ 1369061 h 6858001"/>
              <a:gd name="connsiteX273" fmla="*/ 3585778 w 8009775"/>
              <a:gd name="connsiteY273" fmla="*/ 1371919 h 6858001"/>
              <a:gd name="connsiteX274" fmla="*/ 3590803 w 8009775"/>
              <a:gd name="connsiteY274" fmla="*/ 1375094 h 6858001"/>
              <a:gd name="connsiteX275" fmla="*/ 3595828 w 8009775"/>
              <a:gd name="connsiteY275" fmla="*/ 1378585 h 6858001"/>
              <a:gd name="connsiteX276" fmla="*/ 3600852 w 8009775"/>
              <a:gd name="connsiteY276" fmla="*/ 1382396 h 6858001"/>
              <a:gd name="connsiteX277" fmla="*/ 3605581 w 8009775"/>
              <a:gd name="connsiteY277" fmla="*/ 1386524 h 6858001"/>
              <a:gd name="connsiteX278" fmla="*/ 3610014 w 8009775"/>
              <a:gd name="connsiteY278" fmla="*/ 1390969 h 6858001"/>
              <a:gd name="connsiteX279" fmla="*/ 3817500 w 8009775"/>
              <a:gd name="connsiteY279" fmla="*/ 1598296 h 6858001"/>
              <a:gd name="connsiteX280" fmla="*/ 3821934 w 8009775"/>
              <a:gd name="connsiteY280" fmla="*/ 1602423 h 6858001"/>
              <a:gd name="connsiteX281" fmla="*/ 3826663 w 8009775"/>
              <a:gd name="connsiteY281" fmla="*/ 1606869 h 6858001"/>
              <a:gd name="connsiteX282" fmla="*/ 3831687 w 8009775"/>
              <a:gd name="connsiteY282" fmla="*/ 1610361 h 6858001"/>
              <a:gd name="connsiteX283" fmla="*/ 3836712 w 8009775"/>
              <a:gd name="connsiteY283" fmla="*/ 1613854 h 6858001"/>
              <a:gd name="connsiteX284" fmla="*/ 3841736 w 8009775"/>
              <a:gd name="connsiteY284" fmla="*/ 1617345 h 6858001"/>
              <a:gd name="connsiteX285" fmla="*/ 3847352 w 8009775"/>
              <a:gd name="connsiteY285" fmla="*/ 1620204 h 6858001"/>
              <a:gd name="connsiteX286" fmla="*/ 3852672 w 8009775"/>
              <a:gd name="connsiteY286" fmla="*/ 1623061 h 6858001"/>
              <a:gd name="connsiteX287" fmla="*/ 3857992 w 8009775"/>
              <a:gd name="connsiteY287" fmla="*/ 1625283 h 6858001"/>
              <a:gd name="connsiteX288" fmla="*/ 3863608 w 8009775"/>
              <a:gd name="connsiteY288" fmla="*/ 1627189 h 6858001"/>
              <a:gd name="connsiteX289" fmla="*/ 3869519 w 8009775"/>
              <a:gd name="connsiteY289" fmla="*/ 1629094 h 6858001"/>
              <a:gd name="connsiteX290" fmla="*/ 3875135 w 8009775"/>
              <a:gd name="connsiteY290" fmla="*/ 1630998 h 6858001"/>
              <a:gd name="connsiteX291" fmla="*/ 3881046 w 8009775"/>
              <a:gd name="connsiteY291" fmla="*/ 1631950 h 6858001"/>
              <a:gd name="connsiteX292" fmla="*/ 3886662 w 8009775"/>
              <a:gd name="connsiteY292" fmla="*/ 1632904 h 6858001"/>
              <a:gd name="connsiteX293" fmla="*/ 3892869 w 8009775"/>
              <a:gd name="connsiteY293" fmla="*/ 1633856 h 6858001"/>
              <a:gd name="connsiteX294" fmla="*/ 3898485 w 8009775"/>
              <a:gd name="connsiteY294" fmla="*/ 1634174 h 6858001"/>
              <a:gd name="connsiteX295" fmla="*/ 3904396 w 8009775"/>
              <a:gd name="connsiteY295" fmla="*/ 1634174 h 6858001"/>
              <a:gd name="connsiteX296" fmla="*/ 3910307 w 8009775"/>
              <a:gd name="connsiteY296" fmla="*/ 1634174 h 6858001"/>
              <a:gd name="connsiteX297" fmla="*/ 3916219 w 8009775"/>
              <a:gd name="connsiteY297" fmla="*/ 1633856 h 6858001"/>
              <a:gd name="connsiteX298" fmla="*/ 3922425 w 8009775"/>
              <a:gd name="connsiteY298" fmla="*/ 1632904 h 6858001"/>
              <a:gd name="connsiteX299" fmla="*/ 3928041 w 8009775"/>
              <a:gd name="connsiteY299" fmla="*/ 1631950 h 6858001"/>
              <a:gd name="connsiteX300" fmla="*/ 3933657 w 8009775"/>
              <a:gd name="connsiteY300" fmla="*/ 1630998 h 6858001"/>
              <a:gd name="connsiteX301" fmla="*/ 3939568 w 8009775"/>
              <a:gd name="connsiteY301" fmla="*/ 1629094 h 6858001"/>
              <a:gd name="connsiteX302" fmla="*/ 3945184 w 8009775"/>
              <a:gd name="connsiteY302" fmla="*/ 1627189 h 6858001"/>
              <a:gd name="connsiteX303" fmla="*/ 3950799 w 8009775"/>
              <a:gd name="connsiteY303" fmla="*/ 1625283 h 6858001"/>
              <a:gd name="connsiteX304" fmla="*/ 3956415 w 8009775"/>
              <a:gd name="connsiteY304" fmla="*/ 1623061 h 6858001"/>
              <a:gd name="connsiteX305" fmla="*/ 3961735 w 8009775"/>
              <a:gd name="connsiteY305" fmla="*/ 1620204 h 6858001"/>
              <a:gd name="connsiteX306" fmla="*/ 3967055 w 8009775"/>
              <a:gd name="connsiteY306" fmla="*/ 1617345 h 6858001"/>
              <a:gd name="connsiteX307" fmla="*/ 3972376 w 8009775"/>
              <a:gd name="connsiteY307" fmla="*/ 1613854 h 6858001"/>
              <a:gd name="connsiteX308" fmla="*/ 3977400 w 8009775"/>
              <a:gd name="connsiteY308" fmla="*/ 1610361 h 6858001"/>
              <a:gd name="connsiteX309" fmla="*/ 3982425 w 8009775"/>
              <a:gd name="connsiteY309" fmla="*/ 1606869 h 6858001"/>
              <a:gd name="connsiteX310" fmla="*/ 3986858 w 8009775"/>
              <a:gd name="connsiteY310" fmla="*/ 1602423 h 6858001"/>
              <a:gd name="connsiteX311" fmla="*/ 3991587 w 8009775"/>
              <a:gd name="connsiteY311" fmla="*/ 1598296 h 6858001"/>
              <a:gd name="connsiteX312" fmla="*/ 3996021 w 8009775"/>
              <a:gd name="connsiteY312" fmla="*/ 1593533 h 6858001"/>
              <a:gd name="connsiteX313" fmla="*/ 4000159 w 8009775"/>
              <a:gd name="connsiteY313" fmla="*/ 1588771 h 6858001"/>
              <a:gd name="connsiteX314" fmla="*/ 4003705 w 8009775"/>
              <a:gd name="connsiteY314" fmla="*/ 1583691 h 6858001"/>
              <a:gd name="connsiteX315" fmla="*/ 4007548 w 8009775"/>
              <a:gd name="connsiteY315" fmla="*/ 1578928 h 6858001"/>
              <a:gd name="connsiteX316" fmla="*/ 4010799 w 8009775"/>
              <a:gd name="connsiteY316" fmla="*/ 1573849 h 6858001"/>
              <a:gd name="connsiteX317" fmla="*/ 4013459 w 8009775"/>
              <a:gd name="connsiteY317" fmla="*/ 1568451 h 6858001"/>
              <a:gd name="connsiteX318" fmla="*/ 4016415 w 8009775"/>
              <a:gd name="connsiteY318" fmla="*/ 1563054 h 6858001"/>
              <a:gd name="connsiteX319" fmla="*/ 4018484 w 8009775"/>
              <a:gd name="connsiteY319" fmla="*/ 1557339 h 6858001"/>
              <a:gd name="connsiteX320" fmla="*/ 4020848 w 8009775"/>
              <a:gd name="connsiteY320" fmla="*/ 1551941 h 6858001"/>
              <a:gd name="connsiteX321" fmla="*/ 4022621 w 8009775"/>
              <a:gd name="connsiteY321" fmla="*/ 1546226 h 6858001"/>
              <a:gd name="connsiteX322" fmla="*/ 4024395 w 8009775"/>
              <a:gd name="connsiteY322" fmla="*/ 1540511 h 6858001"/>
              <a:gd name="connsiteX323" fmla="*/ 4025282 w 8009775"/>
              <a:gd name="connsiteY323" fmla="*/ 1534478 h 6858001"/>
              <a:gd name="connsiteX324" fmla="*/ 4026464 w 8009775"/>
              <a:gd name="connsiteY324" fmla="*/ 1528763 h 6858001"/>
              <a:gd name="connsiteX325" fmla="*/ 4027055 w 8009775"/>
              <a:gd name="connsiteY325" fmla="*/ 1522731 h 6858001"/>
              <a:gd name="connsiteX326" fmla="*/ 4027646 w 8009775"/>
              <a:gd name="connsiteY326" fmla="*/ 1517016 h 6858001"/>
              <a:gd name="connsiteX327" fmla="*/ 4027646 w 8009775"/>
              <a:gd name="connsiteY327" fmla="*/ 1510984 h 6858001"/>
              <a:gd name="connsiteX328" fmla="*/ 4027646 w 8009775"/>
              <a:gd name="connsiteY328" fmla="*/ 1505268 h 6858001"/>
              <a:gd name="connsiteX329" fmla="*/ 4027055 w 8009775"/>
              <a:gd name="connsiteY329" fmla="*/ 1499553 h 6858001"/>
              <a:gd name="connsiteX330" fmla="*/ 4026464 w 8009775"/>
              <a:gd name="connsiteY330" fmla="*/ 1493204 h 6858001"/>
              <a:gd name="connsiteX331" fmla="*/ 4025282 w 8009775"/>
              <a:gd name="connsiteY331" fmla="*/ 1487489 h 6858001"/>
              <a:gd name="connsiteX332" fmla="*/ 4024395 w 8009775"/>
              <a:gd name="connsiteY332" fmla="*/ 1481773 h 6858001"/>
              <a:gd name="connsiteX333" fmla="*/ 4022621 w 8009775"/>
              <a:gd name="connsiteY333" fmla="*/ 1476058 h 6858001"/>
              <a:gd name="connsiteX334" fmla="*/ 4020848 w 8009775"/>
              <a:gd name="connsiteY334" fmla="*/ 1470343 h 6858001"/>
              <a:gd name="connsiteX335" fmla="*/ 4018484 w 8009775"/>
              <a:gd name="connsiteY335" fmla="*/ 1464629 h 6858001"/>
              <a:gd name="connsiteX336" fmla="*/ 4016415 w 8009775"/>
              <a:gd name="connsiteY336" fmla="*/ 1459231 h 6858001"/>
              <a:gd name="connsiteX337" fmla="*/ 4013459 w 8009775"/>
              <a:gd name="connsiteY337" fmla="*/ 1453834 h 6858001"/>
              <a:gd name="connsiteX338" fmla="*/ 4010799 w 8009775"/>
              <a:gd name="connsiteY338" fmla="*/ 1448436 h 6858001"/>
              <a:gd name="connsiteX339" fmla="*/ 4007548 w 8009775"/>
              <a:gd name="connsiteY339" fmla="*/ 1443356 h 6858001"/>
              <a:gd name="connsiteX340" fmla="*/ 4003705 w 8009775"/>
              <a:gd name="connsiteY340" fmla="*/ 1438275 h 6858001"/>
              <a:gd name="connsiteX341" fmla="*/ 4000159 w 8009775"/>
              <a:gd name="connsiteY341" fmla="*/ 1433195 h 6858001"/>
              <a:gd name="connsiteX342" fmla="*/ 3996021 w 8009775"/>
              <a:gd name="connsiteY342" fmla="*/ 1428751 h 6858001"/>
              <a:gd name="connsiteX343" fmla="*/ 3991587 w 8009775"/>
              <a:gd name="connsiteY343" fmla="*/ 1423988 h 6858001"/>
              <a:gd name="connsiteX344" fmla="*/ 3323022 w 8009775"/>
              <a:gd name="connsiteY344" fmla="*/ 755333 h 6858001"/>
              <a:gd name="connsiteX345" fmla="*/ 3316815 w 8009775"/>
              <a:gd name="connsiteY345" fmla="*/ 748348 h 6858001"/>
              <a:gd name="connsiteX346" fmla="*/ 3310904 w 8009775"/>
              <a:gd name="connsiteY346" fmla="*/ 741045 h 6858001"/>
              <a:gd name="connsiteX347" fmla="*/ 3305584 w 8009775"/>
              <a:gd name="connsiteY347" fmla="*/ 733108 h 6858001"/>
              <a:gd name="connsiteX348" fmla="*/ 3300855 w 8009775"/>
              <a:gd name="connsiteY348" fmla="*/ 725170 h 6858001"/>
              <a:gd name="connsiteX349" fmla="*/ 3297308 w 8009775"/>
              <a:gd name="connsiteY349" fmla="*/ 716915 h 6858001"/>
              <a:gd name="connsiteX350" fmla="*/ 3293761 w 8009775"/>
              <a:gd name="connsiteY350" fmla="*/ 708660 h 6858001"/>
              <a:gd name="connsiteX351" fmla="*/ 3291101 w 8009775"/>
              <a:gd name="connsiteY351" fmla="*/ 699770 h 6858001"/>
              <a:gd name="connsiteX352" fmla="*/ 3289328 w 8009775"/>
              <a:gd name="connsiteY352" fmla="*/ 691198 h 6858001"/>
              <a:gd name="connsiteX353" fmla="*/ 2596527 w 8009775"/>
              <a:gd name="connsiteY353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364776 w 8009775"/>
              <a:gd name="connsiteY73" fmla="*/ 6858001 h 6858001"/>
              <a:gd name="connsiteX74" fmla="*/ 7507651 w 8009775"/>
              <a:gd name="connsiteY74" fmla="*/ 6858001 h 6858001"/>
              <a:gd name="connsiteX75" fmla="*/ 7507650 w 8009775"/>
              <a:gd name="connsiteY75" fmla="*/ 6858000 h 6858001"/>
              <a:gd name="connsiteX76" fmla="*/ 8009775 w 8009775"/>
              <a:gd name="connsiteY76" fmla="*/ 6858000 h 6858001"/>
              <a:gd name="connsiteX77" fmla="*/ 3996316 w 8009775"/>
              <a:gd name="connsiteY77" fmla="*/ 2818448 h 6858001"/>
              <a:gd name="connsiteX78" fmla="*/ 3980947 w 8009775"/>
              <a:gd name="connsiteY78" fmla="*/ 2804795 h 6858001"/>
              <a:gd name="connsiteX79" fmla="*/ 3965282 w 8009775"/>
              <a:gd name="connsiteY79" fmla="*/ 2791144 h 6858001"/>
              <a:gd name="connsiteX80" fmla="*/ 3950799 w 8009775"/>
              <a:gd name="connsiteY80" fmla="*/ 2776856 h 6858001"/>
              <a:gd name="connsiteX81" fmla="*/ 3936021 w 8009775"/>
              <a:gd name="connsiteY81" fmla="*/ 2762568 h 6858001"/>
              <a:gd name="connsiteX82" fmla="*/ 3001744 w 8009775"/>
              <a:gd name="connsiteY82" fmla="*/ 1828166 h 6858001"/>
              <a:gd name="connsiteX83" fmla="*/ 2997311 w 8009775"/>
              <a:gd name="connsiteY83" fmla="*/ 1823404 h 6858001"/>
              <a:gd name="connsiteX84" fmla="*/ 2992878 w 8009775"/>
              <a:gd name="connsiteY84" fmla="*/ 1818640 h 6858001"/>
              <a:gd name="connsiteX85" fmla="*/ 2989331 w 8009775"/>
              <a:gd name="connsiteY85" fmla="*/ 1814195 h 6858001"/>
              <a:gd name="connsiteX86" fmla="*/ 2985784 w 8009775"/>
              <a:gd name="connsiteY86" fmla="*/ 1808799 h 6858001"/>
              <a:gd name="connsiteX87" fmla="*/ 2982533 w 8009775"/>
              <a:gd name="connsiteY87" fmla="*/ 1803718 h 6858001"/>
              <a:gd name="connsiteX88" fmla="*/ 2979873 w 8009775"/>
              <a:gd name="connsiteY88" fmla="*/ 1798321 h 6858001"/>
              <a:gd name="connsiteX89" fmla="*/ 2976917 w 8009775"/>
              <a:gd name="connsiteY89" fmla="*/ 1792924 h 6858001"/>
              <a:gd name="connsiteX90" fmla="*/ 2974552 w 8009775"/>
              <a:gd name="connsiteY90" fmla="*/ 1787526 h 6858001"/>
              <a:gd name="connsiteX91" fmla="*/ 2972484 w 8009775"/>
              <a:gd name="connsiteY91" fmla="*/ 1781811 h 6858001"/>
              <a:gd name="connsiteX92" fmla="*/ 2970710 w 8009775"/>
              <a:gd name="connsiteY92" fmla="*/ 1776095 h 6858001"/>
              <a:gd name="connsiteX93" fmla="*/ 2968937 w 8009775"/>
              <a:gd name="connsiteY93" fmla="*/ 1770380 h 6858001"/>
              <a:gd name="connsiteX94" fmla="*/ 2967755 w 8009775"/>
              <a:gd name="connsiteY94" fmla="*/ 1764665 h 6858001"/>
              <a:gd name="connsiteX95" fmla="*/ 2966868 w 8009775"/>
              <a:gd name="connsiteY95" fmla="*/ 1758634 h 6858001"/>
              <a:gd name="connsiteX96" fmla="*/ 2965981 w 8009775"/>
              <a:gd name="connsiteY96" fmla="*/ 1752919 h 6858001"/>
              <a:gd name="connsiteX97" fmla="*/ 2965686 w 8009775"/>
              <a:gd name="connsiteY97" fmla="*/ 1746885 h 6858001"/>
              <a:gd name="connsiteX98" fmla="*/ 2965686 w 8009775"/>
              <a:gd name="connsiteY98" fmla="*/ 1741170 h 6858001"/>
              <a:gd name="connsiteX99" fmla="*/ 2965686 w 8009775"/>
              <a:gd name="connsiteY99" fmla="*/ 1735139 h 6858001"/>
              <a:gd name="connsiteX100" fmla="*/ 2965981 w 8009775"/>
              <a:gd name="connsiteY100" fmla="*/ 1729424 h 6858001"/>
              <a:gd name="connsiteX101" fmla="*/ 2966868 w 8009775"/>
              <a:gd name="connsiteY101" fmla="*/ 1723074 h 6858001"/>
              <a:gd name="connsiteX102" fmla="*/ 2967755 w 8009775"/>
              <a:gd name="connsiteY102" fmla="*/ 1717358 h 6858001"/>
              <a:gd name="connsiteX103" fmla="*/ 2968937 w 8009775"/>
              <a:gd name="connsiteY103" fmla="*/ 1711643 h 6858001"/>
              <a:gd name="connsiteX104" fmla="*/ 2970710 w 8009775"/>
              <a:gd name="connsiteY104" fmla="*/ 1705929 h 6858001"/>
              <a:gd name="connsiteX105" fmla="*/ 2972484 w 8009775"/>
              <a:gd name="connsiteY105" fmla="*/ 1700214 h 6858001"/>
              <a:gd name="connsiteX106" fmla="*/ 2974552 w 8009775"/>
              <a:gd name="connsiteY106" fmla="*/ 1694816 h 6858001"/>
              <a:gd name="connsiteX107" fmla="*/ 2976917 w 8009775"/>
              <a:gd name="connsiteY107" fmla="*/ 1689101 h 6858001"/>
              <a:gd name="connsiteX108" fmla="*/ 2979873 w 8009775"/>
              <a:gd name="connsiteY108" fmla="*/ 1683703 h 6858001"/>
              <a:gd name="connsiteX109" fmla="*/ 2982533 w 8009775"/>
              <a:gd name="connsiteY109" fmla="*/ 1678305 h 6858001"/>
              <a:gd name="connsiteX110" fmla="*/ 2985784 w 8009775"/>
              <a:gd name="connsiteY110" fmla="*/ 1673226 h 6858001"/>
              <a:gd name="connsiteX111" fmla="*/ 2989331 w 8009775"/>
              <a:gd name="connsiteY111" fmla="*/ 1668145 h 6858001"/>
              <a:gd name="connsiteX112" fmla="*/ 2992878 w 8009775"/>
              <a:gd name="connsiteY112" fmla="*/ 1663066 h 6858001"/>
              <a:gd name="connsiteX113" fmla="*/ 2997311 w 8009775"/>
              <a:gd name="connsiteY113" fmla="*/ 1658621 h 6858001"/>
              <a:gd name="connsiteX114" fmla="*/ 3001744 w 8009775"/>
              <a:gd name="connsiteY114" fmla="*/ 1653859 h 6858001"/>
              <a:gd name="connsiteX115" fmla="*/ 3006178 w 8009775"/>
              <a:gd name="connsiteY115" fmla="*/ 1649414 h 6858001"/>
              <a:gd name="connsiteX116" fmla="*/ 3010907 w 8009775"/>
              <a:gd name="connsiteY116" fmla="*/ 1645603 h 6858001"/>
              <a:gd name="connsiteX117" fmla="*/ 3015932 w 8009775"/>
              <a:gd name="connsiteY117" fmla="*/ 1641794 h 6858001"/>
              <a:gd name="connsiteX118" fmla="*/ 3020956 w 8009775"/>
              <a:gd name="connsiteY118" fmla="*/ 1637984 h 6858001"/>
              <a:gd name="connsiteX119" fmla="*/ 3025981 w 8009775"/>
              <a:gd name="connsiteY119" fmla="*/ 1634809 h 6858001"/>
              <a:gd name="connsiteX120" fmla="*/ 3031596 w 8009775"/>
              <a:gd name="connsiteY120" fmla="*/ 1631950 h 6858001"/>
              <a:gd name="connsiteX121" fmla="*/ 3036916 w 8009775"/>
              <a:gd name="connsiteY121" fmla="*/ 1629094 h 6858001"/>
              <a:gd name="connsiteX122" fmla="*/ 3042532 w 8009775"/>
              <a:gd name="connsiteY122" fmla="*/ 1626871 h 6858001"/>
              <a:gd name="connsiteX123" fmla="*/ 3047852 w 8009775"/>
              <a:gd name="connsiteY123" fmla="*/ 1624649 h 6858001"/>
              <a:gd name="connsiteX124" fmla="*/ 3053764 w 8009775"/>
              <a:gd name="connsiteY124" fmla="*/ 1623061 h 6858001"/>
              <a:gd name="connsiteX125" fmla="*/ 3059379 w 8009775"/>
              <a:gd name="connsiteY125" fmla="*/ 1621155 h 6858001"/>
              <a:gd name="connsiteX126" fmla="*/ 3065291 w 8009775"/>
              <a:gd name="connsiteY126" fmla="*/ 1620204 h 6858001"/>
              <a:gd name="connsiteX127" fmla="*/ 3070906 w 8009775"/>
              <a:gd name="connsiteY127" fmla="*/ 1618934 h 6858001"/>
              <a:gd name="connsiteX128" fmla="*/ 3077113 w 8009775"/>
              <a:gd name="connsiteY128" fmla="*/ 1618299 h 6858001"/>
              <a:gd name="connsiteX129" fmla="*/ 3082729 w 8009775"/>
              <a:gd name="connsiteY129" fmla="*/ 1617981 h 6858001"/>
              <a:gd name="connsiteX130" fmla="*/ 3088936 w 8009775"/>
              <a:gd name="connsiteY130" fmla="*/ 1617981 h 6858001"/>
              <a:gd name="connsiteX131" fmla="*/ 3094552 w 8009775"/>
              <a:gd name="connsiteY131" fmla="*/ 1617981 h 6858001"/>
              <a:gd name="connsiteX132" fmla="*/ 3100758 w 8009775"/>
              <a:gd name="connsiteY132" fmla="*/ 1618299 h 6858001"/>
              <a:gd name="connsiteX133" fmla="*/ 3106670 w 8009775"/>
              <a:gd name="connsiteY133" fmla="*/ 1618934 h 6858001"/>
              <a:gd name="connsiteX134" fmla="*/ 3112285 w 8009775"/>
              <a:gd name="connsiteY134" fmla="*/ 1620204 h 6858001"/>
              <a:gd name="connsiteX135" fmla="*/ 3117901 w 8009775"/>
              <a:gd name="connsiteY135" fmla="*/ 1621155 h 6858001"/>
              <a:gd name="connsiteX136" fmla="*/ 3123812 w 8009775"/>
              <a:gd name="connsiteY136" fmla="*/ 1623061 h 6858001"/>
              <a:gd name="connsiteX137" fmla="*/ 3129428 w 8009775"/>
              <a:gd name="connsiteY137" fmla="*/ 1624649 h 6858001"/>
              <a:gd name="connsiteX138" fmla="*/ 3135339 w 8009775"/>
              <a:gd name="connsiteY138" fmla="*/ 1626871 h 6858001"/>
              <a:gd name="connsiteX139" fmla="*/ 3140660 w 8009775"/>
              <a:gd name="connsiteY139" fmla="*/ 1629094 h 6858001"/>
              <a:gd name="connsiteX140" fmla="*/ 3145980 w 8009775"/>
              <a:gd name="connsiteY140" fmla="*/ 1631950 h 6858001"/>
              <a:gd name="connsiteX141" fmla="*/ 3151300 w 8009775"/>
              <a:gd name="connsiteY141" fmla="*/ 1634809 h 6858001"/>
              <a:gd name="connsiteX142" fmla="*/ 3156324 w 8009775"/>
              <a:gd name="connsiteY142" fmla="*/ 1637984 h 6858001"/>
              <a:gd name="connsiteX143" fmla="*/ 3161349 w 8009775"/>
              <a:gd name="connsiteY143" fmla="*/ 1641794 h 6858001"/>
              <a:gd name="connsiteX144" fmla="*/ 3166374 w 8009775"/>
              <a:gd name="connsiteY144" fmla="*/ 1645603 h 6858001"/>
              <a:gd name="connsiteX145" fmla="*/ 3171102 w 8009775"/>
              <a:gd name="connsiteY145" fmla="*/ 1649414 h 6858001"/>
              <a:gd name="connsiteX146" fmla="*/ 3175832 w 8009775"/>
              <a:gd name="connsiteY146" fmla="*/ 1653859 h 6858001"/>
              <a:gd name="connsiteX147" fmla="*/ 3844692 w 8009775"/>
              <a:gd name="connsiteY147" fmla="*/ 2322830 h 6858001"/>
              <a:gd name="connsiteX148" fmla="*/ 3849421 w 8009775"/>
              <a:gd name="connsiteY148" fmla="*/ 2326958 h 6858001"/>
              <a:gd name="connsiteX149" fmla="*/ 3854150 w 8009775"/>
              <a:gd name="connsiteY149" fmla="*/ 2331085 h 6858001"/>
              <a:gd name="connsiteX150" fmla="*/ 3859175 w 8009775"/>
              <a:gd name="connsiteY150" fmla="*/ 2334895 h 6858001"/>
              <a:gd name="connsiteX151" fmla="*/ 3864199 w 8009775"/>
              <a:gd name="connsiteY151" fmla="*/ 2338705 h 6858001"/>
              <a:gd name="connsiteX152" fmla="*/ 3869224 w 8009775"/>
              <a:gd name="connsiteY152" fmla="*/ 2341880 h 6858001"/>
              <a:gd name="connsiteX153" fmla="*/ 3874544 w 8009775"/>
              <a:gd name="connsiteY153" fmla="*/ 2344738 h 6858001"/>
              <a:gd name="connsiteX154" fmla="*/ 3879864 w 8009775"/>
              <a:gd name="connsiteY154" fmla="*/ 2347595 h 6858001"/>
              <a:gd name="connsiteX155" fmla="*/ 3885775 w 8009775"/>
              <a:gd name="connsiteY155" fmla="*/ 2349818 h 6858001"/>
              <a:gd name="connsiteX156" fmla="*/ 3891096 w 8009775"/>
              <a:gd name="connsiteY156" fmla="*/ 2351723 h 6858001"/>
              <a:gd name="connsiteX157" fmla="*/ 3896711 w 8009775"/>
              <a:gd name="connsiteY157" fmla="*/ 2353628 h 6858001"/>
              <a:gd name="connsiteX158" fmla="*/ 3902623 w 8009775"/>
              <a:gd name="connsiteY158" fmla="*/ 2355534 h 6858001"/>
              <a:gd name="connsiteX159" fmla="*/ 3908238 w 8009775"/>
              <a:gd name="connsiteY159" fmla="*/ 2356485 h 6858001"/>
              <a:gd name="connsiteX160" fmla="*/ 3914150 w 8009775"/>
              <a:gd name="connsiteY160" fmla="*/ 2357755 h 6858001"/>
              <a:gd name="connsiteX161" fmla="*/ 3920061 w 8009775"/>
              <a:gd name="connsiteY161" fmla="*/ 2358391 h 6858001"/>
              <a:gd name="connsiteX162" fmla="*/ 3925972 w 8009775"/>
              <a:gd name="connsiteY162" fmla="*/ 2358708 h 6858001"/>
              <a:gd name="connsiteX163" fmla="*/ 3931883 w 8009775"/>
              <a:gd name="connsiteY163" fmla="*/ 2358708 h 6858001"/>
              <a:gd name="connsiteX164" fmla="*/ 3937795 w 8009775"/>
              <a:gd name="connsiteY164" fmla="*/ 2358708 h 6858001"/>
              <a:gd name="connsiteX165" fmla="*/ 3943706 w 8009775"/>
              <a:gd name="connsiteY165" fmla="*/ 2358391 h 6858001"/>
              <a:gd name="connsiteX166" fmla="*/ 3949617 w 8009775"/>
              <a:gd name="connsiteY166" fmla="*/ 2357755 h 6858001"/>
              <a:gd name="connsiteX167" fmla="*/ 3955233 w 8009775"/>
              <a:gd name="connsiteY167" fmla="*/ 2356485 h 6858001"/>
              <a:gd name="connsiteX168" fmla="*/ 3961144 w 8009775"/>
              <a:gd name="connsiteY168" fmla="*/ 2355534 h 6858001"/>
              <a:gd name="connsiteX169" fmla="*/ 3966760 w 8009775"/>
              <a:gd name="connsiteY169" fmla="*/ 2353628 h 6858001"/>
              <a:gd name="connsiteX170" fmla="*/ 3972671 w 8009775"/>
              <a:gd name="connsiteY170" fmla="*/ 2351723 h 6858001"/>
              <a:gd name="connsiteX171" fmla="*/ 3978287 w 8009775"/>
              <a:gd name="connsiteY171" fmla="*/ 2349818 h 6858001"/>
              <a:gd name="connsiteX172" fmla="*/ 3983607 w 8009775"/>
              <a:gd name="connsiteY172" fmla="*/ 2347595 h 6858001"/>
              <a:gd name="connsiteX173" fmla="*/ 3989223 w 8009775"/>
              <a:gd name="connsiteY173" fmla="*/ 2344738 h 6858001"/>
              <a:gd name="connsiteX174" fmla="*/ 3994543 w 8009775"/>
              <a:gd name="connsiteY174" fmla="*/ 2341880 h 6858001"/>
              <a:gd name="connsiteX175" fmla="*/ 3999567 w 8009775"/>
              <a:gd name="connsiteY175" fmla="*/ 2338705 h 6858001"/>
              <a:gd name="connsiteX176" fmla="*/ 4004888 w 8009775"/>
              <a:gd name="connsiteY176" fmla="*/ 2334895 h 6858001"/>
              <a:gd name="connsiteX177" fmla="*/ 4009617 w 8009775"/>
              <a:gd name="connsiteY177" fmla="*/ 2331085 h 6858001"/>
              <a:gd name="connsiteX178" fmla="*/ 4014346 w 8009775"/>
              <a:gd name="connsiteY178" fmla="*/ 2326958 h 6858001"/>
              <a:gd name="connsiteX179" fmla="*/ 4018779 w 8009775"/>
              <a:gd name="connsiteY179" fmla="*/ 2322830 h 6858001"/>
              <a:gd name="connsiteX180" fmla="*/ 4023213 w 8009775"/>
              <a:gd name="connsiteY180" fmla="*/ 2318068 h 6858001"/>
              <a:gd name="connsiteX181" fmla="*/ 4027646 w 8009775"/>
              <a:gd name="connsiteY181" fmla="*/ 2313306 h 6858001"/>
              <a:gd name="connsiteX182" fmla="*/ 4031193 w 8009775"/>
              <a:gd name="connsiteY182" fmla="*/ 2308544 h 6858001"/>
              <a:gd name="connsiteX183" fmla="*/ 4034740 w 8009775"/>
              <a:gd name="connsiteY183" fmla="*/ 2303463 h 6858001"/>
              <a:gd name="connsiteX184" fmla="*/ 4037991 w 8009775"/>
              <a:gd name="connsiteY184" fmla="*/ 2298384 h 6858001"/>
              <a:gd name="connsiteX185" fmla="*/ 4040946 w 8009775"/>
              <a:gd name="connsiteY185" fmla="*/ 2292985 h 6858001"/>
              <a:gd name="connsiteX186" fmla="*/ 4043606 w 8009775"/>
              <a:gd name="connsiteY186" fmla="*/ 2287588 h 6858001"/>
              <a:gd name="connsiteX187" fmla="*/ 4046267 w 8009775"/>
              <a:gd name="connsiteY187" fmla="*/ 2281873 h 6858001"/>
              <a:gd name="connsiteX188" fmla="*/ 4048040 w 8009775"/>
              <a:gd name="connsiteY188" fmla="*/ 2276476 h 6858001"/>
              <a:gd name="connsiteX189" fmla="*/ 4050109 w 8009775"/>
              <a:gd name="connsiteY189" fmla="*/ 2270761 h 6858001"/>
              <a:gd name="connsiteX190" fmla="*/ 4051587 w 8009775"/>
              <a:gd name="connsiteY190" fmla="*/ 2265046 h 6858001"/>
              <a:gd name="connsiteX191" fmla="*/ 4052769 w 8009775"/>
              <a:gd name="connsiteY191" fmla="*/ 2259331 h 6858001"/>
              <a:gd name="connsiteX192" fmla="*/ 4053656 w 8009775"/>
              <a:gd name="connsiteY192" fmla="*/ 2253298 h 6858001"/>
              <a:gd name="connsiteX193" fmla="*/ 4054542 w 8009775"/>
              <a:gd name="connsiteY193" fmla="*/ 2247266 h 6858001"/>
              <a:gd name="connsiteX194" fmla="*/ 4054838 w 8009775"/>
              <a:gd name="connsiteY194" fmla="*/ 2241551 h 6858001"/>
              <a:gd name="connsiteX195" fmla="*/ 4055133 w 8009775"/>
              <a:gd name="connsiteY195" fmla="*/ 2235519 h 6858001"/>
              <a:gd name="connsiteX196" fmla="*/ 4054838 w 8009775"/>
              <a:gd name="connsiteY196" fmla="*/ 2229804 h 6858001"/>
              <a:gd name="connsiteX197" fmla="*/ 4054542 w 8009775"/>
              <a:gd name="connsiteY197" fmla="*/ 2223770 h 6858001"/>
              <a:gd name="connsiteX198" fmla="*/ 4053656 w 8009775"/>
              <a:gd name="connsiteY198" fmla="*/ 2217739 h 6858001"/>
              <a:gd name="connsiteX199" fmla="*/ 4052769 w 8009775"/>
              <a:gd name="connsiteY199" fmla="*/ 2212024 h 6858001"/>
              <a:gd name="connsiteX200" fmla="*/ 4051587 w 8009775"/>
              <a:gd name="connsiteY200" fmla="*/ 2206309 h 6858001"/>
              <a:gd name="connsiteX201" fmla="*/ 4050109 w 8009775"/>
              <a:gd name="connsiteY201" fmla="*/ 2200593 h 6858001"/>
              <a:gd name="connsiteX202" fmla="*/ 4048040 w 8009775"/>
              <a:gd name="connsiteY202" fmla="*/ 2194878 h 6858001"/>
              <a:gd name="connsiteX203" fmla="*/ 4046267 w 8009775"/>
              <a:gd name="connsiteY203" fmla="*/ 2189163 h 6858001"/>
              <a:gd name="connsiteX204" fmla="*/ 4043606 w 8009775"/>
              <a:gd name="connsiteY204" fmla="*/ 2183765 h 6858001"/>
              <a:gd name="connsiteX205" fmla="*/ 4040946 w 8009775"/>
              <a:gd name="connsiteY205" fmla="*/ 2178368 h 6858001"/>
              <a:gd name="connsiteX206" fmla="*/ 4037991 w 8009775"/>
              <a:gd name="connsiteY206" fmla="*/ 2172970 h 6858001"/>
              <a:gd name="connsiteX207" fmla="*/ 4034740 w 8009775"/>
              <a:gd name="connsiteY207" fmla="*/ 2167890 h 6858001"/>
              <a:gd name="connsiteX208" fmla="*/ 4031193 w 8009775"/>
              <a:gd name="connsiteY208" fmla="*/ 2162494 h 6858001"/>
              <a:gd name="connsiteX209" fmla="*/ 4027646 w 8009775"/>
              <a:gd name="connsiteY209" fmla="*/ 2157730 h 6858001"/>
              <a:gd name="connsiteX210" fmla="*/ 4023213 w 8009775"/>
              <a:gd name="connsiteY210" fmla="*/ 2153285 h 6858001"/>
              <a:gd name="connsiteX211" fmla="*/ 4018779 w 8009775"/>
              <a:gd name="connsiteY211" fmla="*/ 2148523 h 6858001"/>
              <a:gd name="connsiteX212" fmla="*/ 3632182 w 8009775"/>
              <a:gd name="connsiteY212" fmla="*/ 1761490 h 6858001"/>
              <a:gd name="connsiteX213" fmla="*/ 3435928 w 8009775"/>
              <a:gd name="connsiteY213" fmla="*/ 1565276 h 6858001"/>
              <a:gd name="connsiteX214" fmla="*/ 3431198 w 8009775"/>
              <a:gd name="connsiteY214" fmla="*/ 1560514 h 6858001"/>
              <a:gd name="connsiteX215" fmla="*/ 3427356 w 8009775"/>
              <a:gd name="connsiteY215" fmla="*/ 1555751 h 6858001"/>
              <a:gd name="connsiteX216" fmla="*/ 3423218 w 8009775"/>
              <a:gd name="connsiteY216" fmla="*/ 1550671 h 6858001"/>
              <a:gd name="connsiteX217" fmla="*/ 3420262 w 8009775"/>
              <a:gd name="connsiteY217" fmla="*/ 1545909 h 6858001"/>
              <a:gd name="connsiteX218" fmla="*/ 3417012 w 8009775"/>
              <a:gd name="connsiteY218" fmla="*/ 1540829 h 6858001"/>
              <a:gd name="connsiteX219" fmla="*/ 3413760 w 8009775"/>
              <a:gd name="connsiteY219" fmla="*/ 1535430 h 6858001"/>
              <a:gd name="connsiteX220" fmla="*/ 3411100 w 8009775"/>
              <a:gd name="connsiteY220" fmla="*/ 1530034 h 6858001"/>
              <a:gd name="connsiteX221" fmla="*/ 3408736 w 8009775"/>
              <a:gd name="connsiteY221" fmla="*/ 1524635 h 6858001"/>
              <a:gd name="connsiteX222" fmla="*/ 3406371 w 8009775"/>
              <a:gd name="connsiteY222" fmla="*/ 1518920 h 6858001"/>
              <a:gd name="connsiteX223" fmla="*/ 3404598 w 8009775"/>
              <a:gd name="connsiteY223" fmla="*/ 1513205 h 6858001"/>
              <a:gd name="connsiteX224" fmla="*/ 3403120 w 8009775"/>
              <a:gd name="connsiteY224" fmla="*/ 1507174 h 6858001"/>
              <a:gd name="connsiteX225" fmla="*/ 3401938 w 8009775"/>
              <a:gd name="connsiteY225" fmla="*/ 1501459 h 6858001"/>
              <a:gd name="connsiteX226" fmla="*/ 3401051 w 8009775"/>
              <a:gd name="connsiteY226" fmla="*/ 1495744 h 6858001"/>
              <a:gd name="connsiteX227" fmla="*/ 3400460 w 8009775"/>
              <a:gd name="connsiteY227" fmla="*/ 1489710 h 6858001"/>
              <a:gd name="connsiteX228" fmla="*/ 3399869 w 8009775"/>
              <a:gd name="connsiteY228" fmla="*/ 1483995 h 6858001"/>
              <a:gd name="connsiteX229" fmla="*/ 3399573 w 8009775"/>
              <a:gd name="connsiteY229" fmla="*/ 1478281 h 6858001"/>
              <a:gd name="connsiteX230" fmla="*/ 3399869 w 8009775"/>
              <a:gd name="connsiteY230" fmla="*/ 1472249 h 6858001"/>
              <a:gd name="connsiteX231" fmla="*/ 3400460 w 8009775"/>
              <a:gd name="connsiteY231" fmla="*/ 1466215 h 6858001"/>
              <a:gd name="connsiteX232" fmla="*/ 3401051 w 8009775"/>
              <a:gd name="connsiteY232" fmla="*/ 1460183 h 6858001"/>
              <a:gd name="connsiteX233" fmla="*/ 3401938 w 8009775"/>
              <a:gd name="connsiteY233" fmla="*/ 1454468 h 6858001"/>
              <a:gd name="connsiteX234" fmla="*/ 3403120 w 8009775"/>
              <a:gd name="connsiteY234" fmla="*/ 1448754 h 6858001"/>
              <a:gd name="connsiteX235" fmla="*/ 3404598 w 8009775"/>
              <a:gd name="connsiteY235" fmla="*/ 1443039 h 6858001"/>
              <a:gd name="connsiteX236" fmla="*/ 3406371 w 8009775"/>
              <a:gd name="connsiteY236" fmla="*/ 1437324 h 6858001"/>
              <a:gd name="connsiteX237" fmla="*/ 3408736 w 8009775"/>
              <a:gd name="connsiteY237" fmla="*/ 1431609 h 6858001"/>
              <a:gd name="connsiteX238" fmla="*/ 3411100 w 8009775"/>
              <a:gd name="connsiteY238" fmla="*/ 1426211 h 6858001"/>
              <a:gd name="connsiteX239" fmla="*/ 3413760 w 8009775"/>
              <a:gd name="connsiteY239" fmla="*/ 1420814 h 6858001"/>
              <a:gd name="connsiteX240" fmla="*/ 3417012 w 8009775"/>
              <a:gd name="connsiteY240" fmla="*/ 1415416 h 6858001"/>
              <a:gd name="connsiteX241" fmla="*/ 3420262 w 8009775"/>
              <a:gd name="connsiteY241" fmla="*/ 1410336 h 6858001"/>
              <a:gd name="connsiteX242" fmla="*/ 3423218 w 8009775"/>
              <a:gd name="connsiteY242" fmla="*/ 1405256 h 6858001"/>
              <a:gd name="connsiteX243" fmla="*/ 3427356 w 8009775"/>
              <a:gd name="connsiteY243" fmla="*/ 1400175 h 6858001"/>
              <a:gd name="connsiteX244" fmla="*/ 3431198 w 8009775"/>
              <a:gd name="connsiteY244" fmla="*/ 1395731 h 6858001"/>
              <a:gd name="connsiteX245" fmla="*/ 3435928 w 8009775"/>
              <a:gd name="connsiteY245" fmla="*/ 1390969 h 6858001"/>
              <a:gd name="connsiteX246" fmla="*/ 3440361 w 8009775"/>
              <a:gd name="connsiteY246" fmla="*/ 1386524 h 6858001"/>
              <a:gd name="connsiteX247" fmla="*/ 3445386 w 8009775"/>
              <a:gd name="connsiteY247" fmla="*/ 1382396 h 6858001"/>
              <a:gd name="connsiteX248" fmla="*/ 3449819 w 8009775"/>
              <a:gd name="connsiteY248" fmla="*/ 1378585 h 6858001"/>
              <a:gd name="connsiteX249" fmla="*/ 3454844 w 8009775"/>
              <a:gd name="connsiteY249" fmla="*/ 1375094 h 6858001"/>
              <a:gd name="connsiteX250" fmla="*/ 3460459 w 8009775"/>
              <a:gd name="connsiteY250" fmla="*/ 1371919 h 6858001"/>
              <a:gd name="connsiteX251" fmla="*/ 3465780 w 8009775"/>
              <a:gd name="connsiteY251" fmla="*/ 1369061 h 6858001"/>
              <a:gd name="connsiteX252" fmla="*/ 3471100 w 8009775"/>
              <a:gd name="connsiteY252" fmla="*/ 1366204 h 6858001"/>
              <a:gd name="connsiteX253" fmla="*/ 3476420 w 8009775"/>
              <a:gd name="connsiteY253" fmla="*/ 1363980 h 6858001"/>
              <a:gd name="connsiteX254" fmla="*/ 3482331 w 8009775"/>
              <a:gd name="connsiteY254" fmla="*/ 1361759 h 6858001"/>
              <a:gd name="connsiteX255" fmla="*/ 3487947 w 8009775"/>
              <a:gd name="connsiteY255" fmla="*/ 1360170 h 6858001"/>
              <a:gd name="connsiteX256" fmla="*/ 3493858 w 8009775"/>
              <a:gd name="connsiteY256" fmla="*/ 1358265 h 6858001"/>
              <a:gd name="connsiteX257" fmla="*/ 3499474 w 8009775"/>
              <a:gd name="connsiteY257" fmla="*/ 1357314 h 6858001"/>
              <a:gd name="connsiteX258" fmla="*/ 3505385 w 8009775"/>
              <a:gd name="connsiteY258" fmla="*/ 1356043 h 6858001"/>
              <a:gd name="connsiteX259" fmla="*/ 3511001 w 8009775"/>
              <a:gd name="connsiteY259" fmla="*/ 1355409 h 6858001"/>
              <a:gd name="connsiteX260" fmla="*/ 3517208 w 8009775"/>
              <a:gd name="connsiteY260" fmla="*/ 1355090 h 6858001"/>
              <a:gd name="connsiteX261" fmla="*/ 3522823 w 8009775"/>
              <a:gd name="connsiteY261" fmla="*/ 1354773 h 6858001"/>
              <a:gd name="connsiteX262" fmla="*/ 3529030 w 8009775"/>
              <a:gd name="connsiteY262" fmla="*/ 1355090 h 6858001"/>
              <a:gd name="connsiteX263" fmla="*/ 3534646 w 8009775"/>
              <a:gd name="connsiteY263" fmla="*/ 1355409 h 6858001"/>
              <a:gd name="connsiteX264" fmla="*/ 3540557 w 8009775"/>
              <a:gd name="connsiteY264" fmla="*/ 1356043 h 6858001"/>
              <a:gd name="connsiteX265" fmla="*/ 3546468 w 8009775"/>
              <a:gd name="connsiteY265" fmla="*/ 1357314 h 6858001"/>
              <a:gd name="connsiteX266" fmla="*/ 3552380 w 8009775"/>
              <a:gd name="connsiteY266" fmla="*/ 1358265 h 6858001"/>
              <a:gd name="connsiteX267" fmla="*/ 3557995 w 8009775"/>
              <a:gd name="connsiteY267" fmla="*/ 1360170 h 6858001"/>
              <a:gd name="connsiteX268" fmla="*/ 3563906 w 8009775"/>
              <a:gd name="connsiteY268" fmla="*/ 1361759 h 6858001"/>
              <a:gd name="connsiteX269" fmla="*/ 3569227 w 8009775"/>
              <a:gd name="connsiteY269" fmla="*/ 1363980 h 6858001"/>
              <a:gd name="connsiteX270" fmla="*/ 3574842 w 8009775"/>
              <a:gd name="connsiteY270" fmla="*/ 1366204 h 6858001"/>
              <a:gd name="connsiteX271" fmla="*/ 3580458 w 8009775"/>
              <a:gd name="connsiteY271" fmla="*/ 1369061 h 6858001"/>
              <a:gd name="connsiteX272" fmla="*/ 3585778 w 8009775"/>
              <a:gd name="connsiteY272" fmla="*/ 1371919 h 6858001"/>
              <a:gd name="connsiteX273" fmla="*/ 3590803 w 8009775"/>
              <a:gd name="connsiteY273" fmla="*/ 1375094 h 6858001"/>
              <a:gd name="connsiteX274" fmla="*/ 3595828 w 8009775"/>
              <a:gd name="connsiteY274" fmla="*/ 1378585 h 6858001"/>
              <a:gd name="connsiteX275" fmla="*/ 3600852 w 8009775"/>
              <a:gd name="connsiteY275" fmla="*/ 1382396 h 6858001"/>
              <a:gd name="connsiteX276" fmla="*/ 3605581 w 8009775"/>
              <a:gd name="connsiteY276" fmla="*/ 1386524 h 6858001"/>
              <a:gd name="connsiteX277" fmla="*/ 3610014 w 8009775"/>
              <a:gd name="connsiteY277" fmla="*/ 1390969 h 6858001"/>
              <a:gd name="connsiteX278" fmla="*/ 3817500 w 8009775"/>
              <a:gd name="connsiteY278" fmla="*/ 1598296 h 6858001"/>
              <a:gd name="connsiteX279" fmla="*/ 3821934 w 8009775"/>
              <a:gd name="connsiteY279" fmla="*/ 1602423 h 6858001"/>
              <a:gd name="connsiteX280" fmla="*/ 3826663 w 8009775"/>
              <a:gd name="connsiteY280" fmla="*/ 1606869 h 6858001"/>
              <a:gd name="connsiteX281" fmla="*/ 3831687 w 8009775"/>
              <a:gd name="connsiteY281" fmla="*/ 1610361 h 6858001"/>
              <a:gd name="connsiteX282" fmla="*/ 3836712 w 8009775"/>
              <a:gd name="connsiteY282" fmla="*/ 1613854 h 6858001"/>
              <a:gd name="connsiteX283" fmla="*/ 3841736 w 8009775"/>
              <a:gd name="connsiteY283" fmla="*/ 1617345 h 6858001"/>
              <a:gd name="connsiteX284" fmla="*/ 3847352 w 8009775"/>
              <a:gd name="connsiteY284" fmla="*/ 1620204 h 6858001"/>
              <a:gd name="connsiteX285" fmla="*/ 3852672 w 8009775"/>
              <a:gd name="connsiteY285" fmla="*/ 1623061 h 6858001"/>
              <a:gd name="connsiteX286" fmla="*/ 3857992 w 8009775"/>
              <a:gd name="connsiteY286" fmla="*/ 1625283 h 6858001"/>
              <a:gd name="connsiteX287" fmla="*/ 3863608 w 8009775"/>
              <a:gd name="connsiteY287" fmla="*/ 1627189 h 6858001"/>
              <a:gd name="connsiteX288" fmla="*/ 3869519 w 8009775"/>
              <a:gd name="connsiteY288" fmla="*/ 1629094 h 6858001"/>
              <a:gd name="connsiteX289" fmla="*/ 3875135 w 8009775"/>
              <a:gd name="connsiteY289" fmla="*/ 1630998 h 6858001"/>
              <a:gd name="connsiteX290" fmla="*/ 3881046 w 8009775"/>
              <a:gd name="connsiteY290" fmla="*/ 1631950 h 6858001"/>
              <a:gd name="connsiteX291" fmla="*/ 3886662 w 8009775"/>
              <a:gd name="connsiteY291" fmla="*/ 1632904 h 6858001"/>
              <a:gd name="connsiteX292" fmla="*/ 3892869 w 8009775"/>
              <a:gd name="connsiteY292" fmla="*/ 1633856 h 6858001"/>
              <a:gd name="connsiteX293" fmla="*/ 3898485 w 8009775"/>
              <a:gd name="connsiteY293" fmla="*/ 1634174 h 6858001"/>
              <a:gd name="connsiteX294" fmla="*/ 3904396 w 8009775"/>
              <a:gd name="connsiteY294" fmla="*/ 1634174 h 6858001"/>
              <a:gd name="connsiteX295" fmla="*/ 3910307 w 8009775"/>
              <a:gd name="connsiteY295" fmla="*/ 1634174 h 6858001"/>
              <a:gd name="connsiteX296" fmla="*/ 3916219 w 8009775"/>
              <a:gd name="connsiteY296" fmla="*/ 1633856 h 6858001"/>
              <a:gd name="connsiteX297" fmla="*/ 3922425 w 8009775"/>
              <a:gd name="connsiteY297" fmla="*/ 1632904 h 6858001"/>
              <a:gd name="connsiteX298" fmla="*/ 3928041 w 8009775"/>
              <a:gd name="connsiteY298" fmla="*/ 1631950 h 6858001"/>
              <a:gd name="connsiteX299" fmla="*/ 3933657 w 8009775"/>
              <a:gd name="connsiteY299" fmla="*/ 1630998 h 6858001"/>
              <a:gd name="connsiteX300" fmla="*/ 3939568 w 8009775"/>
              <a:gd name="connsiteY300" fmla="*/ 1629094 h 6858001"/>
              <a:gd name="connsiteX301" fmla="*/ 3945184 w 8009775"/>
              <a:gd name="connsiteY301" fmla="*/ 1627189 h 6858001"/>
              <a:gd name="connsiteX302" fmla="*/ 3950799 w 8009775"/>
              <a:gd name="connsiteY302" fmla="*/ 1625283 h 6858001"/>
              <a:gd name="connsiteX303" fmla="*/ 3956415 w 8009775"/>
              <a:gd name="connsiteY303" fmla="*/ 1623061 h 6858001"/>
              <a:gd name="connsiteX304" fmla="*/ 3961735 w 8009775"/>
              <a:gd name="connsiteY304" fmla="*/ 1620204 h 6858001"/>
              <a:gd name="connsiteX305" fmla="*/ 3967055 w 8009775"/>
              <a:gd name="connsiteY305" fmla="*/ 1617345 h 6858001"/>
              <a:gd name="connsiteX306" fmla="*/ 3972376 w 8009775"/>
              <a:gd name="connsiteY306" fmla="*/ 1613854 h 6858001"/>
              <a:gd name="connsiteX307" fmla="*/ 3977400 w 8009775"/>
              <a:gd name="connsiteY307" fmla="*/ 1610361 h 6858001"/>
              <a:gd name="connsiteX308" fmla="*/ 3982425 w 8009775"/>
              <a:gd name="connsiteY308" fmla="*/ 1606869 h 6858001"/>
              <a:gd name="connsiteX309" fmla="*/ 3986858 w 8009775"/>
              <a:gd name="connsiteY309" fmla="*/ 1602423 h 6858001"/>
              <a:gd name="connsiteX310" fmla="*/ 3991587 w 8009775"/>
              <a:gd name="connsiteY310" fmla="*/ 1598296 h 6858001"/>
              <a:gd name="connsiteX311" fmla="*/ 3996021 w 8009775"/>
              <a:gd name="connsiteY311" fmla="*/ 1593533 h 6858001"/>
              <a:gd name="connsiteX312" fmla="*/ 4000159 w 8009775"/>
              <a:gd name="connsiteY312" fmla="*/ 1588771 h 6858001"/>
              <a:gd name="connsiteX313" fmla="*/ 4003705 w 8009775"/>
              <a:gd name="connsiteY313" fmla="*/ 1583691 h 6858001"/>
              <a:gd name="connsiteX314" fmla="*/ 4007548 w 8009775"/>
              <a:gd name="connsiteY314" fmla="*/ 1578928 h 6858001"/>
              <a:gd name="connsiteX315" fmla="*/ 4010799 w 8009775"/>
              <a:gd name="connsiteY315" fmla="*/ 1573849 h 6858001"/>
              <a:gd name="connsiteX316" fmla="*/ 4013459 w 8009775"/>
              <a:gd name="connsiteY316" fmla="*/ 1568451 h 6858001"/>
              <a:gd name="connsiteX317" fmla="*/ 4016415 w 8009775"/>
              <a:gd name="connsiteY317" fmla="*/ 1563054 h 6858001"/>
              <a:gd name="connsiteX318" fmla="*/ 4018484 w 8009775"/>
              <a:gd name="connsiteY318" fmla="*/ 1557339 h 6858001"/>
              <a:gd name="connsiteX319" fmla="*/ 4020848 w 8009775"/>
              <a:gd name="connsiteY319" fmla="*/ 1551941 h 6858001"/>
              <a:gd name="connsiteX320" fmla="*/ 4022621 w 8009775"/>
              <a:gd name="connsiteY320" fmla="*/ 1546226 h 6858001"/>
              <a:gd name="connsiteX321" fmla="*/ 4024395 w 8009775"/>
              <a:gd name="connsiteY321" fmla="*/ 1540511 h 6858001"/>
              <a:gd name="connsiteX322" fmla="*/ 4025282 w 8009775"/>
              <a:gd name="connsiteY322" fmla="*/ 1534478 h 6858001"/>
              <a:gd name="connsiteX323" fmla="*/ 4026464 w 8009775"/>
              <a:gd name="connsiteY323" fmla="*/ 1528763 h 6858001"/>
              <a:gd name="connsiteX324" fmla="*/ 4027055 w 8009775"/>
              <a:gd name="connsiteY324" fmla="*/ 1522731 h 6858001"/>
              <a:gd name="connsiteX325" fmla="*/ 4027646 w 8009775"/>
              <a:gd name="connsiteY325" fmla="*/ 1517016 h 6858001"/>
              <a:gd name="connsiteX326" fmla="*/ 4027646 w 8009775"/>
              <a:gd name="connsiteY326" fmla="*/ 1510984 h 6858001"/>
              <a:gd name="connsiteX327" fmla="*/ 4027646 w 8009775"/>
              <a:gd name="connsiteY327" fmla="*/ 1505268 h 6858001"/>
              <a:gd name="connsiteX328" fmla="*/ 4027055 w 8009775"/>
              <a:gd name="connsiteY328" fmla="*/ 1499553 h 6858001"/>
              <a:gd name="connsiteX329" fmla="*/ 4026464 w 8009775"/>
              <a:gd name="connsiteY329" fmla="*/ 1493204 h 6858001"/>
              <a:gd name="connsiteX330" fmla="*/ 4025282 w 8009775"/>
              <a:gd name="connsiteY330" fmla="*/ 1487489 h 6858001"/>
              <a:gd name="connsiteX331" fmla="*/ 4024395 w 8009775"/>
              <a:gd name="connsiteY331" fmla="*/ 1481773 h 6858001"/>
              <a:gd name="connsiteX332" fmla="*/ 4022621 w 8009775"/>
              <a:gd name="connsiteY332" fmla="*/ 1476058 h 6858001"/>
              <a:gd name="connsiteX333" fmla="*/ 4020848 w 8009775"/>
              <a:gd name="connsiteY333" fmla="*/ 1470343 h 6858001"/>
              <a:gd name="connsiteX334" fmla="*/ 4018484 w 8009775"/>
              <a:gd name="connsiteY334" fmla="*/ 1464629 h 6858001"/>
              <a:gd name="connsiteX335" fmla="*/ 4016415 w 8009775"/>
              <a:gd name="connsiteY335" fmla="*/ 1459231 h 6858001"/>
              <a:gd name="connsiteX336" fmla="*/ 4013459 w 8009775"/>
              <a:gd name="connsiteY336" fmla="*/ 1453834 h 6858001"/>
              <a:gd name="connsiteX337" fmla="*/ 4010799 w 8009775"/>
              <a:gd name="connsiteY337" fmla="*/ 1448436 h 6858001"/>
              <a:gd name="connsiteX338" fmla="*/ 4007548 w 8009775"/>
              <a:gd name="connsiteY338" fmla="*/ 1443356 h 6858001"/>
              <a:gd name="connsiteX339" fmla="*/ 4003705 w 8009775"/>
              <a:gd name="connsiteY339" fmla="*/ 1438275 h 6858001"/>
              <a:gd name="connsiteX340" fmla="*/ 4000159 w 8009775"/>
              <a:gd name="connsiteY340" fmla="*/ 1433195 h 6858001"/>
              <a:gd name="connsiteX341" fmla="*/ 3996021 w 8009775"/>
              <a:gd name="connsiteY341" fmla="*/ 1428751 h 6858001"/>
              <a:gd name="connsiteX342" fmla="*/ 3991587 w 8009775"/>
              <a:gd name="connsiteY342" fmla="*/ 1423988 h 6858001"/>
              <a:gd name="connsiteX343" fmla="*/ 3323022 w 8009775"/>
              <a:gd name="connsiteY343" fmla="*/ 755333 h 6858001"/>
              <a:gd name="connsiteX344" fmla="*/ 3316815 w 8009775"/>
              <a:gd name="connsiteY344" fmla="*/ 748348 h 6858001"/>
              <a:gd name="connsiteX345" fmla="*/ 3310904 w 8009775"/>
              <a:gd name="connsiteY345" fmla="*/ 741045 h 6858001"/>
              <a:gd name="connsiteX346" fmla="*/ 3305584 w 8009775"/>
              <a:gd name="connsiteY346" fmla="*/ 733108 h 6858001"/>
              <a:gd name="connsiteX347" fmla="*/ 3300855 w 8009775"/>
              <a:gd name="connsiteY347" fmla="*/ 725170 h 6858001"/>
              <a:gd name="connsiteX348" fmla="*/ 3297308 w 8009775"/>
              <a:gd name="connsiteY348" fmla="*/ 716915 h 6858001"/>
              <a:gd name="connsiteX349" fmla="*/ 3293761 w 8009775"/>
              <a:gd name="connsiteY349" fmla="*/ 708660 h 6858001"/>
              <a:gd name="connsiteX350" fmla="*/ 3291101 w 8009775"/>
              <a:gd name="connsiteY350" fmla="*/ 699770 h 6858001"/>
              <a:gd name="connsiteX351" fmla="*/ 3289328 w 8009775"/>
              <a:gd name="connsiteY351" fmla="*/ 691198 h 6858001"/>
              <a:gd name="connsiteX352" fmla="*/ 2596527 w 8009775"/>
              <a:gd name="connsiteY352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507651 w 8009775"/>
              <a:gd name="connsiteY73" fmla="*/ 6858001 h 6858001"/>
              <a:gd name="connsiteX74" fmla="*/ 7507650 w 8009775"/>
              <a:gd name="connsiteY74" fmla="*/ 6858000 h 6858001"/>
              <a:gd name="connsiteX75" fmla="*/ 8009775 w 8009775"/>
              <a:gd name="connsiteY75" fmla="*/ 6858000 h 6858001"/>
              <a:gd name="connsiteX76" fmla="*/ 3996316 w 8009775"/>
              <a:gd name="connsiteY76" fmla="*/ 2818448 h 6858001"/>
              <a:gd name="connsiteX77" fmla="*/ 3980947 w 8009775"/>
              <a:gd name="connsiteY77" fmla="*/ 2804795 h 6858001"/>
              <a:gd name="connsiteX78" fmla="*/ 3965282 w 8009775"/>
              <a:gd name="connsiteY78" fmla="*/ 2791144 h 6858001"/>
              <a:gd name="connsiteX79" fmla="*/ 3950799 w 8009775"/>
              <a:gd name="connsiteY79" fmla="*/ 2776856 h 6858001"/>
              <a:gd name="connsiteX80" fmla="*/ 3936021 w 8009775"/>
              <a:gd name="connsiteY80" fmla="*/ 2762568 h 6858001"/>
              <a:gd name="connsiteX81" fmla="*/ 3001744 w 8009775"/>
              <a:gd name="connsiteY81" fmla="*/ 1828166 h 6858001"/>
              <a:gd name="connsiteX82" fmla="*/ 2997311 w 8009775"/>
              <a:gd name="connsiteY82" fmla="*/ 1823404 h 6858001"/>
              <a:gd name="connsiteX83" fmla="*/ 2992878 w 8009775"/>
              <a:gd name="connsiteY83" fmla="*/ 1818640 h 6858001"/>
              <a:gd name="connsiteX84" fmla="*/ 2989331 w 8009775"/>
              <a:gd name="connsiteY84" fmla="*/ 1814195 h 6858001"/>
              <a:gd name="connsiteX85" fmla="*/ 2985784 w 8009775"/>
              <a:gd name="connsiteY85" fmla="*/ 1808799 h 6858001"/>
              <a:gd name="connsiteX86" fmla="*/ 2982533 w 8009775"/>
              <a:gd name="connsiteY86" fmla="*/ 1803718 h 6858001"/>
              <a:gd name="connsiteX87" fmla="*/ 2979873 w 8009775"/>
              <a:gd name="connsiteY87" fmla="*/ 1798321 h 6858001"/>
              <a:gd name="connsiteX88" fmla="*/ 2976917 w 8009775"/>
              <a:gd name="connsiteY88" fmla="*/ 1792924 h 6858001"/>
              <a:gd name="connsiteX89" fmla="*/ 2974552 w 8009775"/>
              <a:gd name="connsiteY89" fmla="*/ 1787526 h 6858001"/>
              <a:gd name="connsiteX90" fmla="*/ 2972484 w 8009775"/>
              <a:gd name="connsiteY90" fmla="*/ 1781811 h 6858001"/>
              <a:gd name="connsiteX91" fmla="*/ 2970710 w 8009775"/>
              <a:gd name="connsiteY91" fmla="*/ 1776095 h 6858001"/>
              <a:gd name="connsiteX92" fmla="*/ 2968937 w 8009775"/>
              <a:gd name="connsiteY92" fmla="*/ 1770380 h 6858001"/>
              <a:gd name="connsiteX93" fmla="*/ 2967755 w 8009775"/>
              <a:gd name="connsiteY93" fmla="*/ 1764665 h 6858001"/>
              <a:gd name="connsiteX94" fmla="*/ 2966868 w 8009775"/>
              <a:gd name="connsiteY94" fmla="*/ 1758634 h 6858001"/>
              <a:gd name="connsiteX95" fmla="*/ 2965981 w 8009775"/>
              <a:gd name="connsiteY95" fmla="*/ 1752919 h 6858001"/>
              <a:gd name="connsiteX96" fmla="*/ 2965686 w 8009775"/>
              <a:gd name="connsiteY96" fmla="*/ 1746885 h 6858001"/>
              <a:gd name="connsiteX97" fmla="*/ 2965686 w 8009775"/>
              <a:gd name="connsiteY97" fmla="*/ 1741170 h 6858001"/>
              <a:gd name="connsiteX98" fmla="*/ 2965686 w 8009775"/>
              <a:gd name="connsiteY98" fmla="*/ 1735139 h 6858001"/>
              <a:gd name="connsiteX99" fmla="*/ 2965981 w 8009775"/>
              <a:gd name="connsiteY99" fmla="*/ 1729424 h 6858001"/>
              <a:gd name="connsiteX100" fmla="*/ 2966868 w 8009775"/>
              <a:gd name="connsiteY100" fmla="*/ 1723074 h 6858001"/>
              <a:gd name="connsiteX101" fmla="*/ 2967755 w 8009775"/>
              <a:gd name="connsiteY101" fmla="*/ 1717358 h 6858001"/>
              <a:gd name="connsiteX102" fmla="*/ 2968937 w 8009775"/>
              <a:gd name="connsiteY102" fmla="*/ 1711643 h 6858001"/>
              <a:gd name="connsiteX103" fmla="*/ 2970710 w 8009775"/>
              <a:gd name="connsiteY103" fmla="*/ 1705929 h 6858001"/>
              <a:gd name="connsiteX104" fmla="*/ 2972484 w 8009775"/>
              <a:gd name="connsiteY104" fmla="*/ 1700214 h 6858001"/>
              <a:gd name="connsiteX105" fmla="*/ 2974552 w 8009775"/>
              <a:gd name="connsiteY105" fmla="*/ 1694816 h 6858001"/>
              <a:gd name="connsiteX106" fmla="*/ 2976917 w 8009775"/>
              <a:gd name="connsiteY106" fmla="*/ 1689101 h 6858001"/>
              <a:gd name="connsiteX107" fmla="*/ 2979873 w 8009775"/>
              <a:gd name="connsiteY107" fmla="*/ 1683703 h 6858001"/>
              <a:gd name="connsiteX108" fmla="*/ 2982533 w 8009775"/>
              <a:gd name="connsiteY108" fmla="*/ 1678305 h 6858001"/>
              <a:gd name="connsiteX109" fmla="*/ 2985784 w 8009775"/>
              <a:gd name="connsiteY109" fmla="*/ 1673226 h 6858001"/>
              <a:gd name="connsiteX110" fmla="*/ 2989331 w 8009775"/>
              <a:gd name="connsiteY110" fmla="*/ 1668145 h 6858001"/>
              <a:gd name="connsiteX111" fmla="*/ 2992878 w 8009775"/>
              <a:gd name="connsiteY111" fmla="*/ 1663066 h 6858001"/>
              <a:gd name="connsiteX112" fmla="*/ 2997311 w 8009775"/>
              <a:gd name="connsiteY112" fmla="*/ 1658621 h 6858001"/>
              <a:gd name="connsiteX113" fmla="*/ 3001744 w 8009775"/>
              <a:gd name="connsiteY113" fmla="*/ 1653859 h 6858001"/>
              <a:gd name="connsiteX114" fmla="*/ 3006178 w 8009775"/>
              <a:gd name="connsiteY114" fmla="*/ 1649414 h 6858001"/>
              <a:gd name="connsiteX115" fmla="*/ 3010907 w 8009775"/>
              <a:gd name="connsiteY115" fmla="*/ 1645603 h 6858001"/>
              <a:gd name="connsiteX116" fmla="*/ 3015932 w 8009775"/>
              <a:gd name="connsiteY116" fmla="*/ 1641794 h 6858001"/>
              <a:gd name="connsiteX117" fmla="*/ 3020956 w 8009775"/>
              <a:gd name="connsiteY117" fmla="*/ 1637984 h 6858001"/>
              <a:gd name="connsiteX118" fmla="*/ 3025981 w 8009775"/>
              <a:gd name="connsiteY118" fmla="*/ 1634809 h 6858001"/>
              <a:gd name="connsiteX119" fmla="*/ 3031596 w 8009775"/>
              <a:gd name="connsiteY119" fmla="*/ 1631950 h 6858001"/>
              <a:gd name="connsiteX120" fmla="*/ 3036916 w 8009775"/>
              <a:gd name="connsiteY120" fmla="*/ 1629094 h 6858001"/>
              <a:gd name="connsiteX121" fmla="*/ 3042532 w 8009775"/>
              <a:gd name="connsiteY121" fmla="*/ 1626871 h 6858001"/>
              <a:gd name="connsiteX122" fmla="*/ 3047852 w 8009775"/>
              <a:gd name="connsiteY122" fmla="*/ 1624649 h 6858001"/>
              <a:gd name="connsiteX123" fmla="*/ 3053764 w 8009775"/>
              <a:gd name="connsiteY123" fmla="*/ 1623061 h 6858001"/>
              <a:gd name="connsiteX124" fmla="*/ 3059379 w 8009775"/>
              <a:gd name="connsiteY124" fmla="*/ 1621155 h 6858001"/>
              <a:gd name="connsiteX125" fmla="*/ 3065291 w 8009775"/>
              <a:gd name="connsiteY125" fmla="*/ 1620204 h 6858001"/>
              <a:gd name="connsiteX126" fmla="*/ 3070906 w 8009775"/>
              <a:gd name="connsiteY126" fmla="*/ 1618934 h 6858001"/>
              <a:gd name="connsiteX127" fmla="*/ 3077113 w 8009775"/>
              <a:gd name="connsiteY127" fmla="*/ 1618299 h 6858001"/>
              <a:gd name="connsiteX128" fmla="*/ 3082729 w 8009775"/>
              <a:gd name="connsiteY128" fmla="*/ 1617981 h 6858001"/>
              <a:gd name="connsiteX129" fmla="*/ 3088936 w 8009775"/>
              <a:gd name="connsiteY129" fmla="*/ 1617981 h 6858001"/>
              <a:gd name="connsiteX130" fmla="*/ 3094552 w 8009775"/>
              <a:gd name="connsiteY130" fmla="*/ 1617981 h 6858001"/>
              <a:gd name="connsiteX131" fmla="*/ 3100758 w 8009775"/>
              <a:gd name="connsiteY131" fmla="*/ 1618299 h 6858001"/>
              <a:gd name="connsiteX132" fmla="*/ 3106670 w 8009775"/>
              <a:gd name="connsiteY132" fmla="*/ 1618934 h 6858001"/>
              <a:gd name="connsiteX133" fmla="*/ 3112285 w 8009775"/>
              <a:gd name="connsiteY133" fmla="*/ 1620204 h 6858001"/>
              <a:gd name="connsiteX134" fmla="*/ 3117901 w 8009775"/>
              <a:gd name="connsiteY134" fmla="*/ 1621155 h 6858001"/>
              <a:gd name="connsiteX135" fmla="*/ 3123812 w 8009775"/>
              <a:gd name="connsiteY135" fmla="*/ 1623061 h 6858001"/>
              <a:gd name="connsiteX136" fmla="*/ 3129428 w 8009775"/>
              <a:gd name="connsiteY136" fmla="*/ 1624649 h 6858001"/>
              <a:gd name="connsiteX137" fmla="*/ 3135339 w 8009775"/>
              <a:gd name="connsiteY137" fmla="*/ 1626871 h 6858001"/>
              <a:gd name="connsiteX138" fmla="*/ 3140660 w 8009775"/>
              <a:gd name="connsiteY138" fmla="*/ 1629094 h 6858001"/>
              <a:gd name="connsiteX139" fmla="*/ 3145980 w 8009775"/>
              <a:gd name="connsiteY139" fmla="*/ 1631950 h 6858001"/>
              <a:gd name="connsiteX140" fmla="*/ 3151300 w 8009775"/>
              <a:gd name="connsiteY140" fmla="*/ 1634809 h 6858001"/>
              <a:gd name="connsiteX141" fmla="*/ 3156324 w 8009775"/>
              <a:gd name="connsiteY141" fmla="*/ 1637984 h 6858001"/>
              <a:gd name="connsiteX142" fmla="*/ 3161349 w 8009775"/>
              <a:gd name="connsiteY142" fmla="*/ 1641794 h 6858001"/>
              <a:gd name="connsiteX143" fmla="*/ 3166374 w 8009775"/>
              <a:gd name="connsiteY143" fmla="*/ 1645603 h 6858001"/>
              <a:gd name="connsiteX144" fmla="*/ 3171102 w 8009775"/>
              <a:gd name="connsiteY144" fmla="*/ 1649414 h 6858001"/>
              <a:gd name="connsiteX145" fmla="*/ 3175832 w 8009775"/>
              <a:gd name="connsiteY145" fmla="*/ 1653859 h 6858001"/>
              <a:gd name="connsiteX146" fmla="*/ 3844692 w 8009775"/>
              <a:gd name="connsiteY146" fmla="*/ 2322830 h 6858001"/>
              <a:gd name="connsiteX147" fmla="*/ 3849421 w 8009775"/>
              <a:gd name="connsiteY147" fmla="*/ 2326958 h 6858001"/>
              <a:gd name="connsiteX148" fmla="*/ 3854150 w 8009775"/>
              <a:gd name="connsiteY148" fmla="*/ 2331085 h 6858001"/>
              <a:gd name="connsiteX149" fmla="*/ 3859175 w 8009775"/>
              <a:gd name="connsiteY149" fmla="*/ 2334895 h 6858001"/>
              <a:gd name="connsiteX150" fmla="*/ 3864199 w 8009775"/>
              <a:gd name="connsiteY150" fmla="*/ 2338705 h 6858001"/>
              <a:gd name="connsiteX151" fmla="*/ 3869224 w 8009775"/>
              <a:gd name="connsiteY151" fmla="*/ 2341880 h 6858001"/>
              <a:gd name="connsiteX152" fmla="*/ 3874544 w 8009775"/>
              <a:gd name="connsiteY152" fmla="*/ 2344738 h 6858001"/>
              <a:gd name="connsiteX153" fmla="*/ 3879864 w 8009775"/>
              <a:gd name="connsiteY153" fmla="*/ 2347595 h 6858001"/>
              <a:gd name="connsiteX154" fmla="*/ 3885775 w 8009775"/>
              <a:gd name="connsiteY154" fmla="*/ 2349818 h 6858001"/>
              <a:gd name="connsiteX155" fmla="*/ 3891096 w 8009775"/>
              <a:gd name="connsiteY155" fmla="*/ 2351723 h 6858001"/>
              <a:gd name="connsiteX156" fmla="*/ 3896711 w 8009775"/>
              <a:gd name="connsiteY156" fmla="*/ 2353628 h 6858001"/>
              <a:gd name="connsiteX157" fmla="*/ 3902623 w 8009775"/>
              <a:gd name="connsiteY157" fmla="*/ 2355534 h 6858001"/>
              <a:gd name="connsiteX158" fmla="*/ 3908238 w 8009775"/>
              <a:gd name="connsiteY158" fmla="*/ 2356485 h 6858001"/>
              <a:gd name="connsiteX159" fmla="*/ 3914150 w 8009775"/>
              <a:gd name="connsiteY159" fmla="*/ 2357755 h 6858001"/>
              <a:gd name="connsiteX160" fmla="*/ 3920061 w 8009775"/>
              <a:gd name="connsiteY160" fmla="*/ 2358391 h 6858001"/>
              <a:gd name="connsiteX161" fmla="*/ 3925972 w 8009775"/>
              <a:gd name="connsiteY161" fmla="*/ 2358708 h 6858001"/>
              <a:gd name="connsiteX162" fmla="*/ 3931883 w 8009775"/>
              <a:gd name="connsiteY162" fmla="*/ 2358708 h 6858001"/>
              <a:gd name="connsiteX163" fmla="*/ 3937795 w 8009775"/>
              <a:gd name="connsiteY163" fmla="*/ 2358708 h 6858001"/>
              <a:gd name="connsiteX164" fmla="*/ 3943706 w 8009775"/>
              <a:gd name="connsiteY164" fmla="*/ 2358391 h 6858001"/>
              <a:gd name="connsiteX165" fmla="*/ 3949617 w 8009775"/>
              <a:gd name="connsiteY165" fmla="*/ 2357755 h 6858001"/>
              <a:gd name="connsiteX166" fmla="*/ 3955233 w 8009775"/>
              <a:gd name="connsiteY166" fmla="*/ 2356485 h 6858001"/>
              <a:gd name="connsiteX167" fmla="*/ 3961144 w 8009775"/>
              <a:gd name="connsiteY167" fmla="*/ 2355534 h 6858001"/>
              <a:gd name="connsiteX168" fmla="*/ 3966760 w 8009775"/>
              <a:gd name="connsiteY168" fmla="*/ 2353628 h 6858001"/>
              <a:gd name="connsiteX169" fmla="*/ 3972671 w 8009775"/>
              <a:gd name="connsiteY169" fmla="*/ 2351723 h 6858001"/>
              <a:gd name="connsiteX170" fmla="*/ 3978287 w 8009775"/>
              <a:gd name="connsiteY170" fmla="*/ 2349818 h 6858001"/>
              <a:gd name="connsiteX171" fmla="*/ 3983607 w 8009775"/>
              <a:gd name="connsiteY171" fmla="*/ 2347595 h 6858001"/>
              <a:gd name="connsiteX172" fmla="*/ 3989223 w 8009775"/>
              <a:gd name="connsiteY172" fmla="*/ 2344738 h 6858001"/>
              <a:gd name="connsiteX173" fmla="*/ 3994543 w 8009775"/>
              <a:gd name="connsiteY173" fmla="*/ 2341880 h 6858001"/>
              <a:gd name="connsiteX174" fmla="*/ 3999567 w 8009775"/>
              <a:gd name="connsiteY174" fmla="*/ 2338705 h 6858001"/>
              <a:gd name="connsiteX175" fmla="*/ 4004888 w 8009775"/>
              <a:gd name="connsiteY175" fmla="*/ 2334895 h 6858001"/>
              <a:gd name="connsiteX176" fmla="*/ 4009617 w 8009775"/>
              <a:gd name="connsiteY176" fmla="*/ 2331085 h 6858001"/>
              <a:gd name="connsiteX177" fmla="*/ 4014346 w 8009775"/>
              <a:gd name="connsiteY177" fmla="*/ 2326958 h 6858001"/>
              <a:gd name="connsiteX178" fmla="*/ 4018779 w 8009775"/>
              <a:gd name="connsiteY178" fmla="*/ 2322830 h 6858001"/>
              <a:gd name="connsiteX179" fmla="*/ 4023213 w 8009775"/>
              <a:gd name="connsiteY179" fmla="*/ 2318068 h 6858001"/>
              <a:gd name="connsiteX180" fmla="*/ 4027646 w 8009775"/>
              <a:gd name="connsiteY180" fmla="*/ 2313306 h 6858001"/>
              <a:gd name="connsiteX181" fmla="*/ 4031193 w 8009775"/>
              <a:gd name="connsiteY181" fmla="*/ 2308544 h 6858001"/>
              <a:gd name="connsiteX182" fmla="*/ 4034740 w 8009775"/>
              <a:gd name="connsiteY182" fmla="*/ 2303463 h 6858001"/>
              <a:gd name="connsiteX183" fmla="*/ 4037991 w 8009775"/>
              <a:gd name="connsiteY183" fmla="*/ 2298384 h 6858001"/>
              <a:gd name="connsiteX184" fmla="*/ 4040946 w 8009775"/>
              <a:gd name="connsiteY184" fmla="*/ 2292985 h 6858001"/>
              <a:gd name="connsiteX185" fmla="*/ 4043606 w 8009775"/>
              <a:gd name="connsiteY185" fmla="*/ 2287588 h 6858001"/>
              <a:gd name="connsiteX186" fmla="*/ 4046267 w 8009775"/>
              <a:gd name="connsiteY186" fmla="*/ 2281873 h 6858001"/>
              <a:gd name="connsiteX187" fmla="*/ 4048040 w 8009775"/>
              <a:gd name="connsiteY187" fmla="*/ 2276476 h 6858001"/>
              <a:gd name="connsiteX188" fmla="*/ 4050109 w 8009775"/>
              <a:gd name="connsiteY188" fmla="*/ 2270761 h 6858001"/>
              <a:gd name="connsiteX189" fmla="*/ 4051587 w 8009775"/>
              <a:gd name="connsiteY189" fmla="*/ 2265046 h 6858001"/>
              <a:gd name="connsiteX190" fmla="*/ 4052769 w 8009775"/>
              <a:gd name="connsiteY190" fmla="*/ 2259331 h 6858001"/>
              <a:gd name="connsiteX191" fmla="*/ 4053656 w 8009775"/>
              <a:gd name="connsiteY191" fmla="*/ 2253298 h 6858001"/>
              <a:gd name="connsiteX192" fmla="*/ 4054542 w 8009775"/>
              <a:gd name="connsiteY192" fmla="*/ 2247266 h 6858001"/>
              <a:gd name="connsiteX193" fmla="*/ 4054838 w 8009775"/>
              <a:gd name="connsiteY193" fmla="*/ 2241551 h 6858001"/>
              <a:gd name="connsiteX194" fmla="*/ 4055133 w 8009775"/>
              <a:gd name="connsiteY194" fmla="*/ 2235519 h 6858001"/>
              <a:gd name="connsiteX195" fmla="*/ 4054838 w 8009775"/>
              <a:gd name="connsiteY195" fmla="*/ 2229804 h 6858001"/>
              <a:gd name="connsiteX196" fmla="*/ 4054542 w 8009775"/>
              <a:gd name="connsiteY196" fmla="*/ 2223770 h 6858001"/>
              <a:gd name="connsiteX197" fmla="*/ 4053656 w 8009775"/>
              <a:gd name="connsiteY197" fmla="*/ 2217739 h 6858001"/>
              <a:gd name="connsiteX198" fmla="*/ 4052769 w 8009775"/>
              <a:gd name="connsiteY198" fmla="*/ 2212024 h 6858001"/>
              <a:gd name="connsiteX199" fmla="*/ 4051587 w 8009775"/>
              <a:gd name="connsiteY199" fmla="*/ 2206309 h 6858001"/>
              <a:gd name="connsiteX200" fmla="*/ 4050109 w 8009775"/>
              <a:gd name="connsiteY200" fmla="*/ 2200593 h 6858001"/>
              <a:gd name="connsiteX201" fmla="*/ 4048040 w 8009775"/>
              <a:gd name="connsiteY201" fmla="*/ 2194878 h 6858001"/>
              <a:gd name="connsiteX202" fmla="*/ 4046267 w 8009775"/>
              <a:gd name="connsiteY202" fmla="*/ 2189163 h 6858001"/>
              <a:gd name="connsiteX203" fmla="*/ 4043606 w 8009775"/>
              <a:gd name="connsiteY203" fmla="*/ 2183765 h 6858001"/>
              <a:gd name="connsiteX204" fmla="*/ 4040946 w 8009775"/>
              <a:gd name="connsiteY204" fmla="*/ 2178368 h 6858001"/>
              <a:gd name="connsiteX205" fmla="*/ 4037991 w 8009775"/>
              <a:gd name="connsiteY205" fmla="*/ 2172970 h 6858001"/>
              <a:gd name="connsiteX206" fmla="*/ 4034740 w 8009775"/>
              <a:gd name="connsiteY206" fmla="*/ 2167890 h 6858001"/>
              <a:gd name="connsiteX207" fmla="*/ 4031193 w 8009775"/>
              <a:gd name="connsiteY207" fmla="*/ 2162494 h 6858001"/>
              <a:gd name="connsiteX208" fmla="*/ 4027646 w 8009775"/>
              <a:gd name="connsiteY208" fmla="*/ 2157730 h 6858001"/>
              <a:gd name="connsiteX209" fmla="*/ 4023213 w 8009775"/>
              <a:gd name="connsiteY209" fmla="*/ 2153285 h 6858001"/>
              <a:gd name="connsiteX210" fmla="*/ 4018779 w 8009775"/>
              <a:gd name="connsiteY210" fmla="*/ 2148523 h 6858001"/>
              <a:gd name="connsiteX211" fmla="*/ 3632182 w 8009775"/>
              <a:gd name="connsiteY211" fmla="*/ 1761490 h 6858001"/>
              <a:gd name="connsiteX212" fmla="*/ 3435928 w 8009775"/>
              <a:gd name="connsiteY212" fmla="*/ 1565276 h 6858001"/>
              <a:gd name="connsiteX213" fmla="*/ 3431198 w 8009775"/>
              <a:gd name="connsiteY213" fmla="*/ 1560514 h 6858001"/>
              <a:gd name="connsiteX214" fmla="*/ 3427356 w 8009775"/>
              <a:gd name="connsiteY214" fmla="*/ 1555751 h 6858001"/>
              <a:gd name="connsiteX215" fmla="*/ 3423218 w 8009775"/>
              <a:gd name="connsiteY215" fmla="*/ 1550671 h 6858001"/>
              <a:gd name="connsiteX216" fmla="*/ 3420262 w 8009775"/>
              <a:gd name="connsiteY216" fmla="*/ 1545909 h 6858001"/>
              <a:gd name="connsiteX217" fmla="*/ 3417012 w 8009775"/>
              <a:gd name="connsiteY217" fmla="*/ 1540829 h 6858001"/>
              <a:gd name="connsiteX218" fmla="*/ 3413760 w 8009775"/>
              <a:gd name="connsiteY218" fmla="*/ 1535430 h 6858001"/>
              <a:gd name="connsiteX219" fmla="*/ 3411100 w 8009775"/>
              <a:gd name="connsiteY219" fmla="*/ 1530034 h 6858001"/>
              <a:gd name="connsiteX220" fmla="*/ 3408736 w 8009775"/>
              <a:gd name="connsiteY220" fmla="*/ 1524635 h 6858001"/>
              <a:gd name="connsiteX221" fmla="*/ 3406371 w 8009775"/>
              <a:gd name="connsiteY221" fmla="*/ 1518920 h 6858001"/>
              <a:gd name="connsiteX222" fmla="*/ 3404598 w 8009775"/>
              <a:gd name="connsiteY222" fmla="*/ 1513205 h 6858001"/>
              <a:gd name="connsiteX223" fmla="*/ 3403120 w 8009775"/>
              <a:gd name="connsiteY223" fmla="*/ 1507174 h 6858001"/>
              <a:gd name="connsiteX224" fmla="*/ 3401938 w 8009775"/>
              <a:gd name="connsiteY224" fmla="*/ 1501459 h 6858001"/>
              <a:gd name="connsiteX225" fmla="*/ 3401051 w 8009775"/>
              <a:gd name="connsiteY225" fmla="*/ 1495744 h 6858001"/>
              <a:gd name="connsiteX226" fmla="*/ 3400460 w 8009775"/>
              <a:gd name="connsiteY226" fmla="*/ 1489710 h 6858001"/>
              <a:gd name="connsiteX227" fmla="*/ 3399869 w 8009775"/>
              <a:gd name="connsiteY227" fmla="*/ 1483995 h 6858001"/>
              <a:gd name="connsiteX228" fmla="*/ 3399573 w 8009775"/>
              <a:gd name="connsiteY228" fmla="*/ 1478281 h 6858001"/>
              <a:gd name="connsiteX229" fmla="*/ 3399869 w 8009775"/>
              <a:gd name="connsiteY229" fmla="*/ 1472249 h 6858001"/>
              <a:gd name="connsiteX230" fmla="*/ 3400460 w 8009775"/>
              <a:gd name="connsiteY230" fmla="*/ 1466215 h 6858001"/>
              <a:gd name="connsiteX231" fmla="*/ 3401051 w 8009775"/>
              <a:gd name="connsiteY231" fmla="*/ 1460183 h 6858001"/>
              <a:gd name="connsiteX232" fmla="*/ 3401938 w 8009775"/>
              <a:gd name="connsiteY232" fmla="*/ 1454468 h 6858001"/>
              <a:gd name="connsiteX233" fmla="*/ 3403120 w 8009775"/>
              <a:gd name="connsiteY233" fmla="*/ 1448754 h 6858001"/>
              <a:gd name="connsiteX234" fmla="*/ 3404598 w 8009775"/>
              <a:gd name="connsiteY234" fmla="*/ 1443039 h 6858001"/>
              <a:gd name="connsiteX235" fmla="*/ 3406371 w 8009775"/>
              <a:gd name="connsiteY235" fmla="*/ 1437324 h 6858001"/>
              <a:gd name="connsiteX236" fmla="*/ 3408736 w 8009775"/>
              <a:gd name="connsiteY236" fmla="*/ 1431609 h 6858001"/>
              <a:gd name="connsiteX237" fmla="*/ 3411100 w 8009775"/>
              <a:gd name="connsiteY237" fmla="*/ 1426211 h 6858001"/>
              <a:gd name="connsiteX238" fmla="*/ 3413760 w 8009775"/>
              <a:gd name="connsiteY238" fmla="*/ 1420814 h 6858001"/>
              <a:gd name="connsiteX239" fmla="*/ 3417012 w 8009775"/>
              <a:gd name="connsiteY239" fmla="*/ 1415416 h 6858001"/>
              <a:gd name="connsiteX240" fmla="*/ 3420262 w 8009775"/>
              <a:gd name="connsiteY240" fmla="*/ 1410336 h 6858001"/>
              <a:gd name="connsiteX241" fmla="*/ 3423218 w 8009775"/>
              <a:gd name="connsiteY241" fmla="*/ 1405256 h 6858001"/>
              <a:gd name="connsiteX242" fmla="*/ 3427356 w 8009775"/>
              <a:gd name="connsiteY242" fmla="*/ 1400175 h 6858001"/>
              <a:gd name="connsiteX243" fmla="*/ 3431198 w 8009775"/>
              <a:gd name="connsiteY243" fmla="*/ 1395731 h 6858001"/>
              <a:gd name="connsiteX244" fmla="*/ 3435928 w 8009775"/>
              <a:gd name="connsiteY244" fmla="*/ 1390969 h 6858001"/>
              <a:gd name="connsiteX245" fmla="*/ 3440361 w 8009775"/>
              <a:gd name="connsiteY245" fmla="*/ 1386524 h 6858001"/>
              <a:gd name="connsiteX246" fmla="*/ 3445386 w 8009775"/>
              <a:gd name="connsiteY246" fmla="*/ 1382396 h 6858001"/>
              <a:gd name="connsiteX247" fmla="*/ 3449819 w 8009775"/>
              <a:gd name="connsiteY247" fmla="*/ 1378585 h 6858001"/>
              <a:gd name="connsiteX248" fmla="*/ 3454844 w 8009775"/>
              <a:gd name="connsiteY248" fmla="*/ 1375094 h 6858001"/>
              <a:gd name="connsiteX249" fmla="*/ 3460459 w 8009775"/>
              <a:gd name="connsiteY249" fmla="*/ 1371919 h 6858001"/>
              <a:gd name="connsiteX250" fmla="*/ 3465780 w 8009775"/>
              <a:gd name="connsiteY250" fmla="*/ 1369061 h 6858001"/>
              <a:gd name="connsiteX251" fmla="*/ 3471100 w 8009775"/>
              <a:gd name="connsiteY251" fmla="*/ 1366204 h 6858001"/>
              <a:gd name="connsiteX252" fmla="*/ 3476420 w 8009775"/>
              <a:gd name="connsiteY252" fmla="*/ 1363980 h 6858001"/>
              <a:gd name="connsiteX253" fmla="*/ 3482331 w 8009775"/>
              <a:gd name="connsiteY253" fmla="*/ 1361759 h 6858001"/>
              <a:gd name="connsiteX254" fmla="*/ 3487947 w 8009775"/>
              <a:gd name="connsiteY254" fmla="*/ 1360170 h 6858001"/>
              <a:gd name="connsiteX255" fmla="*/ 3493858 w 8009775"/>
              <a:gd name="connsiteY255" fmla="*/ 1358265 h 6858001"/>
              <a:gd name="connsiteX256" fmla="*/ 3499474 w 8009775"/>
              <a:gd name="connsiteY256" fmla="*/ 1357314 h 6858001"/>
              <a:gd name="connsiteX257" fmla="*/ 3505385 w 8009775"/>
              <a:gd name="connsiteY257" fmla="*/ 1356043 h 6858001"/>
              <a:gd name="connsiteX258" fmla="*/ 3511001 w 8009775"/>
              <a:gd name="connsiteY258" fmla="*/ 1355409 h 6858001"/>
              <a:gd name="connsiteX259" fmla="*/ 3517208 w 8009775"/>
              <a:gd name="connsiteY259" fmla="*/ 1355090 h 6858001"/>
              <a:gd name="connsiteX260" fmla="*/ 3522823 w 8009775"/>
              <a:gd name="connsiteY260" fmla="*/ 1354773 h 6858001"/>
              <a:gd name="connsiteX261" fmla="*/ 3529030 w 8009775"/>
              <a:gd name="connsiteY261" fmla="*/ 1355090 h 6858001"/>
              <a:gd name="connsiteX262" fmla="*/ 3534646 w 8009775"/>
              <a:gd name="connsiteY262" fmla="*/ 1355409 h 6858001"/>
              <a:gd name="connsiteX263" fmla="*/ 3540557 w 8009775"/>
              <a:gd name="connsiteY263" fmla="*/ 1356043 h 6858001"/>
              <a:gd name="connsiteX264" fmla="*/ 3546468 w 8009775"/>
              <a:gd name="connsiteY264" fmla="*/ 1357314 h 6858001"/>
              <a:gd name="connsiteX265" fmla="*/ 3552380 w 8009775"/>
              <a:gd name="connsiteY265" fmla="*/ 1358265 h 6858001"/>
              <a:gd name="connsiteX266" fmla="*/ 3557995 w 8009775"/>
              <a:gd name="connsiteY266" fmla="*/ 1360170 h 6858001"/>
              <a:gd name="connsiteX267" fmla="*/ 3563906 w 8009775"/>
              <a:gd name="connsiteY267" fmla="*/ 1361759 h 6858001"/>
              <a:gd name="connsiteX268" fmla="*/ 3569227 w 8009775"/>
              <a:gd name="connsiteY268" fmla="*/ 1363980 h 6858001"/>
              <a:gd name="connsiteX269" fmla="*/ 3574842 w 8009775"/>
              <a:gd name="connsiteY269" fmla="*/ 1366204 h 6858001"/>
              <a:gd name="connsiteX270" fmla="*/ 3580458 w 8009775"/>
              <a:gd name="connsiteY270" fmla="*/ 1369061 h 6858001"/>
              <a:gd name="connsiteX271" fmla="*/ 3585778 w 8009775"/>
              <a:gd name="connsiteY271" fmla="*/ 1371919 h 6858001"/>
              <a:gd name="connsiteX272" fmla="*/ 3590803 w 8009775"/>
              <a:gd name="connsiteY272" fmla="*/ 1375094 h 6858001"/>
              <a:gd name="connsiteX273" fmla="*/ 3595828 w 8009775"/>
              <a:gd name="connsiteY273" fmla="*/ 1378585 h 6858001"/>
              <a:gd name="connsiteX274" fmla="*/ 3600852 w 8009775"/>
              <a:gd name="connsiteY274" fmla="*/ 1382396 h 6858001"/>
              <a:gd name="connsiteX275" fmla="*/ 3605581 w 8009775"/>
              <a:gd name="connsiteY275" fmla="*/ 1386524 h 6858001"/>
              <a:gd name="connsiteX276" fmla="*/ 3610014 w 8009775"/>
              <a:gd name="connsiteY276" fmla="*/ 1390969 h 6858001"/>
              <a:gd name="connsiteX277" fmla="*/ 3817500 w 8009775"/>
              <a:gd name="connsiteY277" fmla="*/ 1598296 h 6858001"/>
              <a:gd name="connsiteX278" fmla="*/ 3821934 w 8009775"/>
              <a:gd name="connsiteY278" fmla="*/ 1602423 h 6858001"/>
              <a:gd name="connsiteX279" fmla="*/ 3826663 w 8009775"/>
              <a:gd name="connsiteY279" fmla="*/ 1606869 h 6858001"/>
              <a:gd name="connsiteX280" fmla="*/ 3831687 w 8009775"/>
              <a:gd name="connsiteY280" fmla="*/ 1610361 h 6858001"/>
              <a:gd name="connsiteX281" fmla="*/ 3836712 w 8009775"/>
              <a:gd name="connsiteY281" fmla="*/ 1613854 h 6858001"/>
              <a:gd name="connsiteX282" fmla="*/ 3841736 w 8009775"/>
              <a:gd name="connsiteY282" fmla="*/ 1617345 h 6858001"/>
              <a:gd name="connsiteX283" fmla="*/ 3847352 w 8009775"/>
              <a:gd name="connsiteY283" fmla="*/ 1620204 h 6858001"/>
              <a:gd name="connsiteX284" fmla="*/ 3852672 w 8009775"/>
              <a:gd name="connsiteY284" fmla="*/ 1623061 h 6858001"/>
              <a:gd name="connsiteX285" fmla="*/ 3857992 w 8009775"/>
              <a:gd name="connsiteY285" fmla="*/ 1625283 h 6858001"/>
              <a:gd name="connsiteX286" fmla="*/ 3863608 w 8009775"/>
              <a:gd name="connsiteY286" fmla="*/ 1627189 h 6858001"/>
              <a:gd name="connsiteX287" fmla="*/ 3869519 w 8009775"/>
              <a:gd name="connsiteY287" fmla="*/ 1629094 h 6858001"/>
              <a:gd name="connsiteX288" fmla="*/ 3875135 w 8009775"/>
              <a:gd name="connsiteY288" fmla="*/ 1630998 h 6858001"/>
              <a:gd name="connsiteX289" fmla="*/ 3881046 w 8009775"/>
              <a:gd name="connsiteY289" fmla="*/ 1631950 h 6858001"/>
              <a:gd name="connsiteX290" fmla="*/ 3886662 w 8009775"/>
              <a:gd name="connsiteY290" fmla="*/ 1632904 h 6858001"/>
              <a:gd name="connsiteX291" fmla="*/ 3892869 w 8009775"/>
              <a:gd name="connsiteY291" fmla="*/ 1633856 h 6858001"/>
              <a:gd name="connsiteX292" fmla="*/ 3898485 w 8009775"/>
              <a:gd name="connsiteY292" fmla="*/ 1634174 h 6858001"/>
              <a:gd name="connsiteX293" fmla="*/ 3904396 w 8009775"/>
              <a:gd name="connsiteY293" fmla="*/ 1634174 h 6858001"/>
              <a:gd name="connsiteX294" fmla="*/ 3910307 w 8009775"/>
              <a:gd name="connsiteY294" fmla="*/ 1634174 h 6858001"/>
              <a:gd name="connsiteX295" fmla="*/ 3916219 w 8009775"/>
              <a:gd name="connsiteY295" fmla="*/ 1633856 h 6858001"/>
              <a:gd name="connsiteX296" fmla="*/ 3922425 w 8009775"/>
              <a:gd name="connsiteY296" fmla="*/ 1632904 h 6858001"/>
              <a:gd name="connsiteX297" fmla="*/ 3928041 w 8009775"/>
              <a:gd name="connsiteY297" fmla="*/ 1631950 h 6858001"/>
              <a:gd name="connsiteX298" fmla="*/ 3933657 w 8009775"/>
              <a:gd name="connsiteY298" fmla="*/ 1630998 h 6858001"/>
              <a:gd name="connsiteX299" fmla="*/ 3939568 w 8009775"/>
              <a:gd name="connsiteY299" fmla="*/ 1629094 h 6858001"/>
              <a:gd name="connsiteX300" fmla="*/ 3945184 w 8009775"/>
              <a:gd name="connsiteY300" fmla="*/ 1627189 h 6858001"/>
              <a:gd name="connsiteX301" fmla="*/ 3950799 w 8009775"/>
              <a:gd name="connsiteY301" fmla="*/ 1625283 h 6858001"/>
              <a:gd name="connsiteX302" fmla="*/ 3956415 w 8009775"/>
              <a:gd name="connsiteY302" fmla="*/ 1623061 h 6858001"/>
              <a:gd name="connsiteX303" fmla="*/ 3961735 w 8009775"/>
              <a:gd name="connsiteY303" fmla="*/ 1620204 h 6858001"/>
              <a:gd name="connsiteX304" fmla="*/ 3967055 w 8009775"/>
              <a:gd name="connsiteY304" fmla="*/ 1617345 h 6858001"/>
              <a:gd name="connsiteX305" fmla="*/ 3972376 w 8009775"/>
              <a:gd name="connsiteY305" fmla="*/ 1613854 h 6858001"/>
              <a:gd name="connsiteX306" fmla="*/ 3977400 w 8009775"/>
              <a:gd name="connsiteY306" fmla="*/ 1610361 h 6858001"/>
              <a:gd name="connsiteX307" fmla="*/ 3982425 w 8009775"/>
              <a:gd name="connsiteY307" fmla="*/ 1606869 h 6858001"/>
              <a:gd name="connsiteX308" fmla="*/ 3986858 w 8009775"/>
              <a:gd name="connsiteY308" fmla="*/ 1602423 h 6858001"/>
              <a:gd name="connsiteX309" fmla="*/ 3991587 w 8009775"/>
              <a:gd name="connsiteY309" fmla="*/ 1598296 h 6858001"/>
              <a:gd name="connsiteX310" fmla="*/ 3996021 w 8009775"/>
              <a:gd name="connsiteY310" fmla="*/ 1593533 h 6858001"/>
              <a:gd name="connsiteX311" fmla="*/ 4000159 w 8009775"/>
              <a:gd name="connsiteY311" fmla="*/ 1588771 h 6858001"/>
              <a:gd name="connsiteX312" fmla="*/ 4003705 w 8009775"/>
              <a:gd name="connsiteY312" fmla="*/ 1583691 h 6858001"/>
              <a:gd name="connsiteX313" fmla="*/ 4007548 w 8009775"/>
              <a:gd name="connsiteY313" fmla="*/ 1578928 h 6858001"/>
              <a:gd name="connsiteX314" fmla="*/ 4010799 w 8009775"/>
              <a:gd name="connsiteY314" fmla="*/ 1573849 h 6858001"/>
              <a:gd name="connsiteX315" fmla="*/ 4013459 w 8009775"/>
              <a:gd name="connsiteY315" fmla="*/ 1568451 h 6858001"/>
              <a:gd name="connsiteX316" fmla="*/ 4016415 w 8009775"/>
              <a:gd name="connsiteY316" fmla="*/ 1563054 h 6858001"/>
              <a:gd name="connsiteX317" fmla="*/ 4018484 w 8009775"/>
              <a:gd name="connsiteY317" fmla="*/ 1557339 h 6858001"/>
              <a:gd name="connsiteX318" fmla="*/ 4020848 w 8009775"/>
              <a:gd name="connsiteY318" fmla="*/ 1551941 h 6858001"/>
              <a:gd name="connsiteX319" fmla="*/ 4022621 w 8009775"/>
              <a:gd name="connsiteY319" fmla="*/ 1546226 h 6858001"/>
              <a:gd name="connsiteX320" fmla="*/ 4024395 w 8009775"/>
              <a:gd name="connsiteY320" fmla="*/ 1540511 h 6858001"/>
              <a:gd name="connsiteX321" fmla="*/ 4025282 w 8009775"/>
              <a:gd name="connsiteY321" fmla="*/ 1534478 h 6858001"/>
              <a:gd name="connsiteX322" fmla="*/ 4026464 w 8009775"/>
              <a:gd name="connsiteY322" fmla="*/ 1528763 h 6858001"/>
              <a:gd name="connsiteX323" fmla="*/ 4027055 w 8009775"/>
              <a:gd name="connsiteY323" fmla="*/ 1522731 h 6858001"/>
              <a:gd name="connsiteX324" fmla="*/ 4027646 w 8009775"/>
              <a:gd name="connsiteY324" fmla="*/ 1517016 h 6858001"/>
              <a:gd name="connsiteX325" fmla="*/ 4027646 w 8009775"/>
              <a:gd name="connsiteY325" fmla="*/ 1510984 h 6858001"/>
              <a:gd name="connsiteX326" fmla="*/ 4027646 w 8009775"/>
              <a:gd name="connsiteY326" fmla="*/ 1505268 h 6858001"/>
              <a:gd name="connsiteX327" fmla="*/ 4027055 w 8009775"/>
              <a:gd name="connsiteY327" fmla="*/ 1499553 h 6858001"/>
              <a:gd name="connsiteX328" fmla="*/ 4026464 w 8009775"/>
              <a:gd name="connsiteY328" fmla="*/ 1493204 h 6858001"/>
              <a:gd name="connsiteX329" fmla="*/ 4025282 w 8009775"/>
              <a:gd name="connsiteY329" fmla="*/ 1487489 h 6858001"/>
              <a:gd name="connsiteX330" fmla="*/ 4024395 w 8009775"/>
              <a:gd name="connsiteY330" fmla="*/ 1481773 h 6858001"/>
              <a:gd name="connsiteX331" fmla="*/ 4022621 w 8009775"/>
              <a:gd name="connsiteY331" fmla="*/ 1476058 h 6858001"/>
              <a:gd name="connsiteX332" fmla="*/ 4020848 w 8009775"/>
              <a:gd name="connsiteY332" fmla="*/ 1470343 h 6858001"/>
              <a:gd name="connsiteX333" fmla="*/ 4018484 w 8009775"/>
              <a:gd name="connsiteY333" fmla="*/ 1464629 h 6858001"/>
              <a:gd name="connsiteX334" fmla="*/ 4016415 w 8009775"/>
              <a:gd name="connsiteY334" fmla="*/ 1459231 h 6858001"/>
              <a:gd name="connsiteX335" fmla="*/ 4013459 w 8009775"/>
              <a:gd name="connsiteY335" fmla="*/ 1453834 h 6858001"/>
              <a:gd name="connsiteX336" fmla="*/ 4010799 w 8009775"/>
              <a:gd name="connsiteY336" fmla="*/ 1448436 h 6858001"/>
              <a:gd name="connsiteX337" fmla="*/ 4007548 w 8009775"/>
              <a:gd name="connsiteY337" fmla="*/ 1443356 h 6858001"/>
              <a:gd name="connsiteX338" fmla="*/ 4003705 w 8009775"/>
              <a:gd name="connsiteY338" fmla="*/ 1438275 h 6858001"/>
              <a:gd name="connsiteX339" fmla="*/ 4000159 w 8009775"/>
              <a:gd name="connsiteY339" fmla="*/ 1433195 h 6858001"/>
              <a:gd name="connsiteX340" fmla="*/ 3996021 w 8009775"/>
              <a:gd name="connsiteY340" fmla="*/ 1428751 h 6858001"/>
              <a:gd name="connsiteX341" fmla="*/ 3991587 w 8009775"/>
              <a:gd name="connsiteY341" fmla="*/ 1423988 h 6858001"/>
              <a:gd name="connsiteX342" fmla="*/ 3323022 w 8009775"/>
              <a:gd name="connsiteY342" fmla="*/ 755333 h 6858001"/>
              <a:gd name="connsiteX343" fmla="*/ 3316815 w 8009775"/>
              <a:gd name="connsiteY343" fmla="*/ 748348 h 6858001"/>
              <a:gd name="connsiteX344" fmla="*/ 3310904 w 8009775"/>
              <a:gd name="connsiteY344" fmla="*/ 741045 h 6858001"/>
              <a:gd name="connsiteX345" fmla="*/ 3305584 w 8009775"/>
              <a:gd name="connsiteY345" fmla="*/ 733108 h 6858001"/>
              <a:gd name="connsiteX346" fmla="*/ 3300855 w 8009775"/>
              <a:gd name="connsiteY346" fmla="*/ 725170 h 6858001"/>
              <a:gd name="connsiteX347" fmla="*/ 3297308 w 8009775"/>
              <a:gd name="connsiteY347" fmla="*/ 716915 h 6858001"/>
              <a:gd name="connsiteX348" fmla="*/ 3293761 w 8009775"/>
              <a:gd name="connsiteY348" fmla="*/ 708660 h 6858001"/>
              <a:gd name="connsiteX349" fmla="*/ 3291101 w 8009775"/>
              <a:gd name="connsiteY349" fmla="*/ 699770 h 6858001"/>
              <a:gd name="connsiteX350" fmla="*/ 3289328 w 8009775"/>
              <a:gd name="connsiteY350" fmla="*/ 691198 h 6858001"/>
              <a:gd name="connsiteX351" fmla="*/ 2596527 w 8009775"/>
              <a:gd name="connsiteY351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408933 w 8009775"/>
              <a:gd name="connsiteY69" fmla="*/ 0 h 6858001"/>
              <a:gd name="connsiteX70" fmla="*/ 55488 w 8009775"/>
              <a:gd name="connsiteY70" fmla="*/ 0 h 6858001"/>
              <a:gd name="connsiteX71" fmla="*/ 0 w 8009775"/>
              <a:gd name="connsiteY71" fmla="*/ 0 h 6858001"/>
              <a:gd name="connsiteX72" fmla="*/ 0 w 8009775"/>
              <a:gd name="connsiteY72" fmla="*/ 6858000 h 6858001"/>
              <a:gd name="connsiteX73" fmla="*/ 7507651 w 8009775"/>
              <a:gd name="connsiteY73" fmla="*/ 6858001 h 6858001"/>
              <a:gd name="connsiteX74" fmla="*/ 8009775 w 8009775"/>
              <a:gd name="connsiteY74" fmla="*/ 6858000 h 6858001"/>
              <a:gd name="connsiteX75" fmla="*/ 3996316 w 8009775"/>
              <a:gd name="connsiteY75" fmla="*/ 2818448 h 6858001"/>
              <a:gd name="connsiteX76" fmla="*/ 3980947 w 8009775"/>
              <a:gd name="connsiteY76" fmla="*/ 2804795 h 6858001"/>
              <a:gd name="connsiteX77" fmla="*/ 3965282 w 8009775"/>
              <a:gd name="connsiteY77" fmla="*/ 2791144 h 6858001"/>
              <a:gd name="connsiteX78" fmla="*/ 3950799 w 8009775"/>
              <a:gd name="connsiteY78" fmla="*/ 2776856 h 6858001"/>
              <a:gd name="connsiteX79" fmla="*/ 3936021 w 8009775"/>
              <a:gd name="connsiteY79" fmla="*/ 2762568 h 6858001"/>
              <a:gd name="connsiteX80" fmla="*/ 3001744 w 8009775"/>
              <a:gd name="connsiteY80" fmla="*/ 1828166 h 6858001"/>
              <a:gd name="connsiteX81" fmla="*/ 2997311 w 8009775"/>
              <a:gd name="connsiteY81" fmla="*/ 1823404 h 6858001"/>
              <a:gd name="connsiteX82" fmla="*/ 2992878 w 8009775"/>
              <a:gd name="connsiteY82" fmla="*/ 1818640 h 6858001"/>
              <a:gd name="connsiteX83" fmla="*/ 2989331 w 8009775"/>
              <a:gd name="connsiteY83" fmla="*/ 1814195 h 6858001"/>
              <a:gd name="connsiteX84" fmla="*/ 2985784 w 8009775"/>
              <a:gd name="connsiteY84" fmla="*/ 1808799 h 6858001"/>
              <a:gd name="connsiteX85" fmla="*/ 2982533 w 8009775"/>
              <a:gd name="connsiteY85" fmla="*/ 1803718 h 6858001"/>
              <a:gd name="connsiteX86" fmla="*/ 2979873 w 8009775"/>
              <a:gd name="connsiteY86" fmla="*/ 1798321 h 6858001"/>
              <a:gd name="connsiteX87" fmla="*/ 2976917 w 8009775"/>
              <a:gd name="connsiteY87" fmla="*/ 1792924 h 6858001"/>
              <a:gd name="connsiteX88" fmla="*/ 2974552 w 8009775"/>
              <a:gd name="connsiteY88" fmla="*/ 1787526 h 6858001"/>
              <a:gd name="connsiteX89" fmla="*/ 2972484 w 8009775"/>
              <a:gd name="connsiteY89" fmla="*/ 1781811 h 6858001"/>
              <a:gd name="connsiteX90" fmla="*/ 2970710 w 8009775"/>
              <a:gd name="connsiteY90" fmla="*/ 1776095 h 6858001"/>
              <a:gd name="connsiteX91" fmla="*/ 2968937 w 8009775"/>
              <a:gd name="connsiteY91" fmla="*/ 1770380 h 6858001"/>
              <a:gd name="connsiteX92" fmla="*/ 2967755 w 8009775"/>
              <a:gd name="connsiteY92" fmla="*/ 1764665 h 6858001"/>
              <a:gd name="connsiteX93" fmla="*/ 2966868 w 8009775"/>
              <a:gd name="connsiteY93" fmla="*/ 1758634 h 6858001"/>
              <a:gd name="connsiteX94" fmla="*/ 2965981 w 8009775"/>
              <a:gd name="connsiteY94" fmla="*/ 1752919 h 6858001"/>
              <a:gd name="connsiteX95" fmla="*/ 2965686 w 8009775"/>
              <a:gd name="connsiteY95" fmla="*/ 1746885 h 6858001"/>
              <a:gd name="connsiteX96" fmla="*/ 2965686 w 8009775"/>
              <a:gd name="connsiteY96" fmla="*/ 1741170 h 6858001"/>
              <a:gd name="connsiteX97" fmla="*/ 2965686 w 8009775"/>
              <a:gd name="connsiteY97" fmla="*/ 1735139 h 6858001"/>
              <a:gd name="connsiteX98" fmla="*/ 2965981 w 8009775"/>
              <a:gd name="connsiteY98" fmla="*/ 1729424 h 6858001"/>
              <a:gd name="connsiteX99" fmla="*/ 2966868 w 8009775"/>
              <a:gd name="connsiteY99" fmla="*/ 1723074 h 6858001"/>
              <a:gd name="connsiteX100" fmla="*/ 2967755 w 8009775"/>
              <a:gd name="connsiteY100" fmla="*/ 1717358 h 6858001"/>
              <a:gd name="connsiteX101" fmla="*/ 2968937 w 8009775"/>
              <a:gd name="connsiteY101" fmla="*/ 1711643 h 6858001"/>
              <a:gd name="connsiteX102" fmla="*/ 2970710 w 8009775"/>
              <a:gd name="connsiteY102" fmla="*/ 1705929 h 6858001"/>
              <a:gd name="connsiteX103" fmla="*/ 2972484 w 8009775"/>
              <a:gd name="connsiteY103" fmla="*/ 1700214 h 6858001"/>
              <a:gd name="connsiteX104" fmla="*/ 2974552 w 8009775"/>
              <a:gd name="connsiteY104" fmla="*/ 1694816 h 6858001"/>
              <a:gd name="connsiteX105" fmla="*/ 2976917 w 8009775"/>
              <a:gd name="connsiteY105" fmla="*/ 1689101 h 6858001"/>
              <a:gd name="connsiteX106" fmla="*/ 2979873 w 8009775"/>
              <a:gd name="connsiteY106" fmla="*/ 1683703 h 6858001"/>
              <a:gd name="connsiteX107" fmla="*/ 2982533 w 8009775"/>
              <a:gd name="connsiteY107" fmla="*/ 1678305 h 6858001"/>
              <a:gd name="connsiteX108" fmla="*/ 2985784 w 8009775"/>
              <a:gd name="connsiteY108" fmla="*/ 1673226 h 6858001"/>
              <a:gd name="connsiteX109" fmla="*/ 2989331 w 8009775"/>
              <a:gd name="connsiteY109" fmla="*/ 1668145 h 6858001"/>
              <a:gd name="connsiteX110" fmla="*/ 2992878 w 8009775"/>
              <a:gd name="connsiteY110" fmla="*/ 1663066 h 6858001"/>
              <a:gd name="connsiteX111" fmla="*/ 2997311 w 8009775"/>
              <a:gd name="connsiteY111" fmla="*/ 1658621 h 6858001"/>
              <a:gd name="connsiteX112" fmla="*/ 3001744 w 8009775"/>
              <a:gd name="connsiteY112" fmla="*/ 1653859 h 6858001"/>
              <a:gd name="connsiteX113" fmla="*/ 3006178 w 8009775"/>
              <a:gd name="connsiteY113" fmla="*/ 1649414 h 6858001"/>
              <a:gd name="connsiteX114" fmla="*/ 3010907 w 8009775"/>
              <a:gd name="connsiteY114" fmla="*/ 1645603 h 6858001"/>
              <a:gd name="connsiteX115" fmla="*/ 3015932 w 8009775"/>
              <a:gd name="connsiteY115" fmla="*/ 1641794 h 6858001"/>
              <a:gd name="connsiteX116" fmla="*/ 3020956 w 8009775"/>
              <a:gd name="connsiteY116" fmla="*/ 1637984 h 6858001"/>
              <a:gd name="connsiteX117" fmla="*/ 3025981 w 8009775"/>
              <a:gd name="connsiteY117" fmla="*/ 1634809 h 6858001"/>
              <a:gd name="connsiteX118" fmla="*/ 3031596 w 8009775"/>
              <a:gd name="connsiteY118" fmla="*/ 1631950 h 6858001"/>
              <a:gd name="connsiteX119" fmla="*/ 3036916 w 8009775"/>
              <a:gd name="connsiteY119" fmla="*/ 1629094 h 6858001"/>
              <a:gd name="connsiteX120" fmla="*/ 3042532 w 8009775"/>
              <a:gd name="connsiteY120" fmla="*/ 1626871 h 6858001"/>
              <a:gd name="connsiteX121" fmla="*/ 3047852 w 8009775"/>
              <a:gd name="connsiteY121" fmla="*/ 1624649 h 6858001"/>
              <a:gd name="connsiteX122" fmla="*/ 3053764 w 8009775"/>
              <a:gd name="connsiteY122" fmla="*/ 1623061 h 6858001"/>
              <a:gd name="connsiteX123" fmla="*/ 3059379 w 8009775"/>
              <a:gd name="connsiteY123" fmla="*/ 1621155 h 6858001"/>
              <a:gd name="connsiteX124" fmla="*/ 3065291 w 8009775"/>
              <a:gd name="connsiteY124" fmla="*/ 1620204 h 6858001"/>
              <a:gd name="connsiteX125" fmla="*/ 3070906 w 8009775"/>
              <a:gd name="connsiteY125" fmla="*/ 1618934 h 6858001"/>
              <a:gd name="connsiteX126" fmla="*/ 3077113 w 8009775"/>
              <a:gd name="connsiteY126" fmla="*/ 1618299 h 6858001"/>
              <a:gd name="connsiteX127" fmla="*/ 3082729 w 8009775"/>
              <a:gd name="connsiteY127" fmla="*/ 1617981 h 6858001"/>
              <a:gd name="connsiteX128" fmla="*/ 3088936 w 8009775"/>
              <a:gd name="connsiteY128" fmla="*/ 1617981 h 6858001"/>
              <a:gd name="connsiteX129" fmla="*/ 3094552 w 8009775"/>
              <a:gd name="connsiteY129" fmla="*/ 1617981 h 6858001"/>
              <a:gd name="connsiteX130" fmla="*/ 3100758 w 8009775"/>
              <a:gd name="connsiteY130" fmla="*/ 1618299 h 6858001"/>
              <a:gd name="connsiteX131" fmla="*/ 3106670 w 8009775"/>
              <a:gd name="connsiteY131" fmla="*/ 1618934 h 6858001"/>
              <a:gd name="connsiteX132" fmla="*/ 3112285 w 8009775"/>
              <a:gd name="connsiteY132" fmla="*/ 1620204 h 6858001"/>
              <a:gd name="connsiteX133" fmla="*/ 3117901 w 8009775"/>
              <a:gd name="connsiteY133" fmla="*/ 1621155 h 6858001"/>
              <a:gd name="connsiteX134" fmla="*/ 3123812 w 8009775"/>
              <a:gd name="connsiteY134" fmla="*/ 1623061 h 6858001"/>
              <a:gd name="connsiteX135" fmla="*/ 3129428 w 8009775"/>
              <a:gd name="connsiteY135" fmla="*/ 1624649 h 6858001"/>
              <a:gd name="connsiteX136" fmla="*/ 3135339 w 8009775"/>
              <a:gd name="connsiteY136" fmla="*/ 1626871 h 6858001"/>
              <a:gd name="connsiteX137" fmla="*/ 3140660 w 8009775"/>
              <a:gd name="connsiteY137" fmla="*/ 1629094 h 6858001"/>
              <a:gd name="connsiteX138" fmla="*/ 3145980 w 8009775"/>
              <a:gd name="connsiteY138" fmla="*/ 1631950 h 6858001"/>
              <a:gd name="connsiteX139" fmla="*/ 3151300 w 8009775"/>
              <a:gd name="connsiteY139" fmla="*/ 1634809 h 6858001"/>
              <a:gd name="connsiteX140" fmla="*/ 3156324 w 8009775"/>
              <a:gd name="connsiteY140" fmla="*/ 1637984 h 6858001"/>
              <a:gd name="connsiteX141" fmla="*/ 3161349 w 8009775"/>
              <a:gd name="connsiteY141" fmla="*/ 1641794 h 6858001"/>
              <a:gd name="connsiteX142" fmla="*/ 3166374 w 8009775"/>
              <a:gd name="connsiteY142" fmla="*/ 1645603 h 6858001"/>
              <a:gd name="connsiteX143" fmla="*/ 3171102 w 8009775"/>
              <a:gd name="connsiteY143" fmla="*/ 1649414 h 6858001"/>
              <a:gd name="connsiteX144" fmla="*/ 3175832 w 8009775"/>
              <a:gd name="connsiteY144" fmla="*/ 1653859 h 6858001"/>
              <a:gd name="connsiteX145" fmla="*/ 3844692 w 8009775"/>
              <a:gd name="connsiteY145" fmla="*/ 2322830 h 6858001"/>
              <a:gd name="connsiteX146" fmla="*/ 3849421 w 8009775"/>
              <a:gd name="connsiteY146" fmla="*/ 2326958 h 6858001"/>
              <a:gd name="connsiteX147" fmla="*/ 3854150 w 8009775"/>
              <a:gd name="connsiteY147" fmla="*/ 2331085 h 6858001"/>
              <a:gd name="connsiteX148" fmla="*/ 3859175 w 8009775"/>
              <a:gd name="connsiteY148" fmla="*/ 2334895 h 6858001"/>
              <a:gd name="connsiteX149" fmla="*/ 3864199 w 8009775"/>
              <a:gd name="connsiteY149" fmla="*/ 2338705 h 6858001"/>
              <a:gd name="connsiteX150" fmla="*/ 3869224 w 8009775"/>
              <a:gd name="connsiteY150" fmla="*/ 2341880 h 6858001"/>
              <a:gd name="connsiteX151" fmla="*/ 3874544 w 8009775"/>
              <a:gd name="connsiteY151" fmla="*/ 2344738 h 6858001"/>
              <a:gd name="connsiteX152" fmla="*/ 3879864 w 8009775"/>
              <a:gd name="connsiteY152" fmla="*/ 2347595 h 6858001"/>
              <a:gd name="connsiteX153" fmla="*/ 3885775 w 8009775"/>
              <a:gd name="connsiteY153" fmla="*/ 2349818 h 6858001"/>
              <a:gd name="connsiteX154" fmla="*/ 3891096 w 8009775"/>
              <a:gd name="connsiteY154" fmla="*/ 2351723 h 6858001"/>
              <a:gd name="connsiteX155" fmla="*/ 3896711 w 8009775"/>
              <a:gd name="connsiteY155" fmla="*/ 2353628 h 6858001"/>
              <a:gd name="connsiteX156" fmla="*/ 3902623 w 8009775"/>
              <a:gd name="connsiteY156" fmla="*/ 2355534 h 6858001"/>
              <a:gd name="connsiteX157" fmla="*/ 3908238 w 8009775"/>
              <a:gd name="connsiteY157" fmla="*/ 2356485 h 6858001"/>
              <a:gd name="connsiteX158" fmla="*/ 3914150 w 8009775"/>
              <a:gd name="connsiteY158" fmla="*/ 2357755 h 6858001"/>
              <a:gd name="connsiteX159" fmla="*/ 3920061 w 8009775"/>
              <a:gd name="connsiteY159" fmla="*/ 2358391 h 6858001"/>
              <a:gd name="connsiteX160" fmla="*/ 3925972 w 8009775"/>
              <a:gd name="connsiteY160" fmla="*/ 2358708 h 6858001"/>
              <a:gd name="connsiteX161" fmla="*/ 3931883 w 8009775"/>
              <a:gd name="connsiteY161" fmla="*/ 2358708 h 6858001"/>
              <a:gd name="connsiteX162" fmla="*/ 3937795 w 8009775"/>
              <a:gd name="connsiteY162" fmla="*/ 2358708 h 6858001"/>
              <a:gd name="connsiteX163" fmla="*/ 3943706 w 8009775"/>
              <a:gd name="connsiteY163" fmla="*/ 2358391 h 6858001"/>
              <a:gd name="connsiteX164" fmla="*/ 3949617 w 8009775"/>
              <a:gd name="connsiteY164" fmla="*/ 2357755 h 6858001"/>
              <a:gd name="connsiteX165" fmla="*/ 3955233 w 8009775"/>
              <a:gd name="connsiteY165" fmla="*/ 2356485 h 6858001"/>
              <a:gd name="connsiteX166" fmla="*/ 3961144 w 8009775"/>
              <a:gd name="connsiteY166" fmla="*/ 2355534 h 6858001"/>
              <a:gd name="connsiteX167" fmla="*/ 3966760 w 8009775"/>
              <a:gd name="connsiteY167" fmla="*/ 2353628 h 6858001"/>
              <a:gd name="connsiteX168" fmla="*/ 3972671 w 8009775"/>
              <a:gd name="connsiteY168" fmla="*/ 2351723 h 6858001"/>
              <a:gd name="connsiteX169" fmla="*/ 3978287 w 8009775"/>
              <a:gd name="connsiteY169" fmla="*/ 2349818 h 6858001"/>
              <a:gd name="connsiteX170" fmla="*/ 3983607 w 8009775"/>
              <a:gd name="connsiteY170" fmla="*/ 2347595 h 6858001"/>
              <a:gd name="connsiteX171" fmla="*/ 3989223 w 8009775"/>
              <a:gd name="connsiteY171" fmla="*/ 2344738 h 6858001"/>
              <a:gd name="connsiteX172" fmla="*/ 3994543 w 8009775"/>
              <a:gd name="connsiteY172" fmla="*/ 2341880 h 6858001"/>
              <a:gd name="connsiteX173" fmla="*/ 3999567 w 8009775"/>
              <a:gd name="connsiteY173" fmla="*/ 2338705 h 6858001"/>
              <a:gd name="connsiteX174" fmla="*/ 4004888 w 8009775"/>
              <a:gd name="connsiteY174" fmla="*/ 2334895 h 6858001"/>
              <a:gd name="connsiteX175" fmla="*/ 4009617 w 8009775"/>
              <a:gd name="connsiteY175" fmla="*/ 2331085 h 6858001"/>
              <a:gd name="connsiteX176" fmla="*/ 4014346 w 8009775"/>
              <a:gd name="connsiteY176" fmla="*/ 2326958 h 6858001"/>
              <a:gd name="connsiteX177" fmla="*/ 4018779 w 8009775"/>
              <a:gd name="connsiteY177" fmla="*/ 2322830 h 6858001"/>
              <a:gd name="connsiteX178" fmla="*/ 4023213 w 8009775"/>
              <a:gd name="connsiteY178" fmla="*/ 2318068 h 6858001"/>
              <a:gd name="connsiteX179" fmla="*/ 4027646 w 8009775"/>
              <a:gd name="connsiteY179" fmla="*/ 2313306 h 6858001"/>
              <a:gd name="connsiteX180" fmla="*/ 4031193 w 8009775"/>
              <a:gd name="connsiteY180" fmla="*/ 2308544 h 6858001"/>
              <a:gd name="connsiteX181" fmla="*/ 4034740 w 8009775"/>
              <a:gd name="connsiteY181" fmla="*/ 2303463 h 6858001"/>
              <a:gd name="connsiteX182" fmla="*/ 4037991 w 8009775"/>
              <a:gd name="connsiteY182" fmla="*/ 2298384 h 6858001"/>
              <a:gd name="connsiteX183" fmla="*/ 4040946 w 8009775"/>
              <a:gd name="connsiteY183" fmla="*/ 2292985 h 6858001"/>
              <a:gd name="connsiteX184" fmla="*/ 4043606 w 8009775"/>
              <a:gd name="connsiteY184" fmla="*/ 2287588 h 6858001"/>
              <a:gd name="connsiteX185" fmla="*/ 4046267 w 8009775"/>
              <a:gd name="connsiteY185" fmla="*/ 2281873 h 6858001"/>
              <a:gd name="connsiteX186" fmla="*/ 4048040 w 8009775"/>
              <a:gd name="connsiteY186" fmla="*/ 2276476 h 6858001"/>
              <a:gd name="connsiteX187" fmla="*/ 4050109 w 8009775"/>
              <a:gd name="connsiteY187" fmla="*/ 2270761 h 6858001"/>
              <a:gd name="connsiteX188" fmla="*/ 4051587 w 8009775"/>
              <a:gd name="connsiteY188" fmla="*/ 2265046 h 6858001"/>
              <a:gd name="connsiteX189" fmla="*/ 4052769 w 8009775"/>
              <a:gd name="connsiteY189" fmla="*/ 2259331 h 6858001"/>
              <a:gd name="connsiteX190" fmla="*/ 4053656 w 8009775"/>
              <a:gd name="connsiteY190" fmla="*/ 2253298 h 6858001"/>
              <a:gd name="connsiteX191" fmla="*/ 4054542 w 8009775"/>
              <a:gd name="connsiteY191" fmla="*/ 2247266 h 6858001"/>
              <a:gd name="connsiteX192" fmla="*/ 4054838 w 8009775"/>
              <a:gd name="connsiteY192" fmla="*/ 2241551 h 6858001"/>
              <a:gd name="connsiteX193" fmla="*/ 4055133 w 8009775"/>
              <a:gd name="connsiteY193" fmla="*/ 2235519 h 6858001"/>
              <a:gd name="connsiteX194" fmla="*/ 4054838 w 8009775"/>
              <a:gd name="connsiteY194" fmla="*/ 2229804 h 6858001"/>
              <a:gd name="connsiteX195" fmla="*/ 4054542 w 8009775"/>
              <a:gd name="connsiteY195" fmla="*/ 2223770 h 6858001"/>
              <a:gd name="connsiteX196" fmla="*/ 4053656 w 8009775"/>
              <a:gd name="connsiteY196" fmla="*/ 2217739 h 6858001"/>
              <a:gd name="connsiteX197" fmla="*/ 4052769 w 8009775"/>
              <a:gd name="connsiteY197" fmla="*/ 2212024 h 6858001"/>
              <a:gd name="connsiteX198" fmla="*/ 4051587 w 8009775"/>
              <a:gd name="connsiteY198" fmla="*/ 2206309 h 6858001"/>
              <a:gd name="connsiteX199" fmla="*/ 4050109 w 8009775"/>
              <a:gd name="connsiteY199" fmla="*/ 2200593 h 6858001"/>
              <a:gd name="connsiteX200" fmla="*/ 4048040 w 8009775"/>
              <a:gd name="connsiteY200" fmla="*/ 2194878 h 6858001"/>
              <a:gd name="connsiteX201" fmla="*/ 4046267 w 8009775"/>
              <a:gd name="connsiteY201" fmla="*/ 2189163 h 6858001"/>
              <a:gd name="connsiteX202" fmla="*/ 4043606 w 8009775"/>
              <a:gd name="connsiteY202" fmla="*/ 2183765 h 6858001"/>
              <a:gd name="connsiteX203" fmla="*/ 4040946 w 8009775"/>
              <a:gd name="connsiteY203" fmla="*/ 2178368 h 6858001"/>
              <a:gd name="connsiteX204" fmla="*/ 4037991 w 8009775"/>
              <a:gd name="connsiteY204" fmla="*/ 2172970 h 6858001"/>
              <a:gd name="connsiteX205" fmla="*/ 4034740 w 8009775"/>
              <a:gd name="connsiteY205" fmla="*/ 2167890 h 6858001"/>
              <a:gd name="connsiteX206" fmla="*/ 4031193 w 8009775"/>
              <a:gd name="connsiteY206" fmla="*/ 2162494 h 6858001"/>
              <a:gd name="connsiteX207" fmla="*/ 4027646 w 8009775"/>
              <a:gd name="connsiteY207" fmla="*/ 2157730 h 6858001"/>
              <a:gd name="connsiteX208" fmla="*/ 4023213 w 8009775"/>
              <a:gd name="connsiteY208" fmla="*/ 2153285 h 6858001"/>
              <a:gd name="connsiteX209" fmla="*/ 4018779 w 8009775"/>
              <a:gd name="connsiteY209" fmla="*/ 2148523 h 6858001"/>
              <a:gd name="connsiteX210" fmla="*/ 3632182 w 8009775"/>
              <a:gd name="connsiteY210" fmla="*/ 1761490 h 6858001"/>
              <a:gd name="connsiteX211" fmla="*/ 3435928 w 8009775"/>
              <a:gd name="connsiteY211" fmla="*/ 1565276 h 6858001"/>
              <a:gd name="connsiteX212" fmla="*/ 3431198 w 8009775"/>
              <a:gd name="connsiteY212" fmla="*/ 1560514 h 6858001"/>
              <a:gd name="connsiteX213" fmla="*/ 3427356 w 8009775"/>
              <a:gd name="connsiteY213" fmla="*/ 1555751 h 6858001"/>
              <a:gd name="connsiteX214" fmla="*/ 3423218 w 8009775"/>
              <a:gd name="connsiteY214" fmla="*/ 1550671 h 6858001"/>
              <a:gd name="connsiteX215" fmla="*/ 3420262 w 8009775"/>
              <a:gd name="connsiteY215" fmla="*/ 1545909 h 6858001"/>
              <a:gd name="connsiteX216" fmla="*/ 3417012 w 8009775"/>
              <a:gd name="connsiteY216" fmla="*/ 1540829 h 6858001"/>
              <a:gd name="connsiteX217" fmla="*/ 3413760 w 8009775"/>
              <a:gd name="connsiteY217" fmla="*/ 1535430 h 6858001"/>
              <a:gd name="connsiteX218" fmla="*/ 3411100 w 8009775"/>
              <a:gd name="connsiteY218" fmla="*/ 1530034 h 6858001"/>
              <a:gd name="connsiteX219" fmla="*/ 3408736 w 8009775"/>
              <a:gd name="connsiteY219" fmla="*/ 1524635 h 6858001"/>
              <a:gd name="connsiteX220" fmla="*/ 3406371 w 8009775"/>
              <a:gd name="connsiteY220" fmla="*/ 1518920 h 6858001"/>
              <a:gd name="connsiteX221" fmla="*/ 3404598 w 8009775"/>
              <a:gd name="connsiteY221" fmla="*/ 1513205 h 6858001"/>
              <a:gd name="connsiteX222" fmla="*/ 3403120 w 8009775"/>
              <a:gd name="connsiteY222" fmla="*/ 1507174 h 6858001"/>
              <a:gd name="connsiteX223" fmla="*/ 3401938 w 8009775"/>
              <a:gd name="connsiteY223" fmla="*/ 1501459 h 6858001"/>
              <a:gd name="connsiteX224" fmla="*/ 3401051 w 8009775"/>
              <a:gd name="connsiteY224" fmla="*/ 1495744 h 6858001"/>
              <a:gd name="connsiteX225" fmla="*/ 3400460 w 8009775"/>
              <a:gd name="connsiteY225" fmla="*/ 1489710 h 6858001"/>
              <a:gd name="connsiteX226" fmla="*/ 3399869 w 8009775"/>
              <a:gd name="connsiteY226" fmla="*/ 1483995 h 6858001"/>
              <a:gd name="connsiteX227" fmla="*/ 3399573 w 8009775"/>
              <a:gd name="connsiteY227" fmla="*/ 1478281 h 6858001"/>
              <a:gd name="connsiteX228" fmla="*/ 3399869 w 8009775"/>
              <a:gd name="connsiteY228" fmla="*/ 1472249 h 6858001"/>
              <a:gd name="connsiteX229" fmla="*/ 3400460 w 8009775"/>
              <a:gd name="connsiteY229" fmla="*/ 1466215 h 6858001"/>
              <a:gd name="connsiteX230" fmla="*/ 3401051 w 8009775"/>
              <a:gd name="connsiteY230" fmla="*/ 1460183 h 6858001"/>
              <a:gd name="connsiteX231" fmla="*/ 3401938 w 8009775"/>
              <a:gd name="connsiteY231" fmla="*/ 1454468 h 6858001"/>
              <a:gd name="connsiteX232" fmla="*/ 3403120 w 8009775"/>
              <a:gd name="connsiteY232" fmla="*/ 1448754 h 6858001"/>
              <a:gd name="connsiteX233" fmla="*/ 3404598 w 8009775"/>
              <a:gd name="connsiteY233" fmla="*/ 1443039 h 6858001"/>
              <a:gd name="connsiteX234" fmla="*/ 3406371 w 8009775"/>
              <a:gd name="connsiteY234" fmla="*/ 1437324 h 6858001"/>
              <a:gd name="connsiteX235" fmla="*/ 3408736 w 8009775"/>
              <a:gd name="connsiteY235" fmla="*/ 1431609 h 6858001"/>
              <a:gd name="connsiteX236" fmla="*/ 3411100 w 8009775"/>
              <a:gd name="connsiteY236" fmla="*/ 1426211 h 6858001"/>
              <a:gd name="connsiteX237" fmla="*/ 3413760 w 8009775"/>
              <a:gd name="connsiteY237" fmla="*/ 1420814 h 6858001"/>
              <a:gd name="connsiteX238" fmla="*/ 3417012 w 8009775"/>
              <a:gd name="connsiteY238" fmla="*/ 1415416 h 6858001"/>
              <a:gd name="connsiteX239" fmla="*/ 3420262 w 8009775"/>
              <a:gd name="connsiteY239" fmla="*/ 1410336 h 6858001"/>
              <a:gd name="connsiteX240" fmla="*/ 3423218 w 8009775"/>
              <a:gd name="connsiteY240" fmla="*/ 1405256 h 6858001"/>
              <a:gd name="connsiteX241" fmla="*/ 3427356 w 8009775"/>
              <a:gd name="connsiteY241" fmla="*/ 1400175 h 6858001"/>
              <a:gd name="connsiteX242" fmla="*/ 3431198 w 8009775"/>
              <a:gd name="connsiteY242" fmla="*/ 1395731 h 6858001"/>
              <a:gd name="connsiteX243" fmla="*/ 3435928 w 8009775"/>
              <a:gd name="connsiteY243" fmla="*/ 1390969 h 6858001"/>
              <a:gd name="connsiteX244" fmla="*/ 3440361 w 8009775"/>
              <a:gd name="connsiteY244" fmla="*/ 1386524 h 6858001"/>
              <a:gd name="connsiteX245" fmla="*/ 3445386 w 8009775"/>
              <a:gd name="connsiteY245" fmla="*/ 1382396 h 6858001"/>
              <a:gd name="connsiteX246" fmla="*/ 3449819 w 8009775"/>
              <a:gd name="connsiteY246" fmla="*/ 1378585 h 6858001"/>
              <a:gd name="connsiteX247" fmla="*/ 3454844 w 8009775"/>
              <a:gd name="connsiteY247" fmla="*/ 1375094 h 6858001"/>
              <a:gd name="connsiteX248" fmla="*/ 3460459 w 8009775"/>
              <a:gd name="connsiteY248" fmla="*/ 1371919 h 6858001"/>
              <a:gd name="connsiteX249" fmla="*/ 3465780 w 8009775"/>
              <a:gd name="connsiteY249" fmla="*/ 1369061 h 6858001"/>
              <a:gd name="connsiteX250" fmla="*/ 3471100 w 8009775"/>
              <a:gd name="connsiteY250" fmla="*/ 1366204 h 6858001"/>
              <a:gd name="connsiteX251" fmla="*/ 3476420 w 8009775"/>
              <a:gd name="connsiteY251" fmla="*/ 1363980 h 6858001"/>
              <a:gd name="connsiteX252" fmla="*/ 3482331 w 8009775"/>
              <a:gd name="connsiteY252" fmla="*/ 1361759 h 6858001"/>
              <a:gd name="connsiteX253" fmla="*/ 3487947 w 8009775"/>
              <a:gd name="connsiteY253" fmla="*/ 1360170 h 6858001"/>
              <a:gd name="connsiteX254" fmla="*/ 3493858 w 8009775"/>
              <a:gd name="connsiteY254" fmla="*/ 1358265 h 6858001"/>
              <a:gd name="connsiteX255" fmla="*/ 3499474 w 8009775"/>
              <a:gd name="connsiteY255" fmla="*/ 1357314 h 6858001"/>
              <a:gd name="connsiteX256" fmla="*/ 3505385 w 8009775"/>
              <a:gd name="connsiteY256" fmla="*/ 1356043 h 6858001"/>
              <a:gd name="connsiteX257" fmla="*/ 3511001 w 8009775"/>
              <a:gd name="connsiteY257" fmla="*/ 1355409 h 6858001"/>
              <a:gd name="connsiteX258" fmla="*/ 3517208 w 8009775"/>
              <a:gd name="connsiteY258" fmla="*/ 1355090 h 6858001"/>
              <a:gd name="connsiteX259" fmla="*/ 3522823 w 8009775"/>
              <a:gd name="connsiteY259" fmla="*/ 1354773 h 6858001"/>
              <a:gd name="connsiteX260" fmla="*/ 3529030 w 8009775"/>
              <a:gd name="connsiteY260" fmla="*/ 1355090 h 6858001"/>
              <a:gd name="connsiteX261" fmla="*/ 3534646 w 8009775"/>
              <a:gd name="connsiteY261" fmla="*/ 1355409 h 6858001"/>
              <a:gd name="connsiteX262" fmla="*/ 3540557 w 8009775"/>
              <a:gd name="connsiteY262" fmla="*/ 1356043 h 6858001"/>
              <a:gd name="connsiteX263" fmla="*/ 3546468 w 8009775"/>
              <a:gd name="connsiteY263" fmla="*/ 1357314 h 6858001"/>
              <a:gd name="connsiteX264" fmla="*/ 3552380 w 8009775"/>
              <a:gd name="connsiteY264" fmla="*/ 1358265 h 6858001"/>
              <a:gd name="connsiteX265" fmla="*/ 3557995 w 8009775"/>
              <a:gd name="connsiteY265" fmla="*/ 1360170 h 6858001"/>
              <a:gd name="connsiteX266" fmla="*/ 3563906 w 8009775"/>
              <a:gd name="connsiteY266" fmla="*/ 1361759 h 6858001"/>
              <a:gd name="connsiteX267" fmla="*/ 3569227 w 8009775"/>
              <a:gd name="connsiteY267" fmla="*/ 1363980 h 6858001"/>
              <a:gd name="connsiteX268" fmla="*/ 3574842 w 8009775"/>
              <a:gd name="connsiteY268" fmla="*/ 1366204 h 6858001"/>
              <a:gd name="connsiteX269" fmla="*/ 3580458 w 8009775"/>
              <a:gd name="connsiteY269" fmla="*/ 1369061 h 6858001"/>
              <a:gd name="connsiteX270" fmla="*/ 3585778 w 8009775"/>
              <a:gd name="connsiteY270" fmla="*/ 1371919 h 6858001"/>
              <a:gd name="connsiteX271" fmla="*/ 3590803 w 8009775"/>
              <a:gd name="connsiteY271" fmla="*/ 1375094 h 6858001"/>
              <a:gd name="connsiteX272" fmla="*/ 3595828 w 8009775"/>
              <a:gd name="connsiteY272" fmla="*/ 1378585 h 6858001"/>
              <a:gd name="connsiteX273" fmla="*/ 3600852 w 8009775"/>
              <a:gd name="connsiteY273" fmla="*/ 1382396 h 6858001"/>
              <a:gd name="connsiteX274" fmla="*/ 3605581 w 8009775"/>
              <a:gd name="connsiteY274" fmla="*/ 1386524 h 6858001"/>
              <a:gd name="connsiteX275" fmla="*/ 3610014 w 8009775"/>
              <a:gd name="connsiteY275" fmla="*/ 1390969 h 6858001"/>
              <a:gd name="connsiteX276" fmla="*/ 3817500 w 8009775"/>
              <a:gd name="connsiteY276" fmla="*/ 1598296 h 6858001"/>
              <a:gd name="connsiteX277" fmla="*/ 3821934 w 8009775"/>
              <a:gd name="connsiteY277" fmla="*/ 1602423 h 6858001"/>
              <a:gd name="connsiteX278" fmla="*/ 3826663 w 8009775"/>
              <a:gd name="connsiteY278" fmla="*/ 1606869 h 6858001"/>
              <a:gd name="connsiteX279" fmla="*/ 3831687 w 8009775"/>
              <a:gd name="connsiteY279" fmla="*/ 1610361 h 6858001"/>
              <a:gd name="connsiteX280" fmla="*/ 3836712 w 8009775"/>
              <a:gd name="connsiteY280" fmla="*/ 1613854 h 6858001"/>
              <a:gd name="connsiteX281" fmla="*/ 3841736 w 8009775"/>
              <a:gd name="connsiteY281" fmla="*/ 1617345 h 6858001"/>
              <a:gd name="connsiteX282" fmla="*/ 3847352 w 8009775"/>
              <a:gd name="connsiteY282" fmla="*/ 1620204 h 6858001"/>
              <a:gd name="connsiteX283" fmla="*/ 3852672 w 8009775"/>
              <a:gd name="connsiteY283" fmla="*/ 1623061 h 6858001"/>
              <a:gd name="connsiteX284" fmla="*/ 3857992 w 8009775"/>
              <a:gd name="connsiteY284" fmla="*/ 1625283 h 6858001"/>
              <a:gd name="connsiteX285" fmla="*/ 3863608 w 8009775"/>
              <a:gd name="connsiteY285" fmla="*/ 1627189 h 6858001"/>
              <a:gd name="connsiteX286" fmla="*/ 3869519 w 8009775"/>
              <a:gd name="connsiteY286" fmla="*/ 1629094 h 6858001"/>
              <a:gd name="connsiteX287" fmla="*/ 3875135 w 8009775"/>
              <a:gd name="connsiteY287" fmla="*/ 1630998 h 6858001"/>
              <a:gd name="connsiteX288" fmla="*/ 3881046 w 8009775"/>
              <a:gd name="connsiteY288" fmla="*/ 1631950 h 6858001"/>
              <a:gd name="connsiteX289" fmla="*/ 3886662 w 8009775"/>
              <a:gd name="connsiteY289" fmla="*/ 1632904 h 6858001"/>
              <a:gd name="connsiteX290" fmla="*/ 3892869 w 8009775"/>
              <a:gd name="connsiteY290" fmla="*/ 1633856 h 6858001"/>
              <a:gd name="connsiteX291" fmla="*/ 3898485 w 8009775"/>
              <a:gd name="connsiteY291" fmla="*/ 1634174 h 6858001"/>
              <a:gd name="connsiteX292" fmla="*/ 3904396 w 8009775"/>
              <a:gd name="connsiteY292" fmla="*/ 1634174 h 6858001"/>
              <a:gd name="connsiteX293" fmla="*/ 3910307 w 8009775"/>
              <a:gd name="connsiteY293" fmla="*/ 1634174 h 6858001"/>
              <a:gd name="connsiteX294" fmla="*/ 3916219 w 8009775"/>
              <a:gd name="connsiteY294" fmla="*/ 1633856 h 6858001"/>
              <a:gd name="connsiteX295" fmla="*/ 3922425 w 8009775"/>
              <a:gd name="connsiteY295" fmla="*/ 1632904 h 6858001"/>
              <a:gd name="connsiteX296" fmla="*/ 3928041 w 8009775"/>
              <a:gd name="connsiteY296" fmla="*/ 1631950 h 6858001"/>
              <a:gd name="connsiteX297" fmla="*/ 3933657 w 8009775"/>
              <a:gd name="connsiteY297" fmla="*/ 1630998 h 6858001"/>
              <a:gd name="connsiteX298" fmla="*/ 3939568 w 8009775"/>
              <a:gd name="connsiteY298" fmla="*/ 1629094 h 6858001"/>
              <a:gd name="connsiteX299" fmla="*/ 3945184 w 8009775"/>
              <a:gd name="connsiteY299" fmla="*/ 1627189 h 6858001"/>
              <a:gd name="connsiteX300" fmla="*/ 3950799 w 8009775"/>
              <a:gd name="connsiteY300" fmla="*/ 1625283 h 6858001"/>
              <a:gd name="connsiteX301" fmla="*/ 3956415 w 8009775"/>
              <a:gd name="connsiteY301" fmla="*/ 1623061 h 6858001"/>
              <a:gd name="connsiteX302" fmla="*/ 3961735 w 8009775"/>
              <a:gd name="connsiteY302" fmla="*/ 1620204 h 6858001"/>
              <a:gd name="connsiteX303" fmla="*/ 3967055 w 8009775"/>
              <a:gd name="connsiteY303" fmla="*/ 1617345 h 6858001"/>
              <a:gd name="connsiteX304" fmla="*/ 3972376 w 8009775"/>
              <a:gd name="connsiteY304" fmla="*/ 1613854 h 6858001"/>
              <a:gd name="connsiteX305" fmla="*/ 3977400 w 8009775"/>
              <a:gd name="connsiteY305" fmla="*/ 1610361 h 6858001"/>
              <a:gd name="connsiteX306" fmla="*/ 3982425 w 8009775"/>
              <a:gd name="connsiteY306" fmla="*/ 1606869 h 6858001"/>
              <a:gd name="connsiteX307" fmla="*/ 3986858 w 8009775"/>
              <a:gd name="connsiteY307" fmla="*/ 1602423 h 6858001"/>
              <a:gd name="connsiteX308" fmla="*/ 3991587 w 8009775"/>
              <a:gd name="connsiteY308" fmla="*/ 1598296 h 6858001"/>
              <a:gd name="connsiteX309" fmla="*/ 3996021 w 8009775"/>
              <a:gd name="connsiteY309" fmla="*/ 1593533 h 6858001"/>
              <a:gd name="connsiteX310" fmla="*/ 4000159 w 8009775"/>
              <a:gd name="connsiteY310" fmla="*/ 1588771 h 6858001"/>
              <a:gd name="connsiteX311" fmla="*/ 4003705 w 8009775"/>
              <a:gd name="connsiteY311" fmla="*/ 1583691 h 6858001"/>
              <a:gd name="connsiteX312" fmla="*/ 4007548 w 8009775"/>
              <a:gd name="connsiteY312" fmla="*/ 1578928 h 6858001"/>
              <a:gd name="connsiteX313" fmla="*/ 4010799 w 8009775"/>
              <a:gd name="connsiteY313" fmla="*/ 1573849 h 6858001"/>
              <a:gd name="connsiteX314" fmla="*/ 4013459 w 8009775"/>
              <a:gd name="connsiteY314" fmla="*/ 1568451 h 6858001"/>
              <a:gd name="connsiteX315" fmla="*/ 4016415 w 8009775"/>
              <a:gd name="connsiteY315" fmla="*/ 1563054 h 6858001"/>
              <a:gd name="connsiteX316" fmla="*/ 4018484 w 8009775"/>
              <a:gd name="connsiteY316" fmla="*/ 1557339 h 6858001"/>
              <a:gd name="connsiteX317" fmla="*/ 4020848 w 8009775"/>
              <a:gd name="connsiteY317" fmla="*/ 1551941 h 6858001"/>
              <a:gd name="connsiteX318" fmla="*/ 4022621 w 8009775"/>
              <a:gd name="connsiteY318" fmla="*/ 1546226 h 6858001"/>
              <a:gd name="connsiteX319" fmla="*/ 4024395 w 8009775"/>
              <a:gd name="connsiteY319" fmla="*/ 1540511 h 6858001"/>
              <a:gd name="connsiteX320" fmla="*/ 4025282 w 8009775"/>
              <a:gd name="connsiteY320" fmla="*/ 1534478 h 6858001"/>
              <a:gd name="connsiteX321" fmla="*/ 4026464 w 8009775"/>
              <a:gd name="connsiteY321" fmla="*/ 1528763 h 6858001"/>
              <a:gd name="connsiteX322" fmla="*/ 4027055 w 8009775"/>
              <a:gd name="connsiteY322" fmla="*/ 1522731 h 6858001"/>
              <a:gd name="connsiteX323" fmla="*/ 4027646 w 8009775"/>
              <a:gd name="connsiteY323" fmla="*/ 1517016 h 6858001"/>
              <a:gd name="connsiteX324" fmla="*/ 4027646 w 8009775"/>
              <a:gd name="connsiteY324" fmla="*/ 1510984 h 6858001"/>
              <a:gd name="connsiteX325" fmla="*/ 4027646 w 8009775"/>
              <a:gd name="connsiteY325" fmla="*/ 1505268 h 6858001"/>
              <a:gd name="connsiteX326" fmla="*/ 4027055 w 8009775"/>
              <a:gd name="connsiteY326" fmla="*/ 1499553 h 6858001"/>
              <a:gd name="connsiteX327" fmla="*/ 4026464 w 8009775"/>
              <a:gd name="connsiteY327" fmla="*/ 1493204 h 6858001"/>
              <a:gd name="connsiteX328" fmla="*/ 4025282 w 8009775"/>
              <a:gd name="connsiteY328" fmla="*/ 1487489 h 6858001"/>
              <a:gd name="connsiteX329" fmla="*/ 4024395 w 8009775"/>
              <a:gd name="connsiteY329" fmla="*/ 1481773 h 6858001"/>
              <a:gd name="connsiteX330" fmla="*/ 4022621 w 8009775"/>
              <a:gd name="connsiteY330" fmla="*/ 1476058 h 6858001"/>
              <a:gd name="connsiteX331" fmla="*/ 4020848 w 8009775"/>
              <a:gd name="connsiteY331" fmla="*/ 1470343 h 6858001"/>
              <a:gd name="connsiteX332" fmla="*/ 4018484 w 8009775"/>
              <a:gd name="connsiteY332" fmla="*/ 1464629 h 6858001"/>
              <a:gd name="connsiteX333" fmla="*/ 4016415 w 8009775"/>
              <a:gd name="connsiteY333" fmla="*/ 1459231 h 6858001"/>
              <a:gd name="connsiteX334" fmla="*/ 4013459 w 8009775"/>
              <a:gd name="connsiteY334" fmla="*/ 1453834 h 6858001"/>
              <a:gd name="connsiteX335" fmla="*/ 4010799 w 8009775"/>
              <a:gd name="connsiteY335" fmla="*/ 1448436 h 6858001"/>
              <a:gd name="connsiteX336" fmla="*/ 4007548 w 8009775"/>
              <a:gd name="connsiteY336" fmla="*/ 1443356 h 6858001"/>
              <a:gd name="connsiteX337" fmla="*/ 4003705 w 8009775"/>
              <a:gd name="connsiteY337" fmla="*/ 1438275 h 6858001"/>
              <a:gd name="connsiteX338" fmla="*/ 4000159 w 8009775"/>
              <a:gd name="connsiteY338" fmla="*/ 1433195 h 6858001"/>
              <a:gd name="connsiteX339" fmla="*/ 3996021 w 8009775"/>
              <a:gd name="connsiteY339" fmla="*/ 1428751 h 6858001"/>
              <a:gd name="connsiteX340" fmla="*/ 3991587 w 8009775"/>
              <a:gd name="connsiteY340" fmla="*/ 1423988 h 6858001"/>
              <a:gd name="connsiteX341" fmla="*/ 3323022 w 8009775"/>
              <a:gd name="connsiteY341" fmla="*/ 755333 h 6858001"/>
              <a:gd name="connsiteX342" fmla="*/ 3316815 w 8009775"/>
              <a:gd name="connsiteY342" fmla="*/ 748348 h 6858001"/>
              <a:gd name="connsiteX343" fmla="*/ 3310904 w 8009775"/>
              <a:gd name="connsiteY343" fmla="*/ 741045 h 6858001"/>
              <a:gd name="connsiteX344" fmla="*/ 3305584 w 8009775"/>
              <a:gd name="connsiteY344" fmla="*/ 733108 h 6858001"/>
              <a:gd name="connsiteX345" fmla="*/ 3300855 w 8009775"/>
              <a:gd name="connsiteY345" fmla="*/ 725170 h 6858001"/>
              <a:gd name="connsiteX346" fmla="*/ 3297308 w 8009775"/>
              <a:gd name="connsiteY346" fmla="*/ 716915 h 6858001"/>
              <a:gd name="connsiteX347" fmla="*/ 3293761 w 8009775"/>
              <a:gd name="connsiteY347" fmla="*/ 708660 h 6858001"/>
              <a:gd name="connsiteX348" fmla="*/ 3291101 w 8009775"/>
              <a:gd name="connsiteY348" fmla="*/ 699770 h 6858001"/>
              <a:gd name="connsiteX349" fmla="*/ 3289328 w 8009775"/>
              <a:gd name="connsiteY349" fmla="*/ 691198 h 6858001"/>
              <a:gd name="connsiteX350" fmla="*/ 2596527 w 8009775"/>
              <a:gd name="connsiteY350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1808 w 8009775"/>
              <a:gd name="connsiteY68" fmla="*/ 0 h 6858001"/>
              <a:gd name="connsiteX69" fmla="*/ 55488 w 8009775"/>
              <a:gd name="connsiteY69" fmla="*/ 0 h 6858001"/>
              <a:gd name="connsiteX70" fmla="*/ 0 w 8009775"/>
              <a:gd name="connsiteY70" fmla="*/ 0 h 6858001"/>
              <a:gd name="connsiteX71" fmla="*/ 0 w 8009775"/>
              <a:gd name="connsiteY71" fmla="*/ 6858000 h 6858001"/>
              <a:gd name="connsiteX72" fmla="*/ 7507651 w 8009775"/>
              <a:gd name="connsiteY72" fmla="*/ 6858001 h 6858001"/>
              <a:gd name="connsiteX73" fmla="*/ 8009775 w 8009775"/>
              <a:gd name="connsiteY73" fmla="*/ 6858000 h 6858001"/>
              <a:gd name="connsiteX74" fmla="*/ 3996316 w 8009775"/>
              <a:gd name="connsiteY74" fmla="*/ 2818448 h 6858001"/>
              <a:gd name="connsiteX75" fmla="*/ 3980947 w 8009775"/>
              <a:gd name="connsiteY75" fmla="*/ 2804795 h 6858001"/>
              <a:gd name="connsiteX76" fmla="*/ 3965282 w 8009775"/>
              <a:gd name="connsiteY76" fmla="*/ 2791144 h 6858001"/>
              <a:gd name="connsiteX77" fmla="*/ 3950799 w 8009775"/>
              <a:gd name="connsiteY77" fmla="*/ 2776856 h 6858001"/>
              <a:gd name="connsiteX78" fmla="*/ 3936021 w 8009775"/>
              <a:gd name="connsiteY78" fmla="*/ 2762568 h 6858001"/>
              <a:gd name="connsiteX79" fmla="*/ 3001744 w 8009775"/>
              <a:gd name="connsiteY79" fmla="*/ 1828166 h 6858001"/>
              <a:gd name="connsiteX80" fmla="*/ 2997311 w 8009775"/>
              <a:gd name="connsiteY80" fmla="*/ 1823404 h 6858001"/>
              <a:gd name="connsiteX81" fmla="*/ 2992878 w 8009775"/>
              <a:gd name="connsiteY81" fmla="*/ 1818640 h 6858001"/>
              <a:gd name="connsiteX82" fmla="*/ 2989331 w 8009775"/>
              <a:gd name="connsiteY82" fmla="*/ 1814195 h 6858001"/>
              <a:gd name="connsiteX83" fmla="*/ 2985784 w 8009775"/>
              <a:gd name="connsiteY83" fmla="*/ 1808799 h 6858001"/>
              <a:gd name="connsiteX84" fmla="*/ 2982533 w 8009775"/>
              <a:gd name="connsiteY84" fmla="*/ 1803718 h 6858001"/>
              <a:gd name="connsiteX85" fmla="*/ 2979873 w 8009775"/>
              <a:gd name="connsiteY85" fmla="*/ 1798321 h 6858001"/>
              <a:gd name="connsiteX86" fmla="*/ 2976917 w 8009775"/>
              <a:gd name="connsiteY86" fmla="*/ 1792924 h 6858001"/>
              <a:gd name="connsiteX87" fmla="*/ 2974552 w 8009775"/>
              <a:gd name="connsiteY87" fmla="*/ 1787526 h 6858001"/>
              <a:gd name="connsiteX88" fmla="*/ 2972484 w 8009775"/>
              <a:gd name="connsiteY88" fmla="*/ 1781811 h 6858001"/>
              <a:gd name="connsiteX89" fmla="*/ 2970710 w 8009775"/>
              <a:gd name="connsiteY89" fmla="*/ 1776095 h 6858001"/>
              <a:gd name="connsiteX90" fmla="*/ 2968937 w 8009775"/>
              <a:gd name="connsiteY90" fmla="*/ 1770380 h 6858001"/>
              <a:gd name="connsiteX91" fmla="*/ 2967755 w 8009775"/>
              <a:gd name="connsiteY91" fmla="*/ 1764665 h 6858001"/>
              <a:gd name="connsiteX92" fmla="*/ 2966868 w 8009775"/>
              <a:gd name="connsiteY92" fmla="*/ 1758634 h 6858001"/>
              <a:gd name="connsiteX93" fmla="*/ 2965981 w 8009775"/>
              <a:gd name="connsiteY93" fmla="*/ 1752919 h 6858001"/>
              <a:gd name="connsiteX94" fmla="*/ 2965686 w 8009775"/>
              <a:gd name="connsiteY94" fmla="*/ 1746885 h 6858001"/>
              <a:gd name="connsiteX95" fmla="*/ 2965686 w 8009775"/>
              <a:gd name="connsiteY95" fmla="*/ 1741170 h 6858001"/>
              <a:gd name="connsiteX96" fmla="*/ 2965686 w 8009775"/>
              <a:gd name="connsiteY96" fmla="*/ 1735139 h 6858001"/>
              <a:gd name="connsiteX97" fmla="*/ 2965981 w 8009775"/>
              <a:gd name="connsiteY97" fmla="*/ 1729424 h 6858001"/>
              <a:gd name="connsiteX98" fmla="*/ 2966868 w 8009775"/>
              <a:gd name="connsiteY98" fmla="*/ 1723074 h 6858001"/>
              <a:gd name="connsiteX99" fmla="*/ 2967755 w 8009775"/>
              <a:gd name="connsiteY99" fmla="*/ 1717358 h 6858001"/>
              <a:gd name="connsiteX100" fmla="*/ 2968937 w 8009775"/>
              <a:gd name="connsiteY100" fmla="*/ 1711643 h 6858001"/>
              <a:gd name="connsiteX101" fmla="*/ 2970710 w 8009775"/>
              <a:gd name="connsiteY101" fmla="*/ 1705929 h 6858001"/>
              <a:gd name="connsiteX102" fmla="*/ 2972484 w 8009775"/>
              <a:gd name="connsiteY102" fmla="*/ 1700214 h 6858001"/>
              <a:gd name="connsiteX103" fmla="*/ 2974552 w 8009775"/>
              <a:gd name="connsiteY103" fmla="*/ 1694816 h 6858001"/>
              <a:gd name="connsiteX104" fmla="*/ 2976917 w 8009775"/>
              <a:gd name="connsiteY104" fmla="*/ 1689101 h 6858001"/>
              <a:gd name="connsiteX105" fmla="*/ 2979873 w 8009775"/>
              <a:gd name="connsiteY105" fmla="*/ 1683703 h 6858001"/>
              <a:gd name="connsiteX106" fmla="*/ 2982533 w 8009775"/>
              <a:gd name="connsiteY106" fmla="*/ 1678305 h 6858001"/>
              <a:gd name="connsiteX107" fmla="*/ 2985784 w 8009775"/>
              <a:gd name="connsiteY107" fmla="*/ 1673226 h 6858001"/>
              <a:gd name="connsiteX108" fmla="*/ 2989331 w 8009775"/>
              <a:gd name="connsiteY108" fmla="*/ 1668145 h 6858001"/>
              <a:gd name="connsiteX109" fmla="*/ 2992878 w 8009775"/>
              <a:gd name="connsiteY109" fmla="*/ 1663066 h 6858001"/>
              <a:gd name="connsiteX110" fmla="*/ 2997311 w 8009775"/>
              <a:gd name="connsiteY110" fmla="*/ 1658621 h 6858001"/>
              <a:gd name="connsiteX111" fmla="*/ 3001744 w 8009775"/>
              <a:gd name="connsiteY111" fmla="*/ 1653859 h 6858001"/>
              <a:gd name="connsiteX112" fmla="*/ 3006178 w 8009775"/>
              <a:gd name="connsiteY112" fmla="*/ 1649414 h 6858001"/>
              <a:gd name="connsiteX113" fmla="*/ 3010907 w 8009775"/>
              <a:gd name="connsiteY113" fmla="*/ 1645603 h 6858001"/>
              <a:gd name="connsiteX114" fmla="*/ 3015932 w 8009775"/>
              <a:gd name="connsiteY114" fmla="*/ 1641794 h 6858001"/>
              <a:gd name="connsiteX115" fmla="*/ 3020956 w 8009775"/>
              <a:gd name="connsiteY115" fmla="*/ 1637984 h 6858001"/>
              <a:gd name="connsiteX116" fmla="*/ 3025981 w 8009775"/>
              <a:gd name="connsiteY116" fmla="*/ 1634809 h 6858001"/>
              <a:gd name="connsiteX117" fmla="*/ 3031596 w 8009775"/>
              <a:gd name="connsiteY117" fmla="*/ 1631950 h 6858001"/>
              <a:gd name="connsiteX118" fmla="*/ 3036916 w 8009775"/>
              <a:gd name="connsiteY118" fmla="*/ 1629094 h 6858001"/>
              <a:gd name="connsiteX119" fmla="*/ 3042532 w 8009775"/>
              <a:gd name="connsiteY119" fmla="*/ 1626871 h 6858001"/>
              <a:gd name="connsiteX120" fmla="*/ 3047852 w 8009775"/>
              <a:gd name="connsiteY120" fmla="*/ 1624649 h 6858001"/>
              <a:gd name="connsiteX121" fmla="*/ 3053764 w 8009775"/>
              <a:gd name="connsiteY121" fmla="*/ 1623061 h 6858001"/>
              <a:gd name="connsiteX122" fmla="*/ 3059379 w 8009775"/>
              <a:gd name="connsiteY122" fmla="*/ 1621155 h 6858001"/>
              <a:gd name="connsiteX123" fmla="*/ 3065291 w 8009775"/>
              <a:gd name="connsiteY123" fmla="*/ 1620204 h 6858001"/>
              <a:gd name="connsiteX124" fmla="*/ 3070906 w 8009775"/>
              <a:gd name="connsiteY124" fmla="*/ 1618934 h 6858001"/>
              <a:gd name="connsiteX125" fmla="*/ 3077113 w 8009775"/>
              <a:gd name="connsiteY125" fmla="*/ 1618299 h 6858001"/>
              <a:gd name="connsiteX126" fmla="*/ 3082729 w 8009775"/>
              <a:gd name="connsiteY126" fmla="*/ 1617981 h 6858001"/>
              <a:gd name="connsiteX127" fmla="*/ 3088936 w 8009775"/>
              <a:gd name="connsiteY127" fmla="*/ 1617981 h 6858001"/>
              <a:gd name="connsiteX128" fmla="*/ 3094552 w 8009775"/>
              <a:gd name="connsiteY128" fmla="*/ 1617981 h 6858001"/>
              <a:gd name="connsiteX129" fmla="*/ 3100758 w 8009775"/>
              <a:gd name="connsiteY129" fmla="*/ 1618299 h 6858001"/>
              <a:gd name="connsiteX130" fmla="*/ 3106670 w 8009775"/>
              <a:gd name="connsiteY130" fmla="*/ 1618934 h 6858001"/>
              <a:gd name="connsiteX131" fmla="*/ 3112285 w 8009775"/>
              <a:gd name="connsiteY131" fmla="*/ 1620204 h 6858001"/>
              <a:gd name="connsiteX132" fmla="*/ 3117901 w 8009775"/>
              <a:gd name="connsiteY132" fmla="*/ 1621155 h 6858001"/>
              <a:gd name="connsiteX133" fmla="*/ 3123812 w 8009775"/>
              <a:gd name="connsiteY133" fmla="*/ 1623061 h 6858001"/>
              <a:gd name="connsiteX134" fmla="*/ 3129428 w 8009775"/>
              <a:gd name="connsiteY134" fmla="*/ 1624649 h 6858001"/>
              <a:gd name="connsiteX135" fmla="*/ 3135339 w 8009775"/>
              <a:gd name="connsiteY135" fmla="*/ 1626871 h 6858001"/>
              <a:gd name="connsiteX136" fmla="*/ 3140660 w 8009775"/>
              <a:gd name="connsiteY136" fmla="*/ 1629094 h 6858001"/>
              <a:gd name="connsiteX137" fmla="*/ 3145980 w 8009775"/>
              <a:gd name="connsiteY137" fmla="*/ 1631950 h 6858001"/>
              <a:gd name="connsiteX138" fmla="*/ 3151300 w 8009775"/>
              <a:gd name="connsiteY138" fmla="*/ 1634809 h 6858001"/>
              <a:gd name="connsiteX139" fmla="*/ 3156324 w 8009775"/>
              <a:gd name="connsiteY139" fmla="*/ 1637984 h 6858001"/>
              <a:gd name="connsiteX140" fmla="*/ 3161349 w 8009775"/>
              <a:gd name="connsiteY140" fmla="*/ 1641794 h 6858001"/>
              <a:gd name="connsiteX141" fmla="*/ 3166374 w 8009775"/>
              <a:gd name="connsiteY141" fmla="*/ 1645603 h 6858001"/>
              <a:gd name="connsiteX142" fmla="*/ 3171102 w 8009775"/>
              <a:gd name="connsiteY142" fmla="*/ 1649414 h 6858001"/>
              <a:gd name="connsiteX143" fmla="*/ 3175832 w 8009775"/>
              <a:gd name="connsiteY143" fmla="*/ 1653859 h 6858001"/>
              <a:gd name="connsiteX144" fmla="*/ 3844692 w 8009775"/>
              <a:gd name="connsiteY144" fmla="*/ 2322830 h 6858001"/>
              <a:gd name="connsiteX145" fmla="*/ 3849421 w 8009775"/>
              <a:gd name="connsiteY145" fmla="*/ 2326958 h 6858001"/>
              <a:gd name="connsiteX146" fmla="*/ 3854150 w 8009775"/>
              <a:gd name="connsiteY146" fmla="*/ 2331085 h 6858001"/>
              <a:gd name="connsiteX147" fmla="*/ 3859175 w 8009775"/>
              <a:gd name="connsiteY147" fmla="*/ 2334895 h 6858001"/>
              <a:gd name="connsiteX148" fmla="*/ 3864199 w 8009775"/>
              <a:gd name="connsiteY148" fmla="*/ 2338705 h 6858001"/>
              <a:gd name="connsiteX149" fmla="*/ 3869224 w 8009775"/>
              <a:gd name="connsiteY149" fmla="*/ 2341880 h 6858001"/>
              <a:gd name="connsiteX150" fmla="*/ 3874544 w 8009775"/>
              <a:gd name="connsiteY150" fmla="*/ 2344738 h 6858001"/>
              <a:gd name="connsiteX151" fmla="*/ 3879864 w 8009775"/>
              <a:gd name="connsiteY151" fmla="*/ 2347595 h 6858001"/>
              <a:gd name="connsiteX152" fmla="*/ 3885775 w 8009775"/>
              <a:gd name="connsiteY152" fmla="*/ 2349818 h 6858001"/>
              <a:gd name="connsiteX153" fmla="*/ 3891096 w 8009775"/>
              <a:gd name="connsiteY153" fmla="*/ 2351723 h 6858001"/>
              <a:gd name="connsiteX154" fmla="*/ 3896711 w 8009775"/>
              <a:gd name="connsiteY154" fmla="*/ 2353628 h 6858001"/>
              <a:gd name="connsiteX155" fmla="*/ 3902623 w 8009775"/>
              <a:gd name="connsiteY155" fmla="*/ 2355534 h 6858001"/>
              <a:gd name="connsiteX156" fmla="*/ 3908238 w 8009775"/>
              <a:gd name="connsiteY156" fmla="*/ 2356485 h 6858001"/>
              <a:gd name="connsiteX157" fmla="*/ 3914150 w 8009775"/>
              <a:gd name="connsiteY157" fmla="*/ 2357755 h 6858001"/>
              <a:gd name="connsiteX158" fmla="*/ 3920061 w 8009775"/>
              <a:gd name="connsiteY158" fmla="*/ 2358391 h 6858001"/>
              <a:gd name="connsiteX159" fmla="*/ 3925972 w 8009775"/>
              <a:gd name="connsiteY159" fmla="*/ 2358708 h 6858001"/>
              <a:gd name="connsiteX160" fmla="*/ 3931883 w 8009775"/>
              <a:gd name="connsiteY160" fmla="*/ 2358708 h 6858001"/>
              <a:gd name="connsiteX161" fmla="*/ 3937795 w 8009775"/>
              <a:gd name="connsiteY161" fmla="*/ 2358708 h 6858001"/>
              <a:gd name="connsiteX162" fmla="*/ 3943706 w 8009775"/>
              <a:gd name="connsiteY162" fmla="*/ 2358391 h 6858001"/>
              <a:gd name="connsiteX163" fmla="*/ 3949617 w 8009775"/>
              <a:gd name="connsiteY163" fmla="*/ 2357755 h 6858001"/>
              <a:gd name="connsiteX164" fmla="*/ 3955233 w 8009775"/>
              <a:gd name="connsiteY164" fmla="*/ 2356485 h 6858001"/>
              <a:gd name="connsiteX165" fmla="*/ 3961144 w 8009775"/>
              <a:gd name="connsiteY165" fmla="*/ 2355534 h 6858001"/>
              <a:gd name="connsiteX166" fmla="*/ 3966760 w 8009775"/>
              <a:gd name="connsiteY166" fmla="*/ 2353628 h 6858001"/>
              <a:gd name="connsiteX167" fmla="*/ 3972671 w 8009775"/>
              <a:gd name="connsiteY167" fmla="*/ 2351723 h 6858001"/>
              <a:gd name="connsiteX168" fmla="*/ 3978287 w 8009775"/>
              <a:gd name="connsiteY168" fmla="*/ 2349818 h 6858001"/>
              <a:gd name="connsiteX169" fmla="*/ 3983607 w 8009775"/>
              <a:gd name="connsiteY169" fmla="*/ 2347595 h 6858001"/>
              <a:gd name="connsiteX170" fmla="*/ 3989223 w 8009775"/>
              <a:gd name="connsiteY170" fmla="*/ 2344738 h 6858001"/>
              <a:gd name="connsiteX171" fmla="*/ 3994543 w 8009775"/>
              <a:gd name="connsiteY171" fmla="*/ 2341880 h 6858001"/>
              <a:gd name="connsiteX172" fmla="*/ 3999567 w 8009775"/>
              <a:gd name="connsiteY172" fmla="*/ 2338705 h 6858001"/>
              <a:gd name="connsiteX173" fmla="*/ 4004888 w 8009775"/>
              <a:gd name="connsiteY173" fmla="*/ 2334895 h 6858001"/>
              <a:gd name="connsiteX174" fmla="*/ 4009617 w 8009775"/>
              <a:gd name="connsiteY174" fmla="*/ 2331085 h 6858001"/>
              <a:gd name="connsiteX175" fmla="*/ 4014346 w 8009775"/>
              <a:gd name="connsiteY175" fmla="*/ 2326958 h 6858001"/>
              <a:gd name="connsiteX176" fmla="*/ 4018779 w 8009775"/>
              <a:gd name="connsiteY176" fmla="*/ 2322830 h 6858001"/>
              <a:gd name="connsiteX177" fmla="*/ 4023213 w 8009775"/>
              <a:gd name="connsiteY177" fmla="*/ 2318068 h 6858001"/>
              <a:gd name="connsiteX178" fmla="*/ 4027646 w 8009775"/>
              <a:gd name="connsiteY178" fmla="*/ 2313306 h 6858001"/>
              <a:gd name="connsiteX179" fmla="*/ 4031193 w 8009775"/>
              <a:gd name="connsiteY179" fmla="*/ 2308544 h 6858001"/>
              <a:gd name="connsiteX180" fmla="*/ 4034740 w 8009775"/>
              <a:gd name="connsiteY180" fmla="*/ 2303463 h 6858001"/>
              <a:gd name="connsiteX181" fmla="*/ 4037991 w 8009775"/>
              <a:gd name="connsiteY181" fmla="*/ 2298384 h 6858001"/>
              <a:gd name="connsiteX182" fmla="*/ 4040946 w 8009775"/>
              <a:gd name="connsiteY182" fmla="*/ 2292985 h 6858001"/>
              <a:gd name="connsiteX183" fmla="*/ 4043606 w 8009775"/>
              <a:gd name="connsiteY183" fmla="*/ 2287588 h 6858001"/>
              <a:gd name="connsiteX184" fmla="*/ 4046267 w 8009775"/>
              <a:gd name="connsiteY184" fmla="*/ 2281873 h 6858001"/>
              <a:gd name="connsiteX185" fmla="*/ 4048040 w 8009775"/>
              <a:gd name="connsiteY185" fmla="*/ 2276476 h 6858001"/>
              <a:gd name="connsiteX186" fmla="*/ 4050109 w 8009775"/>
              <a:gd name="connsiteY186" fmla="*/ 2270761 h 6858001"/>
              <a:gd name="connsiteX187" fmla="*/ 4051587 w 8009775"/>
              <a:gd name="connsiteY187" fmla="*/ 2265046 h 6858001"/>
              <a:gd name="connsiteX188" fmla="*/ 4052769 w 8009775"/>
              <a:gd name="connsiteY188" fmla="*/ 2259331 h 6858001"/>
              <a:gd name="connsiteX189" fmla="*/ 4053656 w 8009775"/>
              <a:gd name="connsiteY189" fmla="*/ 2253298 h 6858001"/>
              <a:gd name="connsiteX190" fmla="*/ 4054542 w 8009775"/>
              <a:gd name="connsiteY190" fmla="*/ 2247266 h 6858001"/>
              <a:gd name="connsiteX191" fmla="*/ 4054838 w 8009775"/>
              <a:gd name="connsiteY191" fmla="*/ 2241551 h 6858001"/>
              <a:gd name="connsiteX192" fmla="*/ 4055133 w 8009775"/>
              <a:gd name="connsiteY192" fmla="*/ 2235519 h 6858001"/>
              <a:gd name="connsiteX193" fmla="*/ 4054838 w 8009775"/>
              <a:gd name="connsiteY193" fmla="*/ 2229804 h 6858001"/>
              <a:gd name="connsiteX194" fmla="*/ 4054542 w 8009775"/>
              <a:gd name="connsiteY194" fmla="*/ 2223770 h 6858001"/>
              <a:gd name="connsiteX195" fmla="*/ 4053656 w 8009775"/>
              <a:gd name="connsiteY195" fmla="*/ 2217739 h 6858001"/>
              <a:gd name="connsiteX196" fmla="*/ 4052769 w 8009775"/>
              <a:gd name="connsiteY196" fmla="*/ 2212024 h 6858001"/>
              <a:gd name="connsiteX197" fmla="*/ 4051587 w 8009775"/>
              <a:gd name="connsiteY197" fmla="*/ 2206309 h 6858001"/>
              <a:gd name="connsiteX198" fmla="*/ 4050109 w 8009775"/>
              <a:gd name="connsiteY198" fmla="*/ 2200593 h 6858001"/>
              <a:gd name="connsiteX199" fmla="*/ 4048040 w 8009775"/>
              <a:gd name="connsiteY199" fmla="*/ 2194878 h 6858001"/>
              <a:gd name="connsiteX200" fmla="*/ 4046267 w 8009775"/>
              <a:gd name="connsiteY200" fmla="*/ 2189163 h 6858001"/>
              <a:gd name="connsiteX201" fmla="*/ 4043606 w 8009775"/>
              <a:gd name="connsiteY201" fmla="*/ 2183765 h 6858001"/>
              <a:gd name="connsiteX202" fmla="*/ 4040946 w 8009775"/>
              <a:gd name="connsiteY202" fmla="*/ 2178368 h 6858001"/>
              <a:gd name="connsiteX203" fmla="*/ 4037991 w 8009775"/>
              <a:gd name="connsiteY203" fmla="*/ 2172970 h 6858001"/>
              <a:gd name="connsiteX204" fmla="*/ 4034740 w 8009775"/>
              <a:gd name="connsiteY204" fmla="*/ 2167890 h 6858001"/>
              <a:gd name="connsiteX205" fmla="*/ 4031193 w 8009775"/>
              <a:gd name="connsiteY205" fmla="*/ 2162494 h 6858001"/>
              <a:gd name="connsiteX206" fmla="*/ 4027646 w 8009775"/>
              <a:gd name="connsiteY206" fmla="*/ 2157730 h 6858001"/>
              <a:gd name="connsiteX207" fmla="*/ 4023213 w 8009775"/>
              <a:gd name="connsiteY207" fmla="*/ 2153285 h 6858001"/>
              <a:gd name="connsiteX208" fmla="*/ 4018779 w 8009775"/>
              <a:gd name="connsiteY208" fmla="*/ 2148523 h 6858001"/>
              <a:gd name="connsiteX209" fmla="*/ 3632182 w 8009775"/>
              <a:gd name="connsiteY209" fmla="*/ 1761490 h 6858001"/>
              <a:gd name="connsiteX210" fmla="*/ 3435928 w 8009775"/>
              <a:gd name="connsiteY210" fmla="*/ 1565276 h 6858001"/>
              <a:gd name="connsiteX211" fmla="*/ 3431198 w 8009775"/>
              <a:gd name="connsiteY211" fmla="*/ 1560514 h 6858001"/>
              <a:gd name="connsiteX212" fmla="*/ 3427356 w 8009775"/>
              <a:gd name="connsiteY212" fmla="*/ 1555751 h 6858001"/>
              <a:gd name="connsiteX213" fmla="*/ 3423218 w 8009775"/>
              <a:gd name="connsiteY213" fmla="*/ 1550671 h 6858001"/>
              <a:gd name="connsiteX214" fmla="*/ 3420262 w 8009775"/>
              <a:gd name="connsiteY214" fmla="*/ 1545909 h 6858001"/>
              <a:gd name="connsiteX215" fmla="*/ 3417012 w 8009775"/>
              <a:gd name="connsiteY215" fmla="*/ 1540829 h 6858001"/>
              <a:gd name="connsiteX216" fmla="*/ 3413760 w 8009775"/>
              <a:gd name="connsiteY216" fmla="*/ 1535430 h 6858001"/>
              <a:gd name="connsiteX217" fmla="*/ 3411100 w 8009775"/>
              <a:gd name="connsiteY217" fmla="*/ 1530034 h 6858001"/>
              <a:gd name="connsiteX218" fmla="*/ 3408736 w 8009775"/>
              <a:gd name="connsiteY218" fmla="*/ 1524635 h 6858001"/>
              <a:gd name="connsiteX219" fmla="*/ 3406371 w 8009775"/>
              <a:gd name="connsiteY219" fmla="*/ 1518920 h 6858001"/>
              <a:gd name="connsiteX220" fmla="*/ 3404598 w 8009775"/>
              <a:gd name="connsiteY220" fmla="*/ 1513205 h 6858001"/>
              <a:gd name="connsiteX221" fmla="*/ 3403120 w 8009775"/>
              <a:gd name="connsiteY221" fmla="*/ 1507174 h 6858001"/>
              <a:gd name="connsiteX222" fmla="*/ 3401938 w 8009775"/>
              <a:gd name="connsiteY222" fmla="*/ 1501459 h 6858001"/>
              <a:gd name="connsiteX223" fmla="*/ 3401051 w 8009775"/>
              <a:gd name="connsiteY223" fmla="*/ 1495744 h 6858001"/>
              <a:gd name="connsiteX224" fmla="*/ 3400460 w 8009775"/>
              <a:gd name="connsiteY224" fmla="*/ 1489710 h 6858001"/>
              <a:gd name="connsiteX225" fmla="*/ 3399869 w 8009775"/>
              <a:gd name="connsiteY225" fmla="*/ 1483995 h 6858001"/>
              <a:gd name="connsiteX226" fmla="*/ 3399573 w 8009775"/>
              <a:gd name="connsiteY226" fmla="*/ 1478281 h 6858001"/>
              <a:gd name="connsiteX227" fmla="*/ 3399869 w 8009775"/>
              <a:gd name="connsiteY227" fmla="*/ 1472249 h 6858001"/>
              <a:gd name="connsiteX228" fmla="*/ 3400460 w 8009775"/>
              <a:gd name="connsiteY228" fmla="*/ 1466215 h 6858001"/>
              <a:gd name="connsiteX229" fmla="*/ 3401051 w 8009775"/>
              <a:gd name="connsiteY229" fmla="*/ 1460183 h 6858001"/>
              <a:gd name="connsiteX230" fmla="*/ 3401938 w 8009775"/>
              <a:gd name="connsiteY230" fmla="*/ 1454468 h 6858001"/>
              <a:gd name="connsiteX231" fmla="*/ 3403120 w 8009775"/>
              <a:gd name="connsiteY231" fmla="*/ 1448754 h 6858001"/>
              <a:gd name="connsiteX232" fmla="*/ 3404598 w 8009775"/>
              <a:gd name="connsiteY232" fmla="*/ 1443039 h 6858001"/>
              <a:gd name="connsiteX233" fmla="*/ 3406371 w 8009775"/>
              <a:gd name="connsiteY233" fmla="*/ 1437324 h 6858001"/>
              <a:gd name="connsiteX234" fmla="*/ 3408736 w 8009775"/>
              <a:gd name="connsiteY234" fmla="*/ 1431609 h 6858001"/>
              <a:gd name="connsiteX235" fmla="*/ 3411100 w 8009775"/>
              <a:gd name="connsiteY235" fmla="*/ 1426211 h 6858001"/>
              <a:gd name="connsiteX236" fmla="*/ 3413760 w 8009775"/>
              <a:gd name="connsiteY236" fmla="*/ 1420814 h 6858001"/>
              <a:gd name="connsiteX237" fmla="*/ 3417012 w 8009775"/>
              <a:gd name="connsiteY237" fmla="*/ 1415416 h 6858001"/>
              <a:gd name="connsiteX238" fmla="*/ 3420262 w 8009775"/>
              <a:gd name="connsiteY238" fmla="*/ 1410336 h 6858001"/>
              <a:gd name="connsiteX239" fmla="*/ 3423218 w 8009775"/>
              <a:gd name="connsiteY239" fmla="*/ 1405256 h 6858001"/>
              <a:gd name="connsiteX240" fmla="*/ 3427356 w 8009775"/>
              <a:gd name="connsiteY240" fmla="*/ 1400175 h 6858001"/>
              <a:gd name="connsiteX241" fmla="*/ 3431198 w 8009775"/>
              <a:gd name="connsiteY241" fmla="*/ 1395731 h 6858001"/>
              <a:gd name="connsiteX242" fmla="*/ 3435928 w 8009775"/>
              <a:gd name="connsiteY242" fmla="*/ 1390969 h 6858001"/>
              <a:gd name="connsiteX243" fmla="*/ 3440361 w 8009775"/>
              <a:gd name="connsiteY243" fmla="*/ 1386524 h 6858001"/>
              <a:gd name="connsiteX244" fmla="*/ 3445386 w 8009775"/>
              <a:gd name="connsiteY244" fmla="*/ 1382396 h 6858001"/>
              <a:gd name="connsiteX245" fmla="*/ 3449819 w 8009775"/>
              <a:gd name="connsiteY245" fmla="*/ 1378585 h 6858001"/>
              <a:gd name="connsiteX246" fmla="*/ 3454844 w 8009775"/>
              <a:gd name="connsiteY246" fmla="*/ 1375094 h 6858001"/>
              <a:gd name="connsiteX247" fmla="*/ 3460459 w 8009775"/>
              <a:gd name="connsiteY247" fmla="*/ 1371919 h 6858001"/>
              <a:gd name="connsiteX248" fmla="*/ 3465780 w 8009775"/>
              <a:gd name="connsiteY248" fmla="*/ 1369061 h 6858001"/>
              <a:gd name="connsiteX249" fmla="*/ 3471100 w 8009775"/>
              <a:gd name="connsiteY249" fmla="*/ 1366204 h 6858001"/>
              <a:gd name="connsiteX250" fmla="*/ 3476420 w 8009775"/>
              <a:gd name="connsiteY250" fmla="*/ 1363980 h 6858001"/>
              <a:gd name="connsiteX251" fmla="*/ 3482331 w 8009775"/>
              <a:gd name="connsiteY251" fmla="*/ 1361759 h 6858001"/>
              <a:gd name="connsiteX252" fmla="*/ 3487947 w 8009775"/>
              <a:gd name="connsiteY252" fmla="*/ 1360170 h 6858001"/>
              <a:gd name="connsiteX253" fmla="*/ 3493858 w 8009775"/>
              <a:gd name="connsiteY253" fmla="*/ 1358265 h 6858001"/>
              <a:gd name="connsiteX254" fmla="*/ 3499474 w 8009775"/>
              <a:gd name="connsiteY254" fmla="*/ 1357314 h 6858001"/>
              <a:gd name="connsiteX255" fmla="*/ 3505385 w 8009775"/>
              <a:gd name="connsiteY255" fmla="*/ 1356043 h 6858001"/>
              <a:gd name="connsiteX256" fmla="*/ 3511001 w 8009775"/>
              <a:gd name="connsiteY256" fmla="*/ 1355409 h 6858001"/>
              <a:gd name="connsiteX257" fmla="*/ 3517208 w 8009775"/>
              <a:gd name="connsiteY257" fmla="*/ 1355090 h 6858001"/>
              <a:gd name="connsiteX258" fmla="*/ 3522823 w 8009775"/>
              <a:gd name="connsiteY258" fmla="*/ 1354773 h 6858001"/>
              <a:gd name="connsiteX259" fmla="*/ 3529030 w 8009775"/>
              <a:gd name="connsiteY259" fmla="*/ 1355090 h 6858001"/>
              <a:gd name="connsiteX260" fmla="*/ 3534646 w 8009775"/>
              <a:gd name="connsiteY260" fmla="*/ 1355409 h 6858001"/>
              <a:gd name="connsiteX261" fmla="*/ 3540557 w 8009775"/>
              <a:gd name="connsiteY261" fmla="*/ 1356043 h 6858001"/>
              <a:gd name="connsiteX262" fmla="*/ 3546468 w 8009775"/>
              <a:gd name="connsiteY262" fmla="*/ 1357314 h 6858001"/>
              <a:gd name="connsiteX263" fmla="*/ 3552380 w 8009775"/>
              <a:gd name="connsiteY263" fmla="*/ 1358265 h 6858001"/>
              <a:gd name="connsiteX264" fmla="*/ 3557995 w 8009775"/>
              <a:gd name="connsiteY264" fmla="*/ 1360170 h 6858001"/>
              <a:gd name="connsiteX265" fmla="*/ 3563906 w 8009775"/>
              <a:gd name="connsiteY265" fmla="*/ 1361759 h 6858001"/>
              <a:gd name="connsiteX266" fmla="*/ 3569227 w 8009775"/>
              <a:gd name="connsiteY266" fmla="*/ 1363980 h 6858001"/>
              <a:gd name="connsiteX267" fmla="*/ 3574842 w 8009775"/>
              <a:gd name="connsiteY267" fmla="*/ 1366204 h 6858001"/>
              <a:gd name="connsiteX268" fmla="*/ 3580458 w 8009775"/>
              <a:gd name="connsiteY268" fmla="*/ 1369061 h 6858001"/>
              <a:gd name="connsiteX269" fmla="*/ 3585778 w 8009775"/>
              <a:gd name="connsiteY269" fmla="*/ 1371919 h 6858001"/>
              <a:gd name="connsiteX270" fmla="*/ 3590803 w 8009775"/>
              <a:gd name="connsiteY270" fmla="*/ 1375094 h 6858001"/>
              <a:gd name="connsiteX271" fmla="*/ 3595828 w 8009775"/>
              <a:gd name="connsiteY271" fmla="*/ 1378585 h 6858001"/>
              <a:gd name="connsiteX272" fmla="*/ 3600852 w 8009775"/>
              <a:gd name="connsiteY272" fmla="*/ 1382396 h 6858001"/>
              <a:gd name="connsiteX273" fmla="*/ 3605581 w 8009775"/>
              <a:gd name="connsiteY273" fmla="*/ 1386524 h 6858001"/>
              <a:gd name="connsiteX274" fmla="*/ 3610014 w 8009775"/>
              <a:gd name="connsiteY274" fmla="*/ 1390969 h 6858001"/>
              <a:gd name="connsiteX275" fmla="*/ 3817500 w 8009775"/>
              <a:gd name="connsiteY275" fmla="*/ 1598296 h 6858001"/>
              <a:gd name="connsiteX276" fmla="*/ 3821934 w 8009775"/>
              <a:gd name="connsiteY276" fmla="*/ 1602423 h 6858001"/>
              <a:gd name="connsiteX277" fmla="*/ 3826663 w 8009775"/>
              <a:gd name="connsiteY277" fmla="*/ 1606869 h 6858001"/>
              <a:gd name="connsiteX278" fmla="*/ 3831687 w 8009775"/>
              <a:gd name="connsiteY278" fmla="*/ 1610361 h 6858001"/>
              <a:gd name="connsiteX279" fmla="*/ 3836712 w 8009775"/>
              <a:gd name="connsiteY279" fmla="*/ 1613854 h 6858001"/>
              <a:gd name="connsiteX280" fmla="*/ 3841736 w 8009775"/>
              <a:gd name="connsiteY280" fmla="*/ 1617345 h 6858001"/>
              <a:gd name="connsiteX281" fmla="*/ 3847352 w 8009775"/>
              <a:gd name="connsiteY281" fmla="*/ 1620204 h 6858001"/>
              <a:gd name="connsiteX282" fmla="*/ 3852672 w 8009775"/>
              <a:gd name="connsiteY282" fmla="*/ 1623061 h 6858001"/>
              <a:gd name="connsiteX283" fmla="*/ 3857992 w 8009775"/>
              <a:gd name="connsiteY283" fmla="*/ 1625283 h 6858001"/>
              <a:gd name="connsiteX284" fmla="*/ 3863608 w 8009775"/>
              <a:gd name="connsiteY284" fmla="*/ 1627189 h 6858001"/>
              <a:gd name="connsiteX285" fmla="*/ 3869519 w 8009775"/>
              <a:gd name="connsiteY285" fmla="*/ 1629094 h 6858001"/>
              <a:gd name="connsiteX286" fmla="*/ 3875135 w 8009775"/>
              <a:gd name="connsiteY286" fmla="*/ 1630998 h 6858001"/>
              <a:gd name="connsiteX287" fmla="*/ 3881046 w 8009775"/>
              <a:gd name="connsiteY287" fmla="*/ 1631950 h 6858001"/>
              <a:gd name="connsiteX288" fmla="*/ 3886662 w 8009775"/>
              <a:gd name="connsiteY288" fmla="*/ 1632904 h 6858001"/>
              <a:gd name="connsiteX289" fmla="*/ 3892869 w 8009775"/>
              <a:gd name="connsiteY289" fmla="*/ 1633856 h 6858001"/>
              <a:gd name="connsiteX290" fmla="*/ 3898485 w 8009775"/>
              <a:gd name="connsiteY290" fmla="*/ 1634174 h 6858001"/>
              <a:gd name="connsiteX291" fmla="*/ 3904396 w 8009775"/>
              <a:gd name="connsiteY291" fmla="*/ 1634174 h 6858001"/>
              <a:gd name="connsiteX292" fmla="*/ 3910307 w 8009775"/>
              <a:gd name="connsiteY292" fmla="*/ 1634174 h 6858001"/>
              <a:gd name="connsiteX293" fmla="*/ 3916219 w 8009775"/>
              <a:gd name="connsiteY293" fmla="*/ 1633856 h 6858001"/>
              <a:gd name="connsiteX294" fmla="*/ 3922425 w 8009775"/>
              <a:gd name="connsiteY294" fmla="*/ 1632904 h 6858001"/>
              <a:gd name="connsiteX295" fmla="*/ 3928041 w 8009775"/>
              <a:gd name="connsiteY295" fmla="*/ 1631950 h 6858001"/>
              <a:gd name="connsiteX296" fmla="*/ 3933657 w 8009775"/>
              <a:gd name="connsiteY296" fmla="*/ 1630998 h 6858001"/>
              <a:gd name="connsiteX297" fmla="*/ 3939568 w 8009775"/>
              <a:gd name="connsiteY297" fmla="*/ 1629094 h 6858001"/>
              <a:gd name="connsiteX298" fmla="*/ 3945184 w 8009775"/>
              <a:gd name="connsiteY298" fmla="*/ 1627189 h 6858001"/>
              <a:gd name="connsiteX299" fmla="*/ 3950799 w 8009775"/>
              <a:gd name="connsiteY299" fmla="*/ 1625283 h 6858001"/>
              <a:gd name="connsiteX300" fmla="*/ 3956415 w 8009775"/>
              <a:gd name="connsiteY300" fmla="*/ 1623061 h 6858001"/>
              <a:gd name="connsiteX301" fmla="*/ 3961735 w 8009775"/>
              <a:gd name="connsiteY301" fmla="*/ 1620204 h 6858001"/>
              <a:gd name="connsiteX302" fmla="*/ 3967055 w 8009775"/>
              <a:gd name="connsiteY302" fmla="*/ 1617345 h 6858001"/>
              <a:gd name="connsiteX303" fmla="*/ 3972376 w 8009775"/>
              <a:gd name="connsiteY303" fmla="*/ 1613854 h 6858001"/>
              <a:gd name="connsiteX304" fmla="*/ 3977400 w 8009775"/>
              <a:gd name="connsiteY304" fmla="*/ 1610361 h 6858001"/>
              <a:gd name="connsiteX305" fmla="*/ 3982425 w 8009775"/>
              <a:gd name="connsiteY305" fmla="*/ 1606869 h 6858001"/>
              <a:gd name="connsiteX306" fmla="*/ 3986858 w 8009775"/>
              <a:gd name="connsiteY306" fmla="*/ 1602423 h 6858001"/>
              <a:gd name="connsiteX307" fmla="*/ 3991587 w 8009775"/>
              <a:gd name="connsiteY307" fmla="*/ 1598296 h 6858001"/>
              <a:gd name="connsiteX308" fmla="*/ 3996021 w 8009775"/>
              <a:gd name="connsiteY308" fmla="*/ 1593533 h 6858001"/>
              <a:gd name="connsiteX309" fmla="*/ 4000159 w 8009775"/>
              <a:gd name="connsiteY309" fmla="*/ 1588771 h 6858001"/>
              <a:gd name="connsiteX310" fmla="*/ 4003705 w 8009775"/>
              <a:gd name="connsiteY310" fmla="*/ 1583691 h 6858001"/>
              <a:gd name="connsiteX311" fmla="*/ 4007548 w 8009775"/>
              <a:gd name="connsiteY311" fmla="*/ 1578928 h 6858001"/>
              <a:gd name="connsiteX312" fmla="*/ 4010799 w 8009775"/>
              <a:gd name="connsiteY312" fmla="*/ 1573849 h 6858001"/>
              <a:gd name="connsiteX313" fmla="*/ 4013459 w 8009775"/>
              <a:gd name="connsiteY313" fmla="*/ 1568451 h 6858001"/>
              <a:gd name="connsiteX314" fmla="*/ 4016415 w 8009775"/>
              <a:gd name="connsiteY314" fmla="*/ 1563054 h 6858001"/>
              <a:gd name="connsiteX315" fmla="*/ 4018484 w 8009775"/>
              <a:gd name="connsiteY315" fmla="*/ 1557339 h 6858001"/>
              <a:gd name="connsiteX316" fmla="*/ 4020848 w 8009775"/>
              <a:gd name="connsiteY316" fmla="*/ 1551941 h 6858001"/>
              <a:gd name="connsiteX317" fmla="*/ 4022621 w 8009775"/>
              <a:gd name="connsiteY317" fmla="*/ 1546226 h 6858001"/>
              <a:gd name="connsiteX318" fmla="*/ 4024395 w 8009775"/>
              <a:gd name="connsiteY318" fmla="*/ 1540511 h 6858001"/>
              <a:gd name="connsiteX319" fmla="*/ 4025282 w 8009775"/>
              <a:gd name="connsiteY319" fmla="*/ 1534478 h 6858001"/>
              <a:gd name="connsiteX320" fmla="*/ 4026464 w 8009775"/>
              <a:gd name="connsiteY320" fmla="*/ 1528763 h 6858001"/>
              <a:gd name="connsiteX321" fmla="*/ 4027055 w 8009775"/>
              <a:gd name="connsiteY321" fmla="*/ 1522731 h 6858001"/>
              <a:gd name="connsiteX322" fmla="*/ 4027646 w 8009775"/>
              <a:gd name="connsiteY322" fmla="*/ 1517016 h 6858001"/>
              <a:gd name="connsiteX323" fmla="*/ 4027646 w 8009775"/>
              <a:gd name="connsiteY323" fmla="*/ 1510984 h 6858001"/>
              <a:gd name="connsiteX324" fmla="*/ 4027646 w 8009775"/>
              <a:gd name="connsiteY324" fmla="*/ 1505268 h 6858001"/>
              <a:gd name="connsiteX325" fmla="*/ 4027055 w 8009775"/>
              <a:gd name="connsiteY325" fmla="*/ 1499553 h 6858001"/>
              <a:gd name="connsiteX326" fmla="*/ 4026464 w 8009775"/>
              <a:gd name="connsiteY326" fmla="*/ 1493204 h 6858001"/>
              <a:gd name="connsiteX327" fmla="*/ 4025282 w 8009775"/>
              <a:gd name="connsiteY327" fmla="*/ 1487489 h 6858001"/>
              <a:gd name="connsiteX328" fmla="*/ 4024395 w 8009775"/>
              <a:gd name="connsiteY328" fmla="*/ 1481773 h 6858001"/>
              <a:gd name="connsiteX329" fmla="*/ 4022621 w 8009775"/>
              <a:gd name="connsiteY329" fmla="*/ 1476058 h 6858001"/>
              <a:gd name="connsiteX330" fmla="*/ 4020848 w 8009775"/>
              <a:gd name="connsiteY330" fmla="*/ 1470343 h 6858001"/>
              <a:gd name="connsiteX331" fmla="*/ 4018484 w 8009775"/>
              <a:gd name="connsiteY331" fmla="*/ 1464629 h 6858001"/>
              <a:gd name="connsiteX332" fmla="*/ 4016415 w 8009775"/>
              <a:gd name="connsiteY332" fmla="*/ 1459231 h 6858001"/>
              <a:gd name="connsiteX333" fmla="*/ 4013459 w 8009775"/>
              <a:gd name="connsiteY333" fmla="*/ 1453834 h 6858001"/>
              <a:gd name="connsiteX334" fmla="*/ 4010799 w 8009775"/>
              <a:gd name="connsiteY334" fmla="*/ 1448436 h 6858001"/>
              <a:gd name="connsiteX335" fmla="*/ 4007548 w 8009775"/>
              <a:gd name="connsiteY335" fmla="*/ 1443356 h 6858001"/>
              <a:gd name="connsiteX336" fmla="*/ 4003705 w 8009775"/>
              <a:gd name="connsiteY336" fmla="*/ 1438275 h 6858001"/>
              <a:gd name="connsiteX337" fmla="*/ 4000159 w 8009775"/>
              <a:gd name="connsiteY337" fmla="*/ 1433195 h 6858001"/>
              <a:gd name="connsiteX338" fmla="*/ 3996021 w 8009775"/>
              <a:gd name="connsiteY338" fmla="*/ 1428751 h 6858001"/>
              <a:gd name="connsiteX339" fmla="*/ 3991587 w 8009775"/>
              <a:gd name="connsiteY339" fmla="*/ 1423988 h 6858001"/>
              <a:gd name="connsiteX340" fmla="*/ 3323022 w 8009775"/>
              <a:gd name="connsiteY340" fmla="*/ 755333 h 6858001"/>
              <a:gd name="connsiteX341" fmla="*/ 3316815 w 8009775"/>
              <a:gd name="connsiteY341" fmla="*/ 748348 h 6858001"/>
              <a:gd name="connsiteX342" fmla="*/ 3310904 w 8009775"/>
              <a:gd name="connsiteY342" fmla="*/ 741045 h 6858001"/>
              <a:gd name="connsiteX343" fmla="*/ 3305584 w 8009775"/>
              <a:gd name="connsiteY343" fmla="*/ 733108 h 6858001"/>
              <a:gd name="connsiteX344" fmla="*/ 3300855 w 8009775"/>
              <a:gd name="connsiteY344" fmla="*/ 725170 h 6858001"/>
              <a:gd name="connsiteX345" fmla="*/ 3297308 w 8009775"/>
              <a:gd name="connsiteY345" fmla="*/ 716915 h 6858001"/>
              <a:gd name="connsiteX346" fmla="*/ 3293761 w 8009775"/>
              <a:gd name="connsiteY346" fmla="*/ 708660 h 6858001"/>
              <a:gd name="connsiteX347" fmla="*/ 3291101 w 8009775"/>
              <a:gd name="connsiteY347" fmla="*/ 699770 h 6858001"/>
              <a:gd name="connsiteX348" fmla="*/ 3289328 w 8009775"/>
              <a:gd name="connsiteY348" fmla="*/ 691198 h 6858001"/>
              <a:gd name="connsiteX349" fmla="*/ 2596527 w 8009775"/>
              <a:gd name="connsiteY349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55488 w 8009775"/>
              <a:gd name="connsiteY68" fmla="*/ 0 h 6858001"/>
              <a:gd name="connsiteX69" fmla="*/ 0 w 8009775"/>
              <a:gd name="connsiteY69" fmla="*/ 0 h 6858001"/>
              <a:gd name="connsiteX70" fmla="*/ 0 w 8009775"/>
              <a:gd name="connsiteY70" fmla="*/ 6858000 h 6858001"/>
              <a:gd name="connsiteX71" fmla="*/ 7507651 w 8009775"/>
              <a:gd name="connsiteY71" fmla="*/ 6858001 h 6858001"/>
              <a:gd name="connsiteX72" fmla="*/ 8009775 w 8009775"/>
              <a:gd name="connsiteY72" fmla="*/ 6858000 h 6858001"/>
              <a:gd name="connsiteX73" fmla="*/ 3996316 w 8009775"/>
              <a:gd name="connsiteY73" fmla="*/ 2818448 h 6858001"/>
              <a:gd name="connsiteX74" fmla="*/ 3980947 w 8009775"/>
              <a:gd name="connsiteY74" fmla="*/ 2804795 h 6858001"/>
              <a:gd name="connsiteX75" fmla="*/ 3965282 w 8009775"/>
              <a:gd name="connsiteY75" fmla="*/ 2791144 h 6858001"/>
              <a:gd name="connsiteX76" fmla="*/ 3950799 w 8009775"/>
              <a:gd name="connsiteY76" fmla="*/ 2776856 h 6858001"/>
              <a:gd name="connsiteX77" fmla="*/ 3936021 w 8009775"/>
              <a:gd name="connsiteY77" fmla="*/ 2762568 h 6858001"/>
              <a:gd name="connsiteX78" fmla="*/ 3001744 w 8009775"/>
              <a:gd name="connsiteY78" fmla="*/ 1828166 h 6858001"/>
              <a:gd name="connsiteX79" fmla="*/ 2997311 w 8009775"/>
              <a:gd name="connsiteY79" fmla="*/ 1823404 h 6858001"/>
              <a:gd name="connsiteX80" fmla="*/ 2992878 w 8009775"/>
              <a:gd name="connsiteY80" fmla="*/ 1818640 h 6858001"/>
              <a:gd name="connsiteX81" fmla="*/ 2989331 w 8009775"/>
              <a:gd name="connsiteY81" fmla="*/ 1814195 h 6858001"/>
              <a:gd name="connsiteX82" fmla="*/ 2985784 w 8009775"/>
              <a:gd name="connsiteY82" fmla="*/ 1808799 h 6858001"/>
              <a:gd name="connsiteX83" fmla="*/ 2982533 w 8009775"/>
              <a:gd name="connsiteY83" fmla="*/ 1803718 h 6858001"/>
              <a:gd name="connsiteX84" fmla="*/ 2979873 w 8009775"/>
              <a:gd name="connsiteY84" fmla="*/ 1798321 h 6858001"/>
              <a:gd name="connsiteX85" fmla="*/ 2976917 w 8009775"/>
              <a:gd name="connsiteY85" fmla="*/ 1792924 h 6858001"/>
              <a:gd name="connsiteX86" fmla="*/ 2974552 w 8009775"/>
              <a:gd name="connsiteY86" fmla="*/ 1787526 h 6858001"/>
              <a:gd name="connsiteX87" fmla="*/ 2972484 w 8009775"/>
              <a:gd name="connsiteY87" fmla="*/ 1781811 h 6858001"/>
              <a:gd name="connsiteX88" fmla="*/ 2970710 w 8009775"/>
              <a:gd name="connsiteY88" fmla="*/ 1776095 h 6858001"/>
              <a:gd name="connsiteX89" fmla="*/ 2968937 w 8009775"/>
              <a:gd name="connsiteY89" fmla="*/ 1770380 h 6858001"/>
              <a:gd name="connsiteX90" fmla="*/ 2967755 w 8009775"/>
              <a:gd name="connsiteY90" fmla="*/ 1764665 h 6858001"/>
              <a:gd name="connsiteX91" fmla="*/ 2966868 w 8009775"/>
              <a:gd name="connsiteY91" fmla="*/ 1758634 h 6858001"/>
              <a:gd name="connsiteX92" fmla="*/ 2965981 w 8009775"/>
              <a:gd name="connsiteY92" fmla="*/ 1752919 h 6858001"/>
              <a:gd name="connsiteX93" fmla="*/ 2965686 w 8009775"/>
              <a:gd name="connsiteY93" fmla="*/ 1746885 h 6858001"/>
              <a:gd name="connsiteX94" fmla="*/ 2965686 w 8009775"/>
              <a:gd name="connsiteY94" fmla="*/ 1741170 h 6858001"/>
              <a:gd name="connsiteX95" fmla="*/ 2965686 w 8009775"/>
              <a:gd name="connsiteY95" fmla="*/ 1735139 h 6858001"/>
              <a:gd name="connsiteX96" fmla="*/ 2965981 w 8009775"/>
              <a:gd name="connsiteY96" fmla="*/ 1729424 h 6858001"/>
              <a:gd name="connsiteX97" fmla="*/ 2966868 w 8009775"/>
              <a:gd name="connsiteY97" fmla="*/ 1723074 h 6858001"/>
              <a:gd name="connsiteX98" fmla="*/ 2967755 w 8009775"/>
              <a:gd name="connsiteY98" fmla="*/ 1717358 h 6858001"/>
              <a:gd name="connsiteX99" fmla="*/ 2968937 w 8009775"/>
              <a:gd name="connsiteY99" fmla="*/ 1711643 h 6858001"/>
              <a:gd name="connsiteX100" fmla="*/ 2970710 w 8009775"/>
              <a:gd name="connsiteY100" fmla="*/ 1705929 h 6858001"/>
              <a:gd name="connsiteX101" fmla="*/ 2972484 w 8009775"/>
              <a:gd name="connsiteY101" fmla="*/ 1700214 h 6858001"/>
              <a:gd name="connsiteX102" fmla="*/ 2974552 w 8009775"/>
              <a:gd name="connsiteY102" fmla="*/ 1694816 h 6858001"/>
              <a:gd name="connsiteX103" fmla="*/ 2976917 w 8009775"/>
              <a:gd name="connsiteY103" fmla="*/ 1689101 h 6858001"/>
              <a:gd name="connsiteX104" fmla="*/ 2979873 w 8009775"/>
              <a:gd name="connsiteY104" fmla="*/ 1683703 h 6858001"/>
              <a:gd name="connsiteX105" fmla="*/ 2982533 w 8009775"/>
              <a:gd name="connsiteY105" fmla="*/ 1678305 h 6858001"/>
              <a:gd name="connsiteX106" fmla="*/ 2985784 w 8009775"/>
              <a:gd name="connsiteY106" fmla="*/ 1673226 h 6858001"/>
              <a:gd name="connsiteX107" fmla="*/ 2989331 w 8009775"/>
              <a:gd name="connsiteY107" fmla="*/ 1668145 h 6858001"/>
              <a:gd name="connsiteX108" fmla="*/ 2992878 w 8009775"/>
              <a:gd name="connsiteY108" fmla="*/ 1663066 h 6858001"/>
              <a:gd name="connsiteX109" fmla="*/ 2997311 w 8009775"/>
              <a:gd name="connsiteY109" fmla="*/ 1658621 h 6858001"/>
              <a:gd name="connsiteX110" fmla="*/ 3001744 w 8009775"/>
              <a:gd name="connsiteY110" fmla="*/ 1653859 h 6858001"/>
              <a:gd name="connsiteX111" fmla="*/ 3006178 w 8009775"/>
              <a:gd name="connsiteY111" fmla="*/ 1649414 h 6858001"/>
              <a:gd name="connsiteX112" fmla="*/ 3010907 w 8009775"/>
              <a:gd name="connsiteY112" fmla="*/ 1645603 h 6858001"/>
              <a:gd name="connsiteX113" fmla="*/ 3015932 w 8009775"/>
              <a:gd name="connsiteY113" fmla="*/ 1641794 h 6858001"/>
              <a:gd name="connsiteX114" fmla="*/ 3020956 w 8009775"/>
              <a:gd name="connsiteY114" fmla="*/ 1637984 h 6858001"/>
              <a:gd name="connsiteX115" fmla="*/ 3025981 w 8009775"/>
              <a:gd name="connsiteY115" fmla="*/ 1634809 h 6858001"/>
              <a:gd name="connsiteX116" fmla="*/ 3031596 w 8009775"/>
              <a:gd name="connsiteY116" fmla="*/ 1631950 h 6858001"/>
              <a:gd name="connsiteX117" fmla="*/ 3036916 w 8009775"/>
              <a:gd name="connsiteY117" fmla="*/ 1629094 h 6858001"/>
              <a:gd name="connsiteX118" fmla="*/ 3042532 w 8009775"/>
              <a:gd name="connsiteY118" fmla="*/ 1626871 h 6858001"/>
              <a:gd name="connsiteX119" fmla="*/ 3047852 w 8009775"/>
              <a:gd name="connsiteY119" fmla="*/ 1624649 h 6858001"/>
              <a:gd name="connsiteX120" fmla="*/ 3053764 w 8009775"/>
              <a:gd name="connsiteY120" fmla="*/ 1623061 h 6858001"/>
              <a:gd name="connsiteX121" fmla="*/ 3059379 w 8009775"/>
              <a:gd name="connsiteY121" fmla="*/ 1621155 h 6858001"/>
              <a:gd name="connsiteX122" fmla="*/ 3065291 w 8009775"/>
              <a:gd name="connsiteY122" fmla="*/ 1620204 h 6858001"/>
              <a:gd name="connsiteX123" fmla="*/ 3070906 w 8009775"/>
              <a:gd name="connsiteY123" fmla="*/ 1618934 h 6858001"/>
              <a:gd name="connsiteX124" fmla="*/ 3077113 w 8009775"/>
              <a:gd name="connsiteY124" fmla="*/ 1618299 h 6858001"/>
              <a:gd name="connsiteX125" fmla="*/ 3082729 w 8009775"/>
              <a:gd name="connsiteY125" fmla="*/ 1617981 h 6858001"/>
              <a:gd name="connsiteX126" fmla="*/ 3088936 w 8009775"/>
              <a:gd name="connsiteY126" fmla="*/ 1617981 h 6858001"/>
              <a:gd name="connsiteX127" fmla="*/ 3094552 w 8009775"/>
              <a:gd name="connsiteY127" fmla="*/ 1617981 h 6858001"/>
              <a:gd name="connsiteX128" fmla="*/ 3100758 w 8009775"/>
              <a:gd name="connsiteY128" fmla="*/ 1618299 h 6858001"/>
              <a:gd name="connsiteX129" fmla="*/ 3106670 w 8009775"/>
              <a:gd name="connsiteY129" fmla="*/ 1618934 h 6858001"/>
              <a:gd name="connsiteX130" fmla="*/ 3112285 w 8009775"/>
              <a:gd name="connsiteY130" fmla="*/ 1620204 h 6858001"/>
              <a:gd name="connsiteX131" fmla="*/ 3117901 w 8009775"/>
              <a:gd name="connsiteY131" fmla="*/ 1621155 h 6858001"/>
              <a:gd name="connsiteX132" fmla="*/ 3123812 w 8009775"/>
              <a:gd name="connsiteY132" fmla="*/ 1623061 h 6858001"/>
              <a:gd name="connsiteX133" fmla="*/ 3129428 w 8009775"/>
              <a:gd name="connsiteY133" fmla="*/ 1624649 h 6858001"/>
              <a:gd name="connsiteX134" fmla="*/ 3135339 w 8009775"/>
              <a:gd name="connsiteY134" fmla="*/ 1626871 h 6858001"/>
              <a:gd name="connsiteX135" fmla="*/ 3140660 w 8009775"/>
              <a:gd name="connsiteY135" fmla="*/ 1629094 h 6858001"/>
              <a:gd name="connsiteX136" fmla="*/ 3145980 w 8009775"/>
              <a:gd name="connsiteY136" fmla="*/ 1631950 h 6858001"/>
              <a:gd name="connsiteX137" fmla="*/ 3151300 w 8009775"/>
              <a:gd name="connsiteY137" fmla="*/ 1634809 h 6858001"/>
              <a:gd name="connsiteX138" fmla="*/ 3156324 w 8009775"/>
              <a:gd name="connsiteY138" fmla="*/ 1637984 h 6858001"/>
              <a:gd name="connsiteX139" fmla="*/ 3161349 w 8009775"/>
              <a:gd name="connsiteY139" fmla="*/ 1641794 h 6858001"/>
              <a:gd name="connsiteX140" fmla="*/ 3166374 w 8009775"/>
              <a:gd name="connsiteY140" fmla="*/ 1645603 h 6858001"/>
              <a:gd name="connsiteX141" fmla="*/ 3171102 w 8009775"/>
              <a:gd name="connsiteY141" fmla="*/ 1649414 h 6858001"/>
              <a:gd name="connsiteX142" fmla="*/ 3175832 w 8009775"/>
              <a:gd name="connsiteY142" fmla="*/ 1653859 h 6858001"/>
              <a:gd name="connsiteX143" fmla="*/ 3844692 w 8009775"/>
              <a:gd name="connsiteY143" fmla="*/ 2322830 h 6858001"/>
              <a:gd name="connsiteX144" fmla="*/ 3849421 w 8009775"/>
              <a:gd name="connsiteY144" fmla="*/ 2326958 h 6858001"/>
              <a:gd name="connsiteX145" fmla="*/ 3854150 w 8009775"/>
              <a:gd name="connsiteY145" fmla="*/ 2331085 h 6858001"/>
              <a:gd name="connsiteX146" fmla="*/ 3859175 w 8009775"/>
              <a:gd name="connsiteY146" fmla="*/ 2334895 h 6858001"/>
              <a:gd name="connsiteX147" fmla="*/ 3864199 w 8009775"/>
              <a:gd name="connsiteY147" fmla="*/ 2338705 h 6858001"/>
              <a:gd name="connsiteX148" fmla="*/ 3869224 w 8009775"/>
              <a:gd name="connsiteY148" fmla="*/ 2341880 h 6858001"/>
              <a:gd name="connsiteX149" fmla="*/ 3874544 w 8009775"/>
              <a:gd name="connsiteY149" fmla="*/ 2344738 h 6858001"/>
              <a:gd name="connsiteX150" fmla="*/ 3879864 w 8009775"/>
              <a:gd name="connsiteY150" fmla="*/ 2347595 h 6858001"/>
              <a:gd name="connsiteX151" fmla="*/ 3885775 w 8009775"/>
              <a:gd name="connsiteY151" fmla="*/ 2349818 h 6858001"/>
              <a:gd name="connsiteX152" fmla="*/ 3891096 w 8009775"/>
              <a:gd name="connsiteY152" fmla="*/ 2351723 h 6858001"/>
              <a:gd name="connsiteX153" fmla="*/ 3896711 w 8009775"/>
              <a:gd name="connsiteY153" fmla="*/ 2353628 h 6858001"/>
              <a:gd name="connsiteX154" fmla="*/ 3902623 w 8009775"/>
              <a:gd name="connsiteY154" fmla="*/ 2355534 h 6858001"/>
              <a:gd name="connsiteX155" fmla="*/ 3908238 w 8009775"/>
              <a:gd name="connsiteY155" fmla="*/ 2356485 h 6858001"/>
              <a:gd name="connsiteX156" fmla="*/ 3914150 w 8009775"/>
              <a:gd name="connsiteY156" fmla="*/ 2357755 h 6858001"/>
              <a:gd name="connsiteX157" fmla="*/ 3920061 w 8009775"/>
              <a:gd name="connsiteY157" fmla="*/ 2358391 h 6858001"/>
              <a:gd name="connsiteX158" fmla="*/ 3925972 w 8009775"/>
              <a:gd name="connsiteY158" fmla="*/ 2358708 h 6858001"/>
              <a:gd name="connsiteX159" fmla="*/ 3931883 w 8009775"/>
              <a:gd name="connsiteY159" fmla="*/ 2358708 h 6858001"/>
              <a:gd name="connsiteX160" fmla="*/ 3937795 w 8009775"/>
              <a:gd name="connsiteY160" fmla="*/ 2358708 h 6858001"/>
              <a:gd name="connsiteX161" fmla="*/ 3943706 w 8009775"/>
              <a:gd name="connsiteY161" fmla="*/ 2358391 h 6858001"/>
              <a:gd name="connsiteX162" fmla="*/ 3949617 w 8009775"/>
              <a:gd name="connsiteY162" fmla="*/ 2357755 h 6858001"/>
              <a:gd name="connsiteX163" fmla="*/ 3955233 w 8009775"/>
              <a:gd name="connsiteY163" fmla="*/ 2356485 h 6858001"/>
              <a:gd name="connsiteX164" fmla="*/ 3961144 w 8009775"/>
              <a:gd name="connsiteY164" fmla="*/ 2355534 h 6858001"/>
              <a:gd name="connsiteX165" fmla="*/ 3966760 w 8009775"/>
              <a:gd name="connsiteY165" fmla="*/ 2353628 h 6858001"/>
              <a:gd name="connsiteX166" fmla="*/ 3972671 w 8009775"/>
              <a:gd name="connsiteY166" fmla="*/ 2351723 h 6858001"/>
              <a:gd name="connsiteX167" fmla="*/ 3978287 w 8009775"/>
              <a:gd name="connsiteY167" fmla="*/ 2349818 h 6858001"/>
              <a:gd name="connsiteX168" fmla="*/ 3983607 w 8009775"/>
              <a:gd name="connsiteY168" fmla="*/ 2347595 h 6858001"/>
              <a:gd name="connsiteX169" fmla="*/ 3989223 w 8009775"/>
              <a:gd name="connsiteY169" fmla="*/ 2344738 h 6858001"/>
              <a:gd name="connsiteX170" fmla="*/ 3994543 w 8009775"/>
              <a:gd name="connsiteY170" fmla="*/ 2341880 h 6858001"/>
              <a:gd name="connsiteX171" fmla="*/ 3999567 w 8009775"/>
              <a:gd name="connsiteY171" fmla="*/ 2338705 h 6858001"/>
              <a:gd name="connsiteX172" fmla="*/ 4004888 w 8009775"/>
              <a:gd name="connsiteY172" fmla="*/ 2334895 h 6858001"/>
              <a:gd name="connsiteX173" fmla="*/ 4009617 w 8009775"/>
              <a:gd name="connsiteY173" fmla="*/ 2331085 h 6858001"/>
              <a:gd name="connsiteX174" fmla="*/ 4014346 w 8009775"/>
              <a:gd name="connsiteY174" fmla="*/ 2326958 h 6858001"/>
              <a:gd name="connsiteX175" fmla="*/ 4018779 w 8009775"/>
              <a:gd name="connsiteY175" fmla="*/ 2322830 h 6858001"/>
              <a:gd name="connsiteX176" fmla="*/ 4023213 w 8009775"/>
              <a:gd name="connsiteY176" fmla="*/ 2318068 h 6858001"/>
              <a:gd name="connsiteX177" fmla="*/ 4027646 w 8009775"/>
              <a:gd name="connsiteY177" fmla="*/ 2313306 h 6858001"/>
              <a:gd name="connsiteX178" fmla="*/ 4031193 w 8009775"/>
              <a:gd name="connsiteY178" fmla="*/ 2308544 h 6858001"/>
              <a:gd name="connsiteX179" fmla="*/ 4034740 w 8009775"/>
              <a:gd name="connsiteY179" fmla="*/ 2303463 h 6858001"/>
              <a:gd name="connsiteX180" fmla="*/ 4037991 w 8009775"/>
              <a:gd name="connsiteY180" fmla="*/ 2298384 h 6858001"/>
              <a:gd name="connsiteX181" fmla="*/ 4040946 w 8009775"/>
              <a:gd name="connsiteY181" fmla="*/ 2292985 h 6858001"/>
              <a:gd name="connsiteX182" fmla="*/ 4043606 w 8009775"/>
              <a:gd name="connsiteY182" fmla="*/ 2287588 h 6858001"/>
              <a:gd name="connsiteX183" fmla="*/ 4046267 w 8009775"/>
              <a:gd name="connsiteY183" fmla="*/ 2281873 h 6858001"/>
              <a:gd name="connsiteX184" fmla="*/ 4048040 w 8009775"/>
              <a:gd name="connsiteY184" fmla="*/ 2276476 h 6858001"/>
              <a:gd name="connsiteX185" fmla="*/ 4050109 w 8009775"/>
              <a:gd name="connsiteY185" fmla="*/ 2270761 h 6858001"/>
              <a:gd name="connsiteX186" fmla="*/ 4051587 w 8009775"/>
              <a:gd name="connsiteY186" fmla="*/ 2265046 h 6858001"/>
              <a:gd name="connsiteX187" fmla="*/ 4052769 w 8009775"/>
              <a:gd name="connsiteY187" fmla="*/ 2259331 h 6858001"/>
              <a:gd name="connsiteX188" fmla="*/ 4053656 w 8009775"/>
              <a:gd name="connsiteY188" fmla="*/ 2253298 h 6858001"/>
              <a:gd name="connsiteX189" fmla="*/ 4054542 w 8009775"/>
              <a:gd name="connsiteY189" fmla="*/ 2247266 h 6858001"/>
              <a:gd name="connsiteX190" fmla="*/ 4054838 w 8009775"/>
              <a:gd name="connsiteY190" fmla="*/ 2241551 h 6858001"/>
              <a:gd name="connsiteX191" fmla="*/ 4055133 w 8009775"/>
              <a:gd name="connsiteY191" fmla="*/ 2235519 h 6858001"/>
              <a:gd name="connsiteX192" fmla="*/ 4054838 w 8009775"/>
              <a:gd name="connsiteY192" fmla="*/ 2229804 h 6858001"/>
              <a:gd name="connsiteX193" fmla="*/ 4054542 w 8009775"/>
              <a:gd name="connsiteY193" fmla="*/ 2223770 h 6858001"/>
              <a:gd name="connsiteX194" fmla="*/ 4053656 w 8009775"/>
              <a:gd name="connsiteY194" fmla="*/ 2217739 h 6858001"/>
              <a:gd name="connsiteX195" fmla="*/ 4052769 w 8009775"/>
              <a:gd name="connsiteY195" fmla="*/ 2212024 h 6858001"/>
              <a:gd name="connsiteX196" fmla="*/ 4051587 w 8009775"/>
              <a:gd name="connsiteY196" fmla="*/ 2206309 h 6858001"/>
              <a:gd name="connsiteX197" fmla="*/ 4050109 w 8009775"/>
              <a:gd name="connsiteY197" fmla="*/ 2200593 h 6858001"/>
              <a:gd name="connsiteX198" fmla="*/ 4048040 w 8009775"/>
              <a:gd name="connsiteY198" fmla="*/ 2194878 h 6858001"/>
              <a:gd name="connsiteX199" fmla="*/ 4046267 w 8009775"/>
              <a:gd name="connsiteY199" fmla="*/ 2189163 h 6858001"/>
              <a:gd name="connsiteX200" fmla="*/ 4043606 w 8009775"/>
              <a:gd name="connsiteY200" fmla="*/ 2183765 h 6858001"/>
              <a:gd name="connsiteX201" fmla="*/ 4040946 w 8009775"/>
              <a:gd name="connsiteY201" fmla="*/ 2178368 h 6858001"/>
              <a:gd name="connsiteX202" fmla="*/ 4037991 w 8009775"/>
              <a:gd name="connsiteY202" fmla="*/ 2172970 h 6858001"/>
              <a:gd name="connsiteX203" fmla="*/ 4034740 w 8009775"/>
              <a:gd name="connsiteY203" fmla="*/ 2167890 h 6858001"/>
              <a:gd name="connsiteX204" fmla="*/ 4031193 w 8009775"/>
              <a:gd name="connsiteY204" fmla="*/ 2162494 h 6858001"/>
              <a:gd name="connsiteX205" fmla="*/ 4027646 w 8009775"/>
              <a:gd name="connsiteY205" fmla="*/ 2157730 h 6858001"/>
              <a:gd name="connsiteX206" fmla="*/ 4023213 w 8009775"/>
              <a:gd name="connsiteY206" fmla="*/ 2153285 h 6858001"/>
              <a:gd name="connsiteX207" fmla="*/ 4018779 w 8009775"/>
              <a:gd name="connsiteY207" fmla="*/ 2148523 h 6858001"/>
              <a:gd name="connsiteX208" fmla="*/ 3632182 w 8009775"/>
              <a:gd name="connsiteY208" fmla="*/ 1761490 h 6858001"/>
              <a:gd name="connsiteX209" fmla="*/ 3435928 w 8009775"/>
              <a:gd name="connsiteY209" fmla="*/ 1565276 h 6858001"/>
              <a:gd name="connsiteX210" fmla="*/ 3431198 w 8009775"/>
              <a:gd name="connsiteY210" fmla="*/ 1560514 h 6858001"/>
              <a:gd name="connsiteX211" fmla="*/ 3427356 w 8009775"/>
              <a:gd name="connsiteY211" fmla="*/ 1555751 h 6858001"/>
              <a:gd name="connsiteX212" fmla="*/ 3423218 w 8009775"/>
              <a:gd name="connsiteY212" fmla="*/ 1550671 h 6858001"/>
              <a:gd name="connsiteX213" fmla="*/ 3420262 w 8009775"/>
              <a:gd name="connsiteY213" fmla="*/ 1545909 h 6858001"/>
              <a:gd name="connsiteX214" fmla="*/ 3417012 w 8009775"/>
              <a:gd name="connsiteY214" fmla="*/ 1540829 h 6858001"/>
              <a:gd name="connsiteX215" fmla="*/ 3413760 w 8009775"/>
              <a:gd name="connsiteY215" fmla="*/ 1535430 h 6858001"/>
              <a:gd name="connsiteX216" fmla="*/ 3411100 w 8009775"/>
              <a:gd name="connsiteY216" fmla="*/ 1530034 h 6858001"/>
              <a:gd name="connsiteX217" fmla="*/ 3408736 w 8009775"/>
              <a:gd name="connsiteY217" fmla="*/ 1524635 h 6858001"/>
              <a:gd name="connsiteX218" fmla="*/ 3406371 w 8009775"/>
              <a:gd name="connsiteY218" fmla="*/ 1518920 h 6858001"/>
              <a:gd name="connsiteX219" fmla="*/ 3404598 w 8009775"/>
              <a:gd name="connsiteY219" fmla="*/ 1513205 h 6858001"/>
              <a:gd name="connsiteX220" fmla="*/ 3403120 w 8009775"/>
              <a:gd name="connsiteY220" fmla="*/ 1507174 h 6858001"/>
              <a:gd name="connsiteX221" fmla="*/ 3401938 w 8009775"/>
              <a:gd name="connsiteY221" fmla="*/ 1501459 h 6858001"/>
              <a:gd name="connsiteX222" fmla="*/ 3401051 w 8009775"/>
              <a:gd name="connsiteY222" fmla="*/ 1495744 h 6858001"/>
              <a:gd name="connsiteX223" fmla="*/ 3400460 w 8009775"/>
              <a:gd name="connsiteY223" fmla="*/ 1489710 h 6858001"/>
              <a:gd name="connsiteX224" fmla="*/ 3399869 w 8009775"/>
              <a:gd name="connsiteY224" fmla="*/ 1483995 h 6858001"/>
              <a:gd name="connsiteX225" fmla="*/ 3399573 w 8009775"/>
              <a:gd name="connsiteY225" fmla="*/ 1478281 h 6858001"/>
              <a:gd name="connsiteX226" fmla="*/ 3399869 w 8009775"/>
              <a:gd name="connsiteY226" fmla="*/ 1472249 h 6858001"/>
              <a:gd name="connsiteX227" fmla="*/ 3400460 w 8009775"/>
              <a:gd name="connsiteY227" fmla="*/ 1466215 h 6858001"/>
              <a:gd name="connsiteX228" fmla="*/ 3401051 w 8009775"/>
              <a:gd name="connsiteY228" fmla="*/ 1460183 h 6858001"/>
              <a:gd name="connsiteX229" fmla="*/ 3401938 w 8009775"/>
              <a:gd name="connsiteY229" fmla="*/ 1454468 h 6858001"/>
              <a:gd name="connsiteX230" fmla="*/ 3403120 w 8009775"/>
              <a:gd name="connsiteY230" fmla="*/ 1448754 h 6858001"/>
              <a:gd name="connsiteX231" fmla="*/ 3404598 w 8009775"/>
              <a:gd name="connsiteY231" fmla="*/ 1443039 h 6858001"/>
              <a:gd name="connsiteX232" fmla="*/ 3406371 w 8009775"/>
              <a:gd name="connsiteY232" fmla="*/ 1437324 h 6858001"/>
              <a:gd name="connsiteX233" fmla="*/ 3408736 w 8009775"/>
              <a:gd name="connsiteY233" fmla="*/ 1431609 h 6858001"/>
              <a:gd name="connsiteX234" fmla="*/ 3411100 w 8009775"/>
              <a:gd name="connsiteY234" fmla="*/ 1426211 h 6858001"/>
              <a:gd name="connsiteX235" fmla="*/ 3413760 w 8009775"/>
              <a:gd name="connsiteY235" fmla="*/ 1420814 h 6858001"/>
              <a:gd name="connsiteX236" fmla="*/ 3417012 w 8009775"/>
              <a:gd name="connsiteY236" fmla="*/ 1415416 h 6858001"/>
              <a:gd name="connsiteX237" fmla="*/ 3420262 w 8009775"/>
              <a:gd name="connsiteY237" fmla="*/ 1410336 h 6858001"/>
              <a:gd name="connsiteX238" fmla="*/ 3423218 w 8009775"/>
              <a:gd name="connsiteY238" fmla="*/ 1405256 h 6858001"/>
              <a:gd name="connsiteX239" fmla="*/ 3427356 w 8009775"/>
              <a:gd name="connsiteY239" fmla="*/ 1400175 h 6858001"/>
              <a:gd name="connsiteX240" fmla="*/ 3431198 w 8009775"/>
              <a:gd name="connsiteY240" fmla="*/ 1395731 h 6858001"/>
              <a:gd name="connsiteX241" fmla="*/ 3435928 w 8009775"/>
              <a:gd name="connsiteY241" fmla="*/ 1390969 h 6858001"/>
              <a:gd name="connsiteX242" fmla="*/ 3440361 w 8009775"/>
              <a:gd name="connsiteY242" fmla="*/ 1386524 h 6858001"/>
              <a:gd name="connsiteX243" fmla="*/ 3445386 w 8009775"/>
              <a:gd name="connsiteY243" fmla="*/ 1382396 h 6858001"/>
              <a:gd name="connsiteX244" fmla="*/ 3449819 w 8009775"/>
              <a:gd name="connsiteY244" fmla="*/ 1378585 h 6858001"/>
              <a:gd name="connsiteX245" fmla="*/ 3454844 w 8009775"/>
              <a:gd name="connsiteY245" fmla="*/ 1375094 h 6858001"/>
              <a:gd name="connsiteX246" fmla="*/ 3460459 w 8009775"/>
              <a:gd name="connsiteY246" fmla="*/ 1371919 h 6858001"/>
              <a:gd name="connsiteX247" fmla="*/ 3465780 w 8009775"/>
              <a:gd name="connsiteY247" fmla="*/ 1369061 h 6858001"/>
              <a:gd name="connsiteX248" fmla="*/ 3471100 w 8009775"/>
              <a:gd name="connsiteY248" fmla="*/ 1366204 h 6858001"/>
              <a:gd name="connsiteX249" fmla="*/ 3476420 w 8009775"/>
              <a:gd name="connsiteY249" fmla="*/ 1363980 h 6858001"/>
              <a:gd name="connsiteX250" fmla="*/ 3482331 w 8009775"/>
              <a:gd name="connsiteY250" fmla="*/ 1361759 h 6858001"/>
              <a:gd name="connsiteX251" fmla="*/ 3487947 w 8009775"/>
              <a:gd name="connsiteY251" fmla="*/ 1360170 h 6858001"/>
              <a:gd name="connsiteX252" fmla="*/ 3493858 w 8009775"/>
              <a:gd name="connsiteY252" fmla="*/ 1358265 h 6858001"/>
              <a:gd name="connsiteX253" fmla="*/ 3499474 w 8009775"/>
              <a:gd name="connsiteY253" fmla="*/ 1357314 h 6858001"/>
              <a:gd name="connsiteX254" fmla="*/ 3505385 w 8009775"/>
              <a:gd name="connsiteY254" fmla="*/ 1356043 h 6858001"/>
              <a:gd name="connsiteX255" fmla="*/ 3511001 w 8009775"/>
              <a:gd name="connsiteY255" fmla="*/ 1355409 h 6858001"/>
              <a:gd name="connsiteX256" fmla="*/ 3517208 w 8009775"/>
              <a:gd name="connsiteY256" fmla="*/ 1355090 h 6858001"/>
              <a:gd name="connsiteX257" fmla="*/ 3522823 w 8009775"/>
              <a:gd name="connsiteY257" fmla="*/ 1354773 h 6858001"/>
              <a:gd name="connsiteX258" fmla="*/ 3529030 w 8009775"/>
              <a:gd name="connsiteY258" fmla="*/ 1355090 h 6858001"/>
              <a:gd name="connsiteX259" fmla="*/ 3534646 w 8009775"/>
              <a:gd name="connsiteY259" fmla="*/ 1355409 h 6858001"/>
              <a:gd name="connsiteX260" fmla="*/ 3540557 w 8009775"/>
              <a:gd name="connsiteY260" fmla="*/ 1356043 h 6858001"/>
              <a:gd name="connsiteX261" fmla="*/ 3546468 w 8009775"/>
              <a:gd name="connsiteY261" fmla="*/ 1357314 h 6858001"/>
              <a:gd name="connsiteX262" fmla="*/ 3552380 w 8009775"/>
              <a:gd name="connsiteY262" fmla="*/ 1358265 h 6858001"/>
              <a:gd name="connsiteX263" fmla="*/ 3557995 w 8009775"/>
              <a:gd name="connsiteY263" fmla="*/ 1360170 h 6858001"/>
              <a:gd name="connsiteX264" fmla="*/ 3563906 w 8009775"/>
              <a:gd name="connsiteY264" fmla="*/ 1361759 h 6858001"/>
              <a:gd name="connsiteX265" fmla="*/ 3569227 w 8009775"/>
              <a:gd name="connsiteY265" fmla="*/ 1363980 h 6858001"/>
              <a:gd name="connsiteX266" fmla="*/ 3574842 w 8009775"/>
              <a:gd name="connsiteY266" fmla="*/ 1366204 h 6858001"/>
              <a:gd name="connsiteX267" fmla="*/ 3580458 w 8009775"/>
              <a:gd name="connsiteY267" fmla="*/ 1369061 h 6858001"/>
              <a:gd name="connsiteX268" fmla="*/ 3585778 w 8009775"/>
              <a:gd name="connsiteY268" fmla="*/ 1371919 h 6858001"/>
              <a:gd name="connsiteX269" fmla="*/ 3590803 w 8009775"/>
              <a:gd name="connsiteY269" fmla="*/ 1375094 h 6858001"/>
              <a:gd name="connsiteX270" fmla="*/ 3595828 w 8009775"/>
              <a:gd name="connsiteY270" fmla="*/ 1378585 h 6858001"/>
              <a:gd name="connsiteX271" fmla="*/ 3600852 w 8009775"/>
              <a:gd name="connsiteY271" fmla="*/ 1382396 h 6858001"/>
              <a:gd name="connsiteX272" fmla="*/ 3605581 w 8009775"/>
              <a:gd name="connsiteY272" fmla="*/ 1386524 h 6858001"/>
              <a:gd name="connsiteX273" fmla="*/ 3610014 w 8009775"/>
              <a:gd name="connsiteY273" fmla="*/ 1390969 h 6858001"/>
              <a:gd name="connsiteX274" fmla="*/ 3817500 w 8009775"/>
              <a:gd name="connsiteY274" fmla="*/ 1598296 h 6858001"/>
              <a:gd name="connsiteX275" fmla="*/ 3821934 w 8009775"/>
              <a:gd name="connsiteY275" fmla="*/ 1602423 h 6858001"/>
              <a:gd name="connsiteX276" fmla="*/ 3826663 w 8009775"/>
              <a:gd name="connsiteY276" fmla="*/ 1606869 h 6858001"/>
              <a:gd name="connsiteX277" fmla="*/ 3831687 w 8009775"/>
              <a:gd name="connsiteY277" fmla="*/ 1610361 h 6858001"/>
              <a:gd name="connsiteX278" fmla="*/ 3836712 w 8009775"/>
              <a:gd name="connsiteY278" fmla="*/ 1613854 h 6858001"/>
              <a:gd name="connsiteX279" fmla="*/ 3841736 w 8009775"/>
              <a:gd name="connsiteY279" fmla="*/ 1617345 h 6858001"/>
              <a:gd name="connsiteX280" fmla="*/ 3847352 w 8009775"/>
              <a:gd name="connsiteY280" fmla="*/ 1620204 h 6858001"/>
              <a:gd name="connsiteX281" fmla="*/ 3852672 w 8009775"/>
              <a:gd name="connsiteY281" fmla="*/ 1623061 h 6858001"/>
              <a:gd name="connsiteX282" fmla="*/ 3857992 w 8009775"/>
              <a:gd name="connsiteY282" fmla="*/ 1625283 h 6858001"/>
              <a:gd name="connsiteX283" fmla="*/ 3863608 w 8009775"/>
              <a:gd name="connsiteY283" fmla="*/ 1627189 h 6858001"/>
              <a:gd name="connsiteX284" fmla="*/ 3869519 w 8009775"/>
              <a:gd name="connsiteY284" fmla="*/ 1629094 h 6858001"/>
              <a:gd name="connsiteX285" fmla="*/ 3875135 w 8009775"/>
              <a:gd name="connsiteY285" fmla="*/ 1630998 h 6858001"/>
              <a:gd name="connsiteX286" fmla="*/ 3881046 w 8009775"/>
              <a:gd name="connsiteY286" fmla="*/ 1631950 h 6858001"/>
              <a:gd name="connsiteX287" fmla="*/ 3886662 w 8009775"/>
              <a:gd name="connsiteY287" fmla="*/ 1632904 h 6858001"/>
              <a:gd name="connsiteX288" fmla="*/ 3892869 w 8009775"/>
              <a:gd name="connsiteY288" fmla="*/ 1633856 h 6858001"/>
              <a:gd name="connsiteX289" fmla="*/ 3898485 w 8009775"/>
              <a:gd name="connsiteY289" fmla="*/ 1634174 h 6858001"/>
              <a:gd name="connsiteX290" fmla="*/ 3904396 w 8009775"/>
              <a:gd name="connsiteY290" fmla="*/ 1634174 h 6858001"/>
              <a:gd name="connsiteX291" fmla="*/ 3910307 w 8009775"/>
              <a:gd name="connsiteY291" fmla="*/ 1634174 h 6858001"/>
              <a:gd name="connsiteX292" fmla="*/ 3916219 w 8009775"/>
              <a:gd name="connsiteY292" fmla="*/ 1633856 h 6858001"/>
              <a:gd name="connsiteX293" fmla="*/ 3922425 w 8009775"/>
              <a:gd name="connsiteY293" fmla="*/ 1632904 h 6858001"/>
              <a:gd name="connsiteX294" fmla="*/ 3928041 w 8009775"/>
              <a:gd name="connsiteY294" fmla="*/ 1631950 h 6858001"/>
              <a:gd name="connsiteX295" fmla="*/ 3933657 w 8009775"/>
              <a:gd name="connsiteY295" fmla="*/ 1630998 h 6858001"/>
              <a:gd name="connsiteX296" fmla="*/ 3939568 w 8009775"/>
              <a:gd name="connsiteY296" fmla="*/ 1629094 h 6858001"/>
              <a:gd name="connsiteX297" fmla="*/ 3945184 w 8009775"/>
              <a:gd name="connsiteY297" fmla="*/ 1627189 h 6858001"/>
              <a:gd name="connsiteX298" fmla="*/ 3950799 w 8009775"/>
              <a:gd name="connsiteY298" fmla="*/ 1625283 h 6858001"/>
              <a:gd name="connsiteX299" fmla="*/ 3956415 w 8009775"/>
              <a:gd name="connsiteY299" fmla="*/ 1623061 h 6858001"/>
              <a:gd name="connsiteX300" fmla="*/ 3961735 w 8009775"/>
              <a:gd name="connsiteY300" fmla="*/ 1620204 h 6858001"/>
              <a:gd name="connsiteX301" fmla="*/ 3967055 w 8009775"/>
              <a:gd name="connsiteY301" fmla="*/ 1617345 h 6858001"/>
              <a:gd name="connsiteX302" fmla="*/ 3972376 w 8009775"/>
              <a:gd name="connsiteY302" fmla="*/ 1613854 h 6858001"/>
              <a:gd name="connsiteX303" fmla="*/ 3977400 w 8009775"/>
              <a:gd name="connsiteY303" fmla="*/ 1610361 h 6858001"/>
              <a:gd name="connsiteX304" fmla="*/ 3982425 w 8009775"/>
              <a:gd name="connsiteY304" fmla="*/ 1606869 h 6858001"/>
              <a:gd name="connsiteX305" fmla="*/ 3986858 w 8009775"/>
              <a:gd name="connsiteY305" fmla="*/ 1602423 h 6858001"/>
              <a:gd name="connsiteX306" fmla="*/ 3991587 w 8009775"/>
              <a:gd name="connsiteY306" fmla="*/ 1598296 h 6858001"/>
              <a:gd name="connsiteX307" fmla="*/ 3996021 w 8009775"/>
              <a:gd name="connsiteY307" fmla="*/ 1593533 h 6858001"/>
              <a:gd name="connsiteX308" fmla="*/ 4000159 w 8009775"/>
              <a:gd name="connsiteY308" fmla="*/ 1588771 h 6858001"/>
              <a:gd name="connsiteX309" fmla="*/ 4003705 w 8009775"/>
              <a:gd name="connsiteY309" fmla="*/ 1583691 h 6858001"/>
              <a:gd name="connsiteX310" fmla="*/ 4007548 w 8009775"/>
              <a:gd name="connsiteY310" fmla="*/ 1578928 h 6858001"/>
              <a:gd name="connsiteX311" fmla="*/ 4010799 w 8009775"/>
              <a:gd name="connsiteY311" fmla="*/ 1573849 h 6858001"/>
              <a:gd name="connsiteX312" fmla="*/ 4013459 w 8009775"/>
              <a:gd name="connsiteY312" fmla="*/ 1568451 h 6858001"/>
              <a:gd name="connsiteX313" fmla="*/ 4016415 w 8009775"/>
              <a:gd name="connsiteY313" fmla="*/ 1563054 h 6858001"/>
              <a:gd name="connsiteX314" fmla="*/ 4018484 w 8009775"/>
              <a:gd name="connsiteY314" fmla="*/ 1557339 h 6858001"/>
              <a:gd name="connsiteX315" fmla="*/ 4020848 w 8009775"/>
              <a:gd name="connsiteY315" fmla="*/ 1551941 h 6858001"/>
              <a:gd name="connsiteX316" fmla="*/ 4022621 w 8009775"/>
              <a:gd name="connsiteY316" fmla="*/ 1546226 h 6858001"/>
              <a:gd name="connsiteX317" fmla="*/ 4024395 w 8009775"/>
              <a:gd name="connsiteY317" fmla="*/ 1540511 h 6858001"/>
              <a:gd name="connsiteX318" fmla="*/ 4025282 w 8009775"/>
              <a:gd name="connsiteY318" fmla="*/ 1534478 h 6858001"/>
              <a:gd name="connsiteX319" fmla="*/ 4026464 w 8009775"/>
              <a:gd name="connsiteY319" fmla="*/ 1528763 h 6858001"/>
              <a:gd name="connsiteX320" fmla="*/ 4027055 w 8009775"/>
              <a:gd name="connsiteY320" fmla="*/ 1522731 h 6858001"/>
              <a:gd name="connsiteX321" fmla="*/ 4027646 w 8009775"/>
              <a:gd name="connsiteY321" fmla="*/ 1517016 h 6858001"/>
              <a:gd name="connsiteX322" fmla="*/ 4027646 w 8009775"/>
              <a:gd name="connsiteY322" fmla="*/ 1510984 h 6858001"/>
              <a:gd name="connsiteX323" fmla="*/ 4027646 w 8009775"/>
              <a:gd name="connsiteY323" fmla="*/ 1505268 h 6858001"/>
              <a:gd name="connsiteX324" fmla="*/ 4027055 w 8009775"/>
              <a:gd name="connsiteY324" fmla="*/ 1499553 h 6858001"/>
              <a:gd name="connsiteX325" fmla="*/ 4026464 w 8009775"/>
              <a:gd name="connsiteY325" fmla="*/ 1493204 h 6858001"/>
              <a:gd name="connsiteX326" fmla="*/ 4025282 w 8009775"/>
              <a:gd name="connsiteY326" fmla="*/ 1487489 h 6858001"/>
              <a:gd name="connsiteX327" fmla="*/ 4024395 w 8009775"/>
              <a:gd name="connsiteY327" fmla="*/ 1481773 h 6858001"/>
              <a:gd name="connsiteX328" fmla="*/ 4022621 w 8009775"/>
              <a:gd name="connsiteY328" fmla="*/ 1476058 h 6858001"/>
              <a:gd name="connsiteX329" fmla="*/ 4020848 w 8009775"/>
              <a:gd name="connsiteY329" fmla="*/ 1470343 h 6858001"/>
              <a:gd name="connsiteX330" fmla="*/ 4018484 w 8009775"/>
              <a:gd name="connsiteY330" fmla="*/ 1464629 h 6858001"/>
              <a:gd name="connsiteX331" fmla="*/ 4016415 w 8009775"/>
              <a:gd name="connsiteY331" fmla="*/ 1459231 h 6858001"/>
              <a:gd name="connsiteX332" fmla="*/ 4013459 w 8009775"/>
              <a:gd name="connsiteY332" fmla="*/ 1453834 h 6858001"/>
              <a:gd name="connsiteX333" fmla="*/ 4010799 w 8009775"/>
              <a:gd name="connsiteY333" fmla="*/ 1448436 h 6858001"/>
              <a:gd name="connsiteX334" fmla="*/ 4007548 w 8009775"/>
              <a:gd name="connsiteY334" fmla="*/ 1443356 h 6858001"/>
              <a:gd name="connsiteX335" fmla="*/ 4003705 w 8009775"/>
              <a:gd name="connsiteY335" fmla="*/ 1438275 h 6858001"/>
              <a:gd name="connsiteX336" fmla="*/ 4000159 w 8009775"/>
              <a:gd name="connsiteY336" fmla="*/ 1433195 h 6858001"/>
              <a:gd name="connsiteX337" fmla="*/ 3996021 w 8009775"/>
              <a:gd name="connsiteY337" fmla="*/ 1428751 h 6858001"/>
              <a:gd name="connsiteX338" fmla="*/ 3991587 w 8009775"/>
              <a:gd name="connsiteY338" fmla="*/ 1423988 h 6858001"/>
              <a:gd name="connsiteX339" fmla="*/ 3323022 w 8009775"/>
              <a:gd name="connsiteY339" fmla="*/ 755333 h 6858001"/>
              <a:gd name="connsiteX340" fmla="*/ 3316815 w 8009775"/>
              <a:gd name="connsiteY340" fmla="*/ 748348 h 6858001"/>
              <a:gd name="connsiteX341" fmla="*/ 3310904 w 8009775"/>
              <a:gd name="connsiteY341" fmla="*/ 741045 h 6858001"/>
              <a:gd name="connsiteX342" fmla="*/ 3305584 w 8009775"/>
              <a:gd name="connsiteY342" fmla="*/ 733108 h 6858001"/>
              <a:gd name="connsiteX343" fmla="*/ 3300855 w 8009775"/>
              <a:gd name="connsiteY343" fmla="*/ 725170 h 6858001"/>
              <a:gd name="connsiteX344" fmla="*/ 3297308 w 8009775"/>
              <a:gd name="connsiteY344" fmla="*/ 716915 h 6858001"/>
              <a:gd name="connsiteX345" fmla="*/ 3293761 w 8009775"/>
              <a:gd name="connsiteY345" fmla="*/ 708660 h 6858001"/>
              <a:gd name="connsiteX346" fmla="*/ 3291101 w 8009775"/>
              <a:gd name="connsiteY346" fmla="*/ 699770 h 6858001"/>
              <a:gd name="connsiteX347" fmla="*/ 3289328 w 8009775"/>
              <a:gd name="connsiteY347" fmla="*/ 691198 h 6858001"/>
              <a:gd name="connsiteX348" fmla="*/ 2596527 w 8009775"/>
              <a:gd name="connsiteY348" fmla="*/ 0 h 6858001"/>
              <a:gd name="connsiteX0" fmla="*/ 2596527 w 8009775"/>
              <a:gd name="connsiteY0" fmla="*/ 0 h 6858001"/>
              <a:gd name="connsiteX1" fmla="*/ 2165004 w 8009775"/>
              <a:gd name="connsiteY1" fmla="*/ 0 h 6858001"/>
              <a:gd name="connsiteX2" fmla="*/ 3265978 w 8009775"/>
              <a:gd name="connsiteY2" fmla="*/ 1101091 h 6858001"/>
              <a:gd name="connsiteX3" fmla="*/ 3270708 w 8009775"/>
              <a:gd name="connsiteY3" fmla="*/ 1105854 h 6858001"/>
              <a:gd name="connsiteX4" fmla="*/ 3274550 w 8009775"/>
              <a:gd name="connsiteY4" fmla="*/ 1110615 h 6858001"/>
              <a:gd name="connsiteX5" fmla="*/ 3278688 w 8009775"/>
              <a:gd name="connsiteY5" fmla="*/ 1115696 h 6858001"/>
              <a:gd name="connsiteX6" fmla="*/ 3282234 w 8009775"/>
              <a:gd name="connsiteY6" fmla="*/ 1120776 h 6858001"/>
              <a:gd name="connsiteX7" fmla="*/ 3285486 w 8009775"/>
              <a:gd name="connsiteY7" fmla="*/ 1126174 h 6858001"/>
              <a:gd name="connsiteX8" fmla="*/ 3288146 w 8009775"/>
              <a:gd name="connsiteY8" fmla="*/ 1131570 h 6858001"/>
              <a:gd name="connsiteX9" fmla="*/ 3291101 w 8009775"/>
              <a:gd name="connsiteY9" fmla="*/ 1136968 h 6858001"/>
              <a:gd name="connsiteX10" fmla="*/ 3293761 w 8009775"/>
              <a:gd name="connsiteY10" fmla="*/ 1142366 h 6858001"/>
              <a:gd name="connsiteX11" fmla="*/ 3295830 w 8009775"/>
              <a:gd name="connsiteY11" fmla="*/ 1148081 h 6858001"/>
              <a:gd name="connsiteX12" fmla="*/ 3297604 w 8009775"/>
              <a:gd name="connsiteY12" fmla="*/ 1153796 h 6858001"/>
              <a:gd name="connsiteX13" fmla="*/ 3299082 w 8009775"/>
              <a:gd name="connsiteY13" fmla="*/ 1159829 h 6858001"/>
              <a:gd name="connsiteX14" fmla="*/ 3300559 w 8009775"/>
              <a:gd name="connsiteY14" fmla="*/ 1165544 h 6858001"/>
              <a:gd name="connsiteX15" fmla="*/ 3301446 w 8009775"/>
              <a:gd name="connsiteY15" fmla="*/ 1171893 h 6858001"/>
              <a:gd name="connsiteX16" fmla="*/ 3302333 w 8009775"/>
              <a:gd name="connsiteY16" fmla="*/ 1177608 h 6858001"/>
              <a:gd name="connsiteX17" fmla="*/ 3302628 w 8009775"/>
              <a:gd name="connsiteY17" fmla="*/ 1183641 h 6858001"/>
              <a:gd name="connsiteX18" fmla="*/ 3302628 w 8009775"/>
              <a:gd name="connsiteY18" fmla="*/ 1189356 h 6858001"/>
              <a:gd name="connsiteX19" fmla="*/ 3302628 w 8009775"/>
              <a:gd name="connsiteY19" fmla="*/ 1195388 h 6858001"/>
              <a:gd name="connsiteX20" fmla="*/ 3302333 w 8009775"/>
              <a:gd name="connsiteY20" fmla="*/ 1201739 h 6858001"/>
              <a:gd name="connsiteX21" fmla="*/ 3301446 w 8009775"/>
              <a:gd name="connsiteY21" fmla="*/ 1207454 h 6858001"/>
              <a:gd name="connsiteX22" fmla="*/ 3300559 w 8009775"/>
              <a:gd name="connsiteY22" fmla="*/ 1213486 h 6858001"/>
              <a:gd name="connsiteX23" fmla="*/ 3299082 w 8009775"/>
              <a:gd name="connsiteY23" fmla="*/ 1219200 h 6858001"/>
              <a:gd name="connsiteX24" fmla="*/ 3297604 w 8009775"/>
              <a:gd name="connsiteY24" fmla="*/ 1225233 h 6858001"/>
              <a:gd name="connsiteX25" fmla="*/ 3295830 w 8009775"/>
              <a:gd name="connsiteY25" fmla="*/ 1230949 h 6858001"/>
              <a:gd name="connsiteX26" fmla="*/ 3293761 w 8009775"/>
              <a:gd name="connsiteY26" fmla="*/ 1236346 h 6858001"/>
              <a:gd name="connsiteX27" fmla="*/ 3291101 w 8009775"/>
              <a:gd name="connsiteY27" fmla="*/ 1242061 h 6858001"/>
              <a:gd name="connsiteX28" fmla="*/ 3288146 w 8009775"/>
              <a:gd name="connsiteY28" fmla="*/ 1247459 h 6858001"/>
              <a:gd name="connsiteX29" fmla="*/ 3285486 w 8009775"/>
              <a:gd name="connsiteY29" fmla="*/ 1252855 h 6858001"/>
              <a:gd name="connsiteX30" fmla="*/ 3282234 w 8009775"/>
              <a:gd name="connsiteY30" fmla="*/ 1258254 h 6858001"/>
              <a:gd name="connsiteX31" fmla="*/ 3278688 w 8009775"/>
              <a:gd name="connsiteY31" fmla="*/ 1263333 h 6858001"/>
              <a:gd name="connsiteX32" fmla="*/ 3274550 w 8009775"/>
              <a:gd name="connsiteY32" fmla="*/ 1268413 h 6858001"/>
              <a:gd name="connsiteX33" fmla="*/ 3270708 w 8009775"/>
              <a:gd name="connsiteY33" fmla="*/ 1273494 h 6858001"/>
              <a:gd name="connsiteX34" fmla="*/ 3265978 w 8009775"/>
              <a:gd name="connsiteY34" fmla="*/ 1278255 h 6858001"/>
              <a:gd name="connsiteX35" fmla="*/ 3261249 w 8009775"/>
              <a:gd name="connsiteY35" fmla="*/ 1282384 h 6858001"/>
              <a:gd name="connsiteX36" fmla="*/ 3256816 w 8009775"/>
              <a:gd name="connsiteY36" fmla="*/ 1286510 h 6858001"/>
              <a:gd name="connsiteX37" fmla="*/ 3251791 w 8009775"/>
              <a:gd name="connsiteY37" fmla="*/ 1290321 h 6858001"/>
              <a:gd name="connsiteX38" fmla="*/ 3246767 w 8009775"/>
              <a:gd name="connsiteY38" fmla="*/ 1293814 h 6858001"/>
              <a:gd name="connsiteX39" fmla="*/ 3241151 w 8009775"/>
              <a:gd name="connsiteY39" fmla="*/ 1297306 h 6858001"/>
              <a:gd name="connsiteX40" fmla="*/ 3235831 w 8009775"/>
              <a:gd name="connsiteY40" fmla="*/ 1300481 h 6858001"/>
              <a:gd name="connsiteX41" fmla="*/ 3230511 w 8009775"/>
              <a:gd name="connsiteY41" fmla="*/ 1303021 h 6858001"/>
              <a:gd name="connsiteX42" fmla="*/ 3224600 w 8009775"/>
              <a:gd name="connsiteY42" fmla="*/ 1305560 h 6858001"/>
              <a:gd name="connsiteX43" fmla="*/ 3218984 w 8009775"/>
              <a:gd name="connsiteY43" fmla="*/ 1307465 h 6858001"/>
              <a:gd name="connsiteX44" fmla="*/ 3213072 w 8009775"/>
              <a:gd name="connsiteY44" fmla="*/ 1309371 h 6858001"/>
              <a:gd name="connsiteX45" fmla="*/ 3207457 w 8009775"/>
              <a:gd name="connsiteY45" fmla="*/ 1311275 h 6858001"/>
              <a:gd name="connsiteX46" fmla="*/ 3201841 w 8009775"/>
              <a:gd name="connsiteY46" fmla="*/ 1312228 h 6858001"/>
              <a:gd name="connsiteX47" fmla="*/ 3195634 w 8009775"/>
              <a:gd name="connsiteY47" fmla="*/ 1313180 h 6858001"/>
              <a:gd name="connsiteX48" fmla="*/ 3189428 w 8009775"/>
              <a:gd name="connsiteY48" fmla="*/ 1314133 h 6858001"/>
              <a:gd name="connsiteX49" fmla="*/ 3183812 w 8009775"/>
              <a:gd name="connsiteY49" fmla="*/ 1314450 h 6858001"/>
              <a:gd name="connsiteX50" fmla="*/ 3177605 w 8009775"/>
              <a:gd name="connsiteY50" fmla="*/ 1314769 h 6858001"/>
              <a:gd name="connsiteX51" fmla="*/ 3171694 w 8009775"/>
              <a:gd name="connsiteY51" fmla="*/ 1314450 h 6858001"/>
              <a:gd name="connsiteX52" fmla="*/ 3165782 w 8009775"/>
              <a:gd name="connsiteY52" fmla="*/ 1314133 h 6858001"/>
              <a:gd name="connsiteX53" fmla="*/ 3159576 w 8009775"/>
              <a:gd name="connsiteY53" fmla="*/ 1313180 h 6858001"/>
              <a:gd name="connsiteX54" fmla="*/ 3153960 w 8009775"/>
              <a:gd name="connsiteY54" fmla="*/ 1312228 h 6858001"/>
              <a:gd name="connsiteX55" fmla="*/ 3147753 w 8009775"/>
              <a:gd name="connsiteY55" fmla="*/ 1311275 h 6858001"/>
              <a:gd name="connsiteX56" fmla="*/ 3142137 w 8009775"/>
              <a:gd name="connsiteY56" fmla="*/ 1309371 h 6858001"/>
              <a:gd name="connsiteX57" fmla="*/ 3136226 w 8009775"/>
              <a:gd name="connsiteY57" fmla="*/ 1307465 h 6858001"/>
              <a:gd name="connsiteX58" fmla="*/ 3130610 w 8009775"/>
              <a:gd name="connsiteY58" fmla="*/ 1305560 h 6858001"/>
              <a:gd name="connsiteX59" fmla="*/ 3124994 w 8009775"/>
              <a:gd name="connsiteY59" fmla="*/ 1303021 h 6858001"/>
              <a:gd name="connsiteX60" fmla="*/ 3119379 w 8009775"/>
              <a:gd name="connsiteY60" fmla="*/ 1300481 h 6858001"/>
              <a:gd name="connsiteX61" fmla="*/ 3114059 w 8009775"/>
              <a:gd name="connsiteY61" fmla="*/ 1297306 h 6858001"/>
              <a:gd name="connsiteX62" fmla="*/ 3109034 w 8009775"/>
              <a:gd name="connsiteY62" fmla="*/ 1293814 h 6858001"/>
              <a:gd name="connsiteX63" fmla="*/ 3103714 w 8009775"/>
              <a:gd name="connsiteY63" fmla="*/ 1290321 h 6858001"/>
              <a:gd name="connsiteX64" fmla="*/ 3098689 w 8009775"/>
              <a:gd name="connsiteY64" fmla="*/ 1286510 h 6858001"/>
              <a:gd name="connsiteX65" fmla="*/ 3093960 w 8009775"/>
              <a:gd name="connsiteY65" fmla="*/ 1282384 h 6858001"/>
              <a:gd name="connsiteX66" fmla="*/ 3089231 w 8009775"/>
              <a:gd name="connsiteY66" fmla="*/ 1278255 h 6858001"/>
              <a:gd name="connsiteX67" fmla="*/ 1811214 w 8009775"/>
              <a:gd name="connsiteY67" fmla="*/ 0 h 6858001"/>
              <a:gd name="connsiteX68" fmla="*/ 0 w 8009775"/>
              <a:gd name="connsiteY68" fmla="*/ 0 h 6858001"/>
              <a:gd name="connsiteX69" fmla="*/ 0 w 8009775"/>
              <a:gd name="connsiteY69" fmla="*/ 6858000 h 6858001"/>
              <a:gd name="connsiteX70" fmla="*/ 7507651 w 8009775"/>
              <a:gd name="connsiteY70" fmla="*/ 6858001 h 6858001"/>
              <a:gd name="connsiteX71" fmla="*/ 8009775 w 8009775"/>
              <a:gd name="connsiteY71" fmla="*/ 6858000 h 6858001"/>
              <a:gd name="connsiteX72" fmla="*/ 3996316 w 8009775"/>
              <a:gd name="connsiteY72" fmla="*/ 2818448 h 6858001"/>
              <a:gd name="connsiteX73" fmla="*/ 3980947 w 8009775"/>
              <a:gd name="connsiteY73" fmla="*/ 2804795 h 6858001"/>
              <a:gd name="connsiteX74" fmla="*/ 3965282 w 8009775"/>
              <a:gd name="connsiteY74" fmla="*/ 2791144 h 6858001"/>
              <a:gd name="connsiteX75" fmla="*/ 3950799 w 8009775"/>
              <a:gd name="connsiteY75" fmla="*/ 2776856 h 6858001"/>
              <a:gd name="connsiteX76" fmla="*/ 3936021 w 8009775"/>
              <a:gd name="connsiteY76" fmla="*/ 2762568 h 6858001"/>
              <a:gd name="connsiteX77" fmla="*/ 3001744 w 8009775"/>
              <a:gd name="connsiteY77" fmla="*/ 1828166 h 6858001"/>
              <a:gd name="connsiteX78" fmla="*/ 2997311 w 8009775"/>
              <a:gd name="connsiteY78" fmla="*/ 1823404 h 6858001"/>
              <a:gd name="connsiteX79" fmla="*/ 2992878 w 8009775"/>
              <a:gd name="connsiteY79" fmla="*/ 1818640 h 6858001"/>
              <a:gd name="connsiteX80" fmla="*/ 2989331 w 8009775"/>
              <a:gd name="connsiteY80" fmla="*/ 1814195 h 6858001"/>
              <a:gd name="connsiteX81" fmla="*/ 2985784 w 8009775"/>
              <a:gd name="connsiteY81" fmla="*/ 1808799 h 6858001"/>
              <a:gd name="connsiteX82" fmla="*/ 2982533 w 8009775"/>
              <a:gd name="connsiteY82" fmla="*/ 1803718 h 6858001"/>
              <a:gd name="connsiteX83" fmla="*/ 2979873 w 8009775"/>
              <a:gd name="connsiteY83" fmla="*/ 1798321 h 6858001"/>
              <a:gd name="connsiteX84" fmla="*/ 2976917 w 8009775"/>
              <a:gd name="connsiteY84" fmla="*/ 1792924 h 6858001"/>
              <a:gd name="connsiteX85" fmla="*/ 2974552 w 8009775"/>
              <a:gd name="connsiteY85" fmla="*/ 1787526 h 6858001"/>
              <a:gd name="connsiteX86" fmla="*/ 2972484 w 8009775"/>
              <a:gd name="connsiteY86" fmla="*/ 1781811 h 6858001"/>
              <a:gd name="connsiteX87" fmla="*/ 2970710 w 8009775"/>
              <a:gd name="connsiteY87" fmla="*/ 1776095 h 6858001"/>
              <a:gd name="connsiteX88" fmla="*/ 2968937 w 8009775"/>
              <a:gd name="connsiteY88" fmla="*/ 1770380 h 6858001"/>
              <a:gd name="connsiteX89" fmla="*/ 2967755 w 8009775"/>
              <a:gd name="connsiteY89" fmla="*/ 1764665 h 6858001"/>
              <a:gd name="connsiteX90" fmla="*/ 2966868 w 8009775"/>
              <a:gd name="connsiteY90" fmla="*/ 1758634 h 6858001"/>
              <a:gd name="connsiteX91" fmla="*/ 2965981 w 8009775"/>
              <a:gd name="connsiteY91" fmla="*/ 1752919 h 6858001"/>
              <a:gd name="connsiteX92" fmla="*/ 2965686 w 8009775"/>
              <a:gd name="connsiteY92" fmla="*/ 1746885 h 6858001"/>
              <a:gd name="connsiteX93" fmla="*/ 2965686 w 8009775"/>
              <a:gd name="connsiteY93" fmla="*/ 1741170 h 6858001"/>
              <a:gd name="connsiteX94" fmla="*/ 2965686 w 8009775"/>
              <a:gd name="connsiteY94" fmla="*/ 1735139 h 6858001"/>
              <a:gd name="connsiteX95" fmla="*/ 2965981 w 8009775"/>
              <a:gd name="connsiteY95" fmla="*/ 1729424 h 6858001"/>
              <a:gd name="connsiteX96" fmla="*/ 2966868 w 8009775"/>
              <a:gd name="connsiteY96" fmla="*/ 1723074 h 6858001"/>
              <a:gd name="connsiteX97" fmla="*/ 2967755 w 8009775"/>
              <a:gd name="connsiteY97" fmla="*/ 1717358 h 6858001"/>
              <a:gd name="connsiteX98" fmla="*/ 2968937 w 8009775"/>
              <a:gd name="connsiteY98" fmla="*/ 1711643 h 6858001"/>
              <a:gd name="connsiteX99" fmla="*/ 2970710 w 8009775"/>
              <a:gd name="connsiteY99" fmla="*/ 1705929 h 6858001"/>
              <a:gd name="connsiteX100" fmla="*/ 2972484 w 8009775"/>
              <a:gd name="connsiteY100" fmla="*/ 1700214 h 6858001"/>
              <a:gd name="connsiteX101" fmla="*/ 2974552 w 8009775"/>
              <a:gd name="connsiteY101" fmla="*/ 1694816 h 6858001"/>
              <a:gd name="connsiteX102" fmla="*/ 2976917 w 8009775"/>
              <a:gd name="connsiteY102" fmla="*/ 1689101 h 6858001"/>
              <a:gd name="connsiteX103" fmla="*/ 2979873 w 8009775"/>
              <a:gd name="connsiteY103" fmla="*/ 1683703 h 6858001"/>
              <a:gd name="connsiteX104" fmla="*/ 2982533 w 8009775"/>
              <a:gd name="connsiteY104" fmla="*/ 1678305 h 6858001"/>
              <a:gd name="connsiteX105" fmla="*/ 2985784 w 8009775"/>
              <a:gd name="connsiteY105" fmla="*/ 1673226 h 6858001"/>
              <a:gd name="connsiteX106" fmla="*/ 2989331 w 8009775"/>
              <a:gd name="connsiteY106" fmla="*/ 1668145 h 6858001"/>
              <a:gd name="connsiteX107" fmla="*/ 2992878 w 8009775"/>
              <a:gd name="connsiteY107" fmla="*/ 1663066 h 6858001"/>
              <a:gd name="connsiteX108" fmla="*/ 2997311 w 8009775"/>
              <a:gd name="connsiteY108" fmla="*/ 1658621 h 6858001"/>
              <a:gd name="connsiteX109" fmla="*/ 3001744 w 8009775"/>
              <a:gd name="connsiteY109" fmla="*/ 1653859 h 6858001"/>
              <a:gd name="connsiteX110" fmla="*/ 3006178 w 8009775"/>
              <a:gd name="connsiteY110" fmla="*/ 1649414 h 6858001"/>
              <a:gd name="connsiteX111" fmla="*/ 3010907 w 8009775"/>
              <a:gd name="connsiteY111" fmla="*/ 1645603 h 6858001"/>
              <a:gd name="connsiteX112" fmla="*/ 3015932 w 8009775"/>
              <a:gd name="connsiteY112" fmla="*/ 1641794 h 6858001"/>
              <a:gd name="connsiteX113" fmla="*/ 3020956 w 8009775"/>
              <a:gd name="connsiteY113" fmla="*/ 1637984 h 6858001"/>
              <a:gd name="connsiteX114" fmla="*/ 3025981 w 8009775"/>
              <a:gd name="connsiteY114" fmla="*/ 1634809 h 6858001"/>
              <a:gd name="connsiteX115" fmla="*/ 3031596 w 8009775"/>
              <a:gd name="connsiteY115" fmla="*/ 1631950 h 6858001"/>
              <a:gd name="connsiteX116" fmla="*/ 3036916 w 8009775"/>
              <a:gd name="connsiteY116" fmla="*/ 1629094 h 6858001"/>
              <a:gd name="connsiteX117" fmla="*/ 3042532 w 8009775"/>
              <a:gd name="connsiteY117" fmla="*/ 1626871 h 6858001"/>
              <a:gd name="connsiteX118" fmla="*/ 3047852 w 8009775"/>
              <a:gd name="connsiteY118" fmla="*/ 1624649 h 6858001"/>
              <a:gd name="connsiteX119" fmla="*/ 3053764 w 8009775"/>
              <a:gd name="connsiteY119" fmla="*/ 1623061 h 6858001"/>
              <a:gd name="connsiteX120" fmla="*/ 3059379 w 8009775"/>
              <a:gd name="connsiteY120" fmla="*/ 1621155 h 6858001"/>
              <a:gd name="connsiteX121" fmla="*/ 3065291 w 8009775"/>
              <a:gd name="connsiteY121" fmla="*/ 1620204 h 6858001"/>
              <a:gd name="connsiteX122" fmla="*/ 3070906 w 8009775"/>
              <a:gd name="connsiteY122" fmla="*/ 1618934 h 6858001"/>
              <a:gd name="connsiteX123" fmla="*/ 3077113 w 8009775"/>
              <a:gd name="connsiteY123" fmla="*/ 1618299 h 6858001"/>
              <a:gd name="connsiteX124" fmla="*/ 3082729 w 8009775"/>
              <a:gd name="connsiteY124" fmla="*/ 1617981 h 6858001"/>
              <a:gd name="connsiteX125" fmla="*/ 3088936 w 8009775"/>
              <a:gd name="connsiteY125" fmla="*/ 1617981 h 6858001"/>
              <a:gd name="connsiteX126" fmla="*/ 3094552 w 8009775"/>
              <a:gd name="connsiteY126" fmla="*/ 1617981 h 6858001"/>
              <a:gd name="connsiteX127" fmla="*/ 3100758 w 8009775"/>
              <a:gd name="connsiteY127" fmla="*/ 1618299 h 6858001"/>
              <a:gd name="connsiteX128" fmla="*/ 3106670 w 8009775"/>
              <a:gd name="connsiteY128" fmla="*/ 1618934 h 6858001"/>
              <a:gd name="connsiteX129" fmla="*/ 3112285 w 8009775"/>
              <a:gd name="connsiteY129" fmla="*/ 1620204 h 6858001"/>
              <a:gd name="connsiteX130" fmla="*/ 3117901 w 8009775"/>
              <a:gd name="connsiteY130" fmla="*/ 1621155 h 6858001"/>
              <a:gd name="connsiteX131" fmla="*/ 3123812 w 8009775"/>
              <a:gd name="connsiteY131" fmla="*/ 1623061 h 6858001"/>
              <a:gd name="connsiteX132" fmla="*/ 3129428 w 8009775"/>
              <a:gd name="connsiteY132" fmla="*/ 1624649 h 6858001"/>
              <a:gd name="connsiteX133" fmla="*/ 3135339 w 8009775"/>
              <a:gd name="connsiteY133" fmla="*/ 1626871 h 6858001"/>
              <a:gd name="connsiteX134" fmla="*/ 3140660 w 8009775"/>
              <a:gd name="connsiteY134" fmla="*/ 1629094 h 6858001"/>
              <a:gd name="connsiteX135" fmla="*/ 3145980 w 8009775"/>
              <a:gd name="connsiteY135" fmla="*/ 1631950 h 6858001"/>
              <a:gd name="connsiteX136" fmla="*/ 3151300 w 8009775"/>
              <a:gd name="connsiteY136" fmla="*/ 1634809 h 6858001"/>
              <a:gd name="connsiteX137" fmla="*/ 3156324 w 8009775"/>
              <a:gd name="connsiteY137" fmla="*/ 1637984 h 6858001"/>
              <a:gd name="connsiteX138" fmla="*/ 3161349 w 8009775"/>
              <a:gd name="connsiteY138" fmla="*/ 1641794 h 6858001"/>
              <a:gd name="connsiteX139" fmla="*/ 3166374 w 8009775"/>
              <a:gd name="connsiteY139" fmla="*/ 1645603 h 6858001"/>
              <a:gd name="connsiteX140" fmla="*/ 3171102 w 8009775"/>
              <a:gd name="connsiteY140" fmla="*/ 1649414 h 6858001"/>
              <a:gd name="connsiteX141" fmla="*/ 3175832 w 8009775"/>
              <a:gd name="connsiteY141" fmla="*/ 1653859 h 6858001"/>
              <a:gd name="connsiteX142" fmla="*/ 3844692 w 8009775"/>
              <a:gd name="connsiteY142" fmla="*/ 2322830 h 6858001"/>
              <a:gd name="connsiteX143" fmla="*/ 3849421 w 8009775"/>
              <a:gd name="connsiteY143" fmla="*/ 2326958 h 6858001"/>
              <a:gd name="connsiteX144" fmla="*/ 3854150 w 8009775"/>
              <a:gd name="connsiteY144" fmla="*/ 2331085 h 6858001"/>
              <a:gd name="connsiteX145" fmla="*/ 3859175 w 8009775"/>
              <a:gd name="connsiteY145" fmla="*/ 2334895 h 6858001"/>
              <a:gd name="connsiteX146" fmla="*/ 3864199 w 8009775"/>
              <a:gd name="connsiteY146" fmla="*/ 2338705 h 6858001"/>
              <a:gd name="connsiteX147" fmla="*/ 3869224 w 8009775"/>
              <a:gd name="connsiteY147" fmla="*/ 2341880 h 6858001"/>
              <a:gd name="connsiteX148" fmla="*/ 3874544 w 8009775"/>
              <a:gd name="connsiteY148" fmla="*/ 2344738 h 6858001"/>
              <a:gd name="connsiteX149" fmla="*/ 3879864 w 8009775"/>
              <a:gd name="connsiteY149" fmla="*/ 2347595 h 6858001"/>
              <a:gd name="connsiteX150" fmla="*/ 3885775 w 8009775"/>
              <a:gd name="connsiteY150" fmla="*/ 2349818 h 6858001"/>
              <a:gd name="connsiteX151" fmla="*/ 3891096 w 8009775"/>
              <a:gd name="connsiteY151" fmla="*/ 2351723 h 6858001"/>
              <a:gd name="connsiteX152" fmla="*/ 3896711 w 8009775"/>
              <a:gd name="connsiteY152" fmla="*/ 2353628 h 6858001"/>
              <a:gd name="connsiteX153" fmla="*/ 3902623 w 8009775"/>
              <a:gd name="connsiteY153" fmla="*/ 2355534 h 6858001"/>
              <a:gd name="connsiteX154" fmla="*/ 3908238 w 8009775"/>
              <a:gd name="connsiteY154" fmla="*/ 2356485 h 6858001"/>
              <a:gd name="connsiteX155" fmla="*/ 3914150 w 8009775"/>
              <a:gd name="connsiteY155" fmla="*/ 2357755 h 6858001"/>
              <a:gd name="connsiteX156" fmla="*/ 3920061 w 8009775"/>
              <a:gd name="connsiteY156" fmla="*/ 2358391 h 6858001"/>
              <a:gd name="connsiteX157" fmla="*/ 3925972 w 8009775"/>
              <a:gd name="connsiteY157" fmla="*/ 2358708 h 6858001"/>
              <a:gd name="connsiteX158" fmla="*/ 3931883 w 8009775"/>
              <a:gd name="connsiteY158" fmla="*/ 2358708 h 6858001"/>
              <a:gd name="connsiteX159" fmla="*/ 3937795 w 8009775"/>
              <a:gd name="connsiteY159" fmla="*/ 2358708 h 6858001"/>
              <a:gd name="connsiteX160" fmla="*/ 3943706 w 8009775"/>
              <a:gd name="connsiteY160" fmla="*/ 2358391 h 6858001"/>
              <a:gd name="connsiteX161" fmla="*/ 3949617 w 8009775"/>
              <a:gd name="connsiteY161" fmla="*/ 2357755 h 6858001"/>
              <a:gd name="connsiteX162" fmla="*/ 3955233 w 8009775"/>
              <a:gd name="connsiteY162" fmla="*/ 2356485 h 6858001"/>
              <a:gd name="connsiteX163" fmla="*/ 3961144 w 8009775"/>
              <a:gd name="connsiteY163" fmla="*/ 2355534 h 6858001"/>
              <a:gd name="connsiteX164" fmla="*/ 3966760 w 8009775"/>
              <a:gd name="connsiteY164" fmla="*/ 2353628 h 6858001"/>
              <a:gd name="connsiteX165" fmla="*/ 3972671 w 8009775"/>
              <a:gd name="connsiteY165" fmla="*/ 2351723 h 6858001"/>
              <a:gd name="connsiteX166" fmla="*/ 3978287 w 8009775"/>
              <a:gd name="connsiteY166" fmla="*/ 2349818 h 6858001"/>
              <a:gd name="connsiteX167" fmla="*/ 3983607 w 8009775"/>
              <a:gd name="connsiteY167" fmla="*/ 2347595 h 6858001"/>
              <a:gd name="connsiteX168" fmla="*/ 3989223 w 8009775"/>
              <a:gd name="connsiteY168" fmla="*/ 2344738 h 6858001"/>
              <a:gd name="connsiteX169" fmla="*/ 3994543 w 8009775"/>
              <a:gd name="connsiteY169" fmla="*/ 2341880 h 6858001"/>
              <a:gd name="connsiteX170" fmla="*/ 3999567 w 8009775"/>
              <a:gd name="connsiteY170" fmla="*/ 2338705 h 6858001"/>
              <a:gd name="connsiteX171" fmla="*/ 4004888 w 8009775"/>
              <a:gd name="connsiteY171" fmla="*/ 2334895 h 6858001"/>
              <a:gd name="connsiteX172" fmla="*/ 4009617 w 8009775"/>
              <a:gd name="connsiteY172" fmla="*/ 2331085 h 6858001"/>
              <a:gd name="connsiteX173" fmla="*/ 4014346 w 8009775"/>
              <a:gd name="connsiteY173" fmla="*/ 2326958 h 6858001"/>
              <a:gd name="connsiteX174" fmla="*/ 4018779 w 8009775"/>
              <a:gd name="connsiteY174" fmla="*/ 2322830 h 6858001"/>
              <a:gd name="connsiteX175" fmla="*/ 4023213 w 8009775"/>
              <a:gd name="connsiteY175" fmla="*/ 2318068 h 6858001"/>
              <a:gd name="connsiteX176" fmla="*/ 4027646 w 8009775"/>
              <a:gd name="connsiteY176" fmla="*/ 2313306 h 6858001"/>
              <a:gd name="connsiteX177" fmla="*/ 4031193 w 8009775"/>
              <a:gd name="connsiteY177" fmla="*/ 2308544 h 6858001"/>
              <a:gd name="connsiteX178" fmla="*/ 4034740 w 8009775"/>
              <a:gd name="connsiteY178" fmla="*/ 2303463 h 6858001"/>
              <a:gd name="connsiteX179" fmla="*/ 4037991 w 8009775"/>
              <a:gd name="connsiteY179" fmla="*/ 2298384 h 6858001"/>
              <a:gd name="connsiteX180" fmla="*/ 4040946 w 8009775"/>
              <a:gd name="connsiteY180" fmla="*/ 2292985 h 6858001"/>
              <a:gd name="connsiteX181" fmla="*/ 4043606 w 8009775"/>
              <a:gd name="connsiteY181" fmla="*/ 2287588 h 6858001"/>
              <a:gd name="connsiteX182" fmla="*/ 4046267 w 8009775"/>
              <a:gd name="connsiteY182" fmla="*/ 2281873 h 6858001"/>
              <a:gd name="connsiteX183" fmla="*/ 4048040 w 8009775"/>
              <a:gd name="connsiteY183" fmla="*/ 2276476 h 6858001"/>
              <a:gd name="connsiteX184" fmla="*/ 4050109 w 8009775"/>
              <a:gd name="connsiteY184" fmla="*/ 2270761 h 6858001"/>
              <a:gd name="connsiteX185" fmla="*/ 4051587 w 8009775"/>
              <a:gd name="connsiteY185" fmla="*/ 2265046 h 6858001"/>
              <a:gd name="connsiteX186" fmla="*/ 4052769 w 8009775"/>
              <a:gd name="connsiteY186" fmla="*/ 2259331 h 6858001"/>
              <a:gd name="connsiteX187" fmla="*/ 4053656 w 8009775"/>
              <a:gd name="connsiteY187" fmla="*/ 2253298 h 6858001"/>
              <a:gd name="connsiteX188" fmla="*/ 4054542 w 8009775"/>
              <a:gd name="connsiteY188" fmla="*/ 2247266 h 6858001"/>
              <a:gd name="connsiteX189" fmla="*/ 4054838 w 8009775"/>
              <a:gd name="connsiteY189" fmla="*/ 2241551 h 6858001"/>
              <a:gd name="connsiteX190" fmla="*/ 4055133 w 8009775"/>
              <a:gd name="connsiteY190" fmla="*/ 2235519 h 6858001"/>
              <a:gd name="connsiteX191" fmla="*/ 4054838 w 8009775"/>
              <a:gd name="connsiteY191" fmla="*/ 2229804 h 6858001"/>
              <a:gd name="connsiteX192" fmla="*/ 4054542 w 8009775"/>
              <a:gd name="connsiteY192" fmla="*/ 2223770 h 6858001"/>
              <a:gd name="connsiteX193" fmla="*/ 4053656 w 8009775"/>
              <a:gd name="connsiteY193" fmla="*/ 2217739 h 6858001"/>
              <a:gd name="connsiteX194" fmla="*/ 4052769 w 8009775"/>
              <a:gd name="connsiteY194" fmla="*/ 2212024 h 6858001"/>
              <a:gd name="connsiteX195" fmla="*/ 4051587 w 8009775"/>
              <a:gd name="connsiteY195" fmla="*/ 2206309 h 6858001"/>
              <a:gd name="connsiteX196" fmla="*/ 4050109 w 8009775"/>
              <a:gd name="connsiteY196" fmla="*/ 2200593 h 6858001"/>
              <a:gd name="connsiteX197" fmla="*/ 4048040 w 8009775"/>
              <a:gd name="connsiteY197" fmla="*/ 2194878 h 6858001"/>
              <a:gd name="connsiteX198" fmla="*/ 4046267 w 8009775"/>
              <a:gd name="connsiteY198" fmla="*/ 2189163 h 6858001"/>
              <a:gd name="connsiteX199" fmla="*/ 4043606 w 8009775"/>
              <a:gd name="connsiteY199" fmla="*/ 2183765 h 6858001"/>
              <a:gd name="connsiteX200" fmla="*/ 4040946 w 8009775"/>
              <a:gd name="connsiteY200" fmla="*/ 2178368 h 6858001"/>
              <a:gd name="connsiteX201" fmla="*/ 4037991 w 8009775"/>
              <a:gd name="connsiteY201" fmla="*/ 2172970 h 6858001"/>
              <a:gd name="connsiteX202" fmla="*/ 4034740 w 8009775"/>
              <a:gd name="connsiteY202" fmla="*/ 2167890 h 6858001"/>
              <a:gd name="connsiteX203" fmla="*/ 4031193 w 8009775"/>
              <a:gd name="connsiteY203" fmla="*/ 2162494 h 6858001"/>
              <a:gd name="connsiteX204" fmla="*/ 4027646 w 8009775"/>
              <a:gd name="connsiteY204" fmla="*/ 2157730 h 6858001"/>
              <a:gd name="connsiteX205" fmla="*/ 4023213 w 8009775"/>
              <a:gd name="connsiteY205" fmla="*/ 2153285 h 6858001"/>
              <a:gd name="connsiteX206" fmla="*/ 4018779 w 8009775"/>
              <a:gd name="connsiteY206" fmla="*/ 2148523 h 6858001"/>
              <a:gd name="connsiteX207" fmla="*/ 3632182 w 8009775"/>
              <a:gd name="connsiteY207" fmla="*/ 1761490 h 6858001"/>
              <a:gd name="connsiteX208" fmla="*/ 3435928 w 8009775"/>
              <a:gd name="connsiteY208" fmla="*/ 1565276 h 6858001"/>
              <a:gd name="connsiteX209" fmla="*/ 3431198 w 8009775"/>
              <a:gd name="connsiteY209" fmla="*/ 1560514 h 6858001"/>
              <a:gd name="connsiteX210" fmla="*/ 3427356 w 8009775"/>
              <a:gd name="connsiteY210" fmla="*/ 1555751 h 6858001"/>
              <a:gd name="connsiteX211" fmla="*/ 3423218 w 8009775"/>
              <a:gd name="connsiteY211" fmla="*/ 1550671 h 6858001"/>
              <a:gd name="connsiteX212" fmla="*/ 3420262 w 8009775"/>
              <a:gd name="connsiteY212" fmla="*/ 1545909 h 6858001"/>
              <a:gd name="connsiteX213" fmla="*/ 3417012 w 8009775"/>
              <a:gd name="connsiteY213" fmla="*/ 1540829 h 6858001"/>
              <a:gd name="connsiteX214" fmla="*/ 3413760 w 8009775"/>
              <a:gd name="connsiteY214" fmla="*/ 1535430 h 6858001"/>
              <a:gd name="connsiteX215" fmla="*/ 3411100 w 8009775"/>
              <a:gd name="connsiteY215" fmla="*/ 1530034 h 6858001"/>
              <a:gd name="connsiteX216" fmla="*/ 3408736 w 8009775"/>
              <a:gd name="connsiteY216" fmla="*/ 1524635 h 6858001"/>
              <a:gd name="connsiteX217" fmla="*/ 3406371 w 8009775"/>
              <a:gd name="connsiteY217" fmla="*/ 1518920 h 6858001"/>
              <a:gd name="connsiteX218" fmla="*/ 3404598 w 8009775"/>
              <a:gd name="connsiteY218" fmla="*/ 1513205 h 6858001"/>
              <a:gd name="connsiteX219" fmla="*/ 3403120 w 8009775"/>
              <a:gd name="connsiteY219" fmla="*/ 1507174 h 6858001"/>
              <a:gd name="connsiteX220" fmla="*/ 3401938 w 8009775"/>
              <a:gd name="connsiteY220" fmla="*/ 1501459 h 6858001"/>
              <a:gd name="connsiteX221" fmla="*/ 3401051 w 8009775"/>
              <a:gd name="connsiteY221" fmla="*/ 1495744 h 6858001"/>
              <a:gd name="connsiteX222" fmla="*/ 3400460 w 8009775"/>
              <a:gd name="connsiteY222" fmla="*/ 1489710 h 6858001"/>
              <a:gd name="connsiteX223" fmla="*/ 3399869 w 8009775"/>
              <a:gd name="connsiteY223" fmla="*/ 1483995 h 6858001"/>
              <a:gd name="connsiteX224" fmla="*/ 3399573 w 8009775"/>
              <a:gd name="connsiteY224" fmla="*/ 1478281 h 6858001"/>
              <a:gd name="connsiteX225" fmla="*/ 3399869 w 8009775"/>
              <a:gd name="connsiteY225" fmla="*/ 1472249 h 6858001"/>
              <a:gd name="connsiteX226" fmla="*/ 3400460 w 8009775"/>
              <a:gd name="connsiteY226" fmla="*/ 1466215 h 6858001"/>
              <a:gd name="connsiteX227" fmla="*/ 3401051 w 8009775"/>
              <a:gd name="connsiteY227" fmla="*/ 1460183 h 6858001"/>
              <a:gd name="connsiteX228" fmla="*/ 3401938 w 8009775"/>
              <a:gd name="connsiteY228" fmla="*/ 1454468 h 6858001"/>
              <a:gd name="connsiteX229" fmla="*/ 3403120 w 8009775"/>
              <a:gd name="connsiteY229" fmla="*/ 1448754 h 6858001"/>
              <a:gd name="connsiteX230" fmla="*/ 3404598 w 8009775"/>
              <a:gd name="connsiteY230" fmla="*/ 1443039 h 6858001"/>
              <a:gd name="connsiteX231" fmla="*/ 3406371 w 8009775"/>
              <a:gd name="connsiteY231" fmla="*/ 1437324 h 6858001"/>
              <a:gd name="connsiteX232" fmla="*/ 3408736 w 8009775"/>
              <a:gd name="connsiteY232" fmla="*/ 1431609 h 6858001"/>
              <a:gd name="connsiteX233" fmla="*/ 3411100 w 8009775"/>
              <a:gd name="connsiteY233" fmla="*/ 1426211 h 6858001"/>
              <a:gd name="connsiteX234" fmla="*/ 3413760 w 8009775"/>
              <a:gd name="connsiteY234" fmla="*/ 1420814 h 6858001"/>
              <a:gd name="connsiteX235" fmla="*/ 3417012 w 8009775"/>
              <a:gd name="connsiteY235" fmla="*/ 1415416 h 6858001"/>
              <a:gd name="connsiteX236" fmla="*/ 3420262 w 8009775"/>
              <a:gd name="connsiteY236" fmla="*/ 1410336 h 6858001"/>
              <a:gd name="connsiteX237" fmla="*/ 3423218 w 8009775"/>
              <a:gd name="connsiteY237" fmla="*/ 1405256 h 6858001"/>
              <a:gd name="connsiteX238" fmla="*/ 3427356 w 8009775"/>
              <a:gd name="connsiteY238" fmla="*/ 1400175 h 6858001"/>
              <a:gd name="connsiteX239" fmla="*/ 3431198 w 8009775"/>
              <a:gd name="connsiteY239" fmla="*/ 1395731 h 6858001"/>
              <a:gd name="connsiteX240" fmla="*/ 3435928 w 8009775"/>
              <a:gd name="connsiteY240" fmla="*/ 1390969 h 6858001"/>
              <a:gd name="connsiteX241" fmla="*/ 3440361 w 8009775"/>
              <a:gd name="connsiteY241" fmla="*/ 1386524 h 6858001"/>
              <a:gd name="connsiteX242" fmla="*/ 3445386 w 8009775"/>
              <a:gd name="connsiteY242" fmla="*/ 1382396 h 6858001"/>
              <a:gd name="connsiteX243" fmla="*/ 3449819 w 8009775"/>
              <a:gd name="connsiteY243" fmla="*/ 1378585 h 6858001"/>
              <a:gd name="connsiteX244" fmla="*/ 3454844 w 8009775"/>
              <a:gd name="connsiteY244" fmla="*/ 1375094 h 6858001"/>
              <a:gd name="connsiteX245" fmla="*/ 3460459 w 8009775"/>
              <a:gd name="connsiteY245" fmla="*/ 1371919 h 6858001"/>
              <a:gd name="connsiteX246" fmla="*/ 3465780 w 8009775"/>
              <a:gd name="connsiteY246" fmla="*/ 1369061 h 6858001"/>
              <a:gd name="connsiteX247" fmla="*/ 3471100 w 8009775"/>
              <a:gd name="connsiteY247" fmla="*/ 1366204 h 6858001"/>
              <a:gd name="connsiteX248" fmla="*/ 3476420 w 8009775"/>
              <a:gd name="connsiteY248" fmla="*/ 1363980 h 6858001"/>
              <a:gd name="connsiteX249" fmla="*/ 3482331 w 8009775"/>
              <a:gd name="connsiteY249" fmla="*/ 1361759 h 6858001"/>
              <a:gd name="connsiteX250" fmla="*/ 3487947 w 8009775"/>
              <a:gd name="connsiteY250" fmla="*/ 1360170 h 6858001"/>
              <a:gd name="connsiteX251" fmla="*/ 3493858 w 8009775"/>
              <a:gd name="connsiteY251" fmla="*/ 1358265 h 6858001"/>
              <a:gd name="connsiteX252" fmla="*/ 3499474 w 8009775"/>
              <a:gd name="connsiteY252" fmla="*/ 1357314 h 6858001"/>
              <a:gd name="connsiteX253" fmla="*/ 3505385 w 8009775"/>
              <a:gd name="connsiteY253" fmla="*/ 1356043 h 6858001"/>
              <a:gd name="connsiteX254" fmla="*/ 3511001 w 8009775"/>
              <a:gd name="connsiteY254" fmla="*/ 1355409 h 6858001"/>
              <a:gd name="connsiteX255" fmla="*/ 3517208 w 8009775"/>
              <a:gd name="connsiteY255" fmla="*/ 1355090 h 6858001"/>
              <a:gd name="connsiteX256" fmla="*/ 3522823 w 8009775"/>
              <a:gd name="connsiteY256" fmla="*/ 1354773 h 6858001"/>
              <a:gd name="connsiteX257" fmla="*/ 3529030 w 8009775"/>
              <a:gd name="connsiteY257" fmla="*/ 1355090 h 6858001"/>
              <a:gd name="connsiteX258" fmla="*/ 3534646 w 8009775"/>
              <a:gd name="connsiteY258" fmla="*/ 1355409 h 6858001"/>
              <a:gd name="connsiteX259" fmla="*/ 3540557 w 8009775"/>
              <a:gd name="connsiteY259" fmla="*/ 1356043 h 6858001"/>
              <a:gd name="connsiteX260" fmla="*/ 3546468 w 8009775"/>
              <a:gd name="connsiteY260" fmla="*/ 1357314 h 6858001"/>
              <a:gd name="connsiteX261" fmla="*/ 3552380 w 8009775"/>
              <a:gd name="connsiteY261" fmla="*/ 1358265 h 6858001"/>
              <a:gd name="connsiteX262" fmla="*/ 3557995 w 8009775"/>
              <a:gd name="connsiteY262" fmla="*/ 1360170 h 6858001"/>
              <a:gd name="connsiteX263" fmla="*/ 3563906 w 8009775"/>
              <a:gd name="connsiteY263" fmla="*/ 1361759 h 6858001"/>
              <a:gd name="connsiteX264" fmla="*/ 3569227 w 8009775"/>
              <a:gd name="connsiteY264" fmla="*/ 1363980 h 6858001"/>
              <a:gd name="connsiteX265" fmla="*/ 3574842 w 8009775"/>
              <a:gd name="connsiteY265" fmla="*/ 1366204 h 6858001"/>
              <a:gd name="connsiteX266" fmla="*/ 3580458 w 8009775"/>
              <a:gd name="connsiteY266" fmla="*/ 1369061 h 6858001"/>
              <a:gd name="connsiteX267" fmla="*/ 3585778 w 8009775"/>
              <a:gd name="connsiteY267" fmla="*/ 1371919 h 6858001"/>
              <a:gd name="connsiteX268" fmla="*/ 3590803 w 8009775"/>
              <a:gd name="connsiteY268" fmla="*/ 1375094 h 6858001"/>
              <a:gd name="connsiteX269" fmla="*/ 3595828 w 8009775"/>
              <a:gd name="connsiteY269" fmla="*/ 1378585 h 6858001"/>
              <a:gd name="connsiteX270" fmla="*/ 3600852 w 8009775"/>
              <a:gd name="connsiteY270" fmla="*/ 1382396 h 6858001"/>
              <a:gd name="connsiteX271" fmla="*/ 3605581 w 8009775"/>
              <a:gd name="connsiteY271" fmla="*/ 1386524 h 6858001"/>
              <a:gd name="connsiteX272" fmla="*/ 3610014 w 8009775"/>
              <a:gd name="connsiteY272" fmla="*/ 1390969 h 6858001"/>
              <a:gd name="connsiteX273" fmla="*/ 3817500 w 8009775"/>
              <a:gd name="connsiteY273" fmla="*/ 1598296 h 6858001"/>
              <a:gd name="connsiteX274" fmla="*/ 3821934 w 8009775"/>
              <a:gd name="connsiteY274" fmla="*/ 1602423 h 6858001"/>
              <a:gd name="connsiteX275" fmla="*/ 3826663 w 8009775"/>
              <a:gd name="connsiteY275" fmla="*/ 1606869 h 6858001"/>
              <a:gd name="connsiteX276" fmla="*/ 3831687 w 8009775"/>
              <a:gd name="connsiteY276" fmla="*/ 1610361 h 6858001"/>
              <a:gd name="connsiteX277" fmla="*/ 3836712 w 8009775"/>
              <a:gd name="connsiteY277" fmla="*/ 1613854 h 6858001"/>
              <a:gd name="connsiteX278" fmla="*/ 3841736 w 8009775"/>
              <a:gd name="connsiteY278" fmla="*/ 1617345 h 6858001"/>
              <a:gd name="connsiteX279" fmla="*/ 3847352 w 8009775"/>
              <a:gd name="connsiteY279" fmla="*/ 1620204 h 6858001"/>
              <a:gd name="connsiteX280" fmla="*/ 3852672 w 8009775"/>
              <a:gd name="connsiteY280" fmla="*/ 1623061 h 6858001"/>
              <a:gd name="connsiteX281" fmla="*/ 3857992 w 8009775"/>
              <a:gd name="connsiteY281" fmla="*/ 1625283 h 6858001"/>
              <a:gd name="connsiteX282" fmla="*/ 3863608 w 8009775"/>
              <a:gd name="connsiteY282" fmla="*/ 1627189 h 6858001"/>
              <a:gd name="connsiteX283" fmla="*/ 3869519 w 8009775"/>
              <a:gd name="connsiteY283" fmla="*/ 1629094 h 6858001"/>
              <a:gd name="connsiteX284" fmla="*/ 3875135 w 8009775"/>
              <a:gd name="connsiteY284" fmla="*/ 1630998 h 6858001"/>
              <a:gd name="connsiteX285" fmla="*/ 3881046 w 8009775"/>
              <a:gd name="connsiteY285" fmla="*/ 1631950 h 6858001"/>
              <a:gd name="connsiteX286" fmla="*/ 3886662 w 8009775"/>
              <a:gd name="connsiteY286" fmla="*/ 1632904 h 6858001"/>
              <a:gd name="connsiteX287" fmla="*/ 3892869 w 8009775"/>
              <a:gd name="connsiteY287" fmla="*/ 1633856 h 6858001"/>
              <a:gd name="connsiteX288" fmla="*/ 3898485 w 8009775"/>
              <a:gd name="connsiteY288" fmla="*/ 1634174 h 6858001"/>
              <a:gd name="connsiteX289" fmla="*/ 3904396 w 8009775"/>
              <a:gd name="connsiteY289" fmla="*/ 1634174 h 6858001"/>
              <a:gd name="connsiteX290" fmla="*/ 3910307 w 8009775"/>
              <a:gd name="connsiteY290" fmla="*/ 1634174 h 6858001"/>
              <a:gd name="connsiteX291" fmla="*/ 3916219 w 8009775"/>
              <a:gd name="connsiteY291" fmla="*/ 1633856 h 6858001"/>
              <a:gd name="connsiteX292" fmla="*/ 3922425 w 8009775"/>
              <a:gd name="connsiteY292" fmla="*/ 1632904 h 6858001"/>
              <a:gd name="connsiteX293" fmla="*/ 3928041 w 8009775"/>
              <a:gd name="connsiteY293" fmla="*/ 1631950 h 6858001"/>
              <a:gd name="connsiteX294" fmla="*/ 3933657 w 8009775"/>
              <a:gd name="connsiteY294" fmla="*/ 1630998 h 6858001"/>
              <a:gd name="connsiteX295" fmla="*/ 3939568 w 8009775"/>
              <a:gd name="connsiteY295" fmla="*/ 1629094 h 6858001"/>
              <a:gd name="connsiteX296" fmla="*/ 3945184 w 8009775"/>
              <a:gd name="connsiteY296" fmla="*/ 1627189 h 6858001"/>
              <a:gd name="connsiteX297" fmla="*/ 3950799 w 8009775"/>
              <a:gd name="connsiteY297" fmla="*/ 1625283 h 6858001"/>
              <a:gd name="connsiteX298" fmla="*/ 3956415 w 8009775"/>
              <a:gd name="connsiteY298" fmla="*/ 1623061 h 6858001"/>
              <a:gd name="connsiteX299" fmla="*/ 3961735 w 8009775"/>
              <a:gd name="connsiteY299" fmla="*/ 1620204 h 6858001"/>
              <a:gd name="connsiteX300" fmla="*/ 3967055 w 8009775"/>
              <a:gd name="connsiteY300" fmla="*/ 1617345 h 6858001"/>
              <a:gd name="connsiteX301" fmla="*/ 3972376 w 8009775"/>
              <a:gd name="connsiteY301" fmla="*/ 1613854 h 6858001"/>
              <a:gd name="connsiteX302" fmla="*/ 3977400 w 8009775"/>
              <a:gd name="connsiteY302" fmla="*/ 1610361 h 6858001"/>
              <a:gd name="connsiteX303" fmla="*/ 3982425 w 8009775"/>
              <a:gd name="connsiteY303" fmla="*/ 1606869 h 6858001"/>
              <a:gd name="connsiteX304" fmla="*/ 3986858 w 8009775"/>
              <a:gd name="connsiteY304" fmla="*/ 1602423 h 6858001"/>
              <a:gd name="connsiteX305" fmla="*/ 3991587 w 8009775"/>
              <a:gd name="connsiteY305" fmla="*/ 1598296 h 6858001"/>
              <a:gd name="connsiteX306" fmla="*/ 3996021 w 8009775"/>
              <a:gd name="connsiteY306" fmla="*/ 1593533 h 6858001"/>
              <a:gd name="connsiteX307" fmla="*/ 4000159 w 8009775"/>
              <a:gd name="connsiteY307" fmla="*/ 1588771 h 6858001"/>
              <a:gd name="connsiteX308" fmla="*/ 4003705 w 8009775"/>
              <a:gd name="connsiteY308" fmla="*/ 1583691 h 6858001"/>
              <a:gd name="connsiteX309" fmla="*/ 4007548 w 8009775"/>
              <a:gd name="connsiteY309" fmla="*/ 1578928 h 6858001"/>
              <a:gd name="connsiteX310" fmla="*/ 4010799 w 8009775"/>
              <a:gd name="connsiteY310" fmla="*/ 1573849 h 6858001"/>
              <a:gd name="connsiteX311" fmla="*/ 4013459 w 8009775"/>
              <a:gd name="connsiteY311" fmla="*/ 1568451 h 6858001"/>
              <a:gd name="connsiteX312" fmla="*/ 4016415 w 8009775"/>
              <a:gd name="connsiteY312" fmla="*/ 1563054 h 6858001"/>
              <a:gd name="connsiteX313" fmla="*/ 4018484 w 8009775"/>
              <a:gd name="connsiteY313" fmla="*/ 1557339 h 6858001"/>
              <a:gd name="connsiteX314" fmla="*/ 4020848 w 8009775"/>
              <a:gd name="connsiteY314" fmla="*/ 1551941 h 6858001"/>
              <a:gd name="connsiteX315" fmla="*/ 4022621 w 8009775"/>
              <a:gd name="connsiteY315" fmla="*/ 1546226 h 6858001"/>
              <a:gd name="connsiteX316" fmla="*/ 4024395 w 8009775"/>
              <a:gd name="connsiteY316" fmla="*/ 1540511 h 6858001"/>
              <a:gd name="connsiteX317" fmla="*/ 4025282 w 8009775"/>
              <a:gd name="connsiteY317" fmla="*/ 1534478 h 6858001"/>
              <a:gd name="connsiteX318" fmla="*/ 4026464 w 8009775"/>
              <a:gd name="connsiteY318" fmla="*/ 1528763 h 6858001"/>
              <a:gd name="connsiteX319" fmla="*/ 4027055 w 8009775"/>
              <a:gd name="connsiteY319" fmla="*/ 1522731 h 6858001"/>
              <a:gd name="connsiteX320" fmla="*/ 4027646 w 8009775"/>
              <a:gd name="connsiteY320" fmla="*/ 1517016 h 6858001"/>
              <a:gd name="connsiteX321" fmla="*/ 4027646 w 8009775"/>
              <a:gd name="connsiteY321" fmla="*/ 1510984 h 6858001"/>
              <a:gd name="connsiteX322" fmla="*/ 4027646 w 8009775"/>
              <a:gd name="connsiteY322" fmla="*/ 1505268 h 6858001"/>
              <a:gd name="connsiteX323" fmla="*/ 4027055 w 8009775"/>
              <a:gd name="connsiteY323" fmla="*/ 1499553 h 6858001"/>
              <a:gd name="connsiteX324" fmla="*/ 4026464 w 8009775"/>
              <a:gd name="connsiteY324" fmla="*/ 1493204 h 6858001"/>
              <a:gd name="connsiteX325" fmla="*/ 4025282 w 8009775"/>
              <a:gd name="connsiteY325" fmla="*/ 1487489 h 6858001"/>
              <a:gd name="connsiteX326" fmla="*/ 4024395 w 8009775"/>
              <a:gd name="connsiteY326" fmla="*/ 1481773 h 6858001"/>
              <a:gd name="connsiteX327" fmla="*/ 4022621 w 8009775"/>
              <a:gd name="connsiteY327" fmla="*/ 1476058 h 6858001"/>
              <a:gd name="connsiteX328" fmla="*/ 4020848 w 8009775"/>
              <a:gd name="connsiteY328" fmla="*/ 1470343 h 6858001"/>
              <a:gd name="connsiteX329" fmla="*/ 4018484 w 8009775"/>
              <a:gd name="connsiteY329" fmla="*/ 1464629 h 6858001"/>
              <a:gd name="connsiteX330" fmla="*/ 4016415 w 8009775"/>
              <a:gd name="connsiteY330" fmla="*/ 1459231 h 6858001"/>
              <a:gd name="connsiteX331" fmla="*/ 4013459 w 8009775"/>
              <a:gd name="connsiteY331" fmla="*/ 1453834 h 6858001"/>
              <a:gd name="connsiteX332" fmla="*/ 4010799 w 8009775"/>
              <a:gd name="connsiteY332" fmla="*/ 1448436 h 6858001"/>
              <a:gd name="connsiteX333" fmla="*/ 4007548 w 8009775"/>
              <a:gd name="connsiteY333" fmla="*/ 1443356 h 6858001"/>
              <a:gd name="connsiteX334" fmla="*/ 4003705 w 8009775"/>
              <a:gd name="connsiteY334" fmla="*/ 1438275 h 6858001"/>
              <a:gd name="connsiteX335" fmla="*/ 4000159 w 8009775"/>
              <a:gd name="connsiteY335" fmla="*/ 1433195 h 6858001"/>
              <a:gd name="connsiteX336" fmla="*/ 3996021 w 8009775"/>
              <a:gd name="connsiteY336" fmla="*/ 1428751 h 6858001"/>
              <a:gd name="connsiteX337" fmla="*/ 3991587 w 8009775"/>
              <a:gd name="connsiteY337" fmla="*/ 1423988 h 6858001"/>
              <a:gd name="connsiteX338" fmla="*/ 3323022 w 8009775"/>
              <a:gd name="connsiteY338" fmla="*/ 755333 h 6858001"/>
              <a:gd name="connsiteX339" fmla="*/ 3316815 w 8009775"/>
              <a:gd name="connsiteY339" fmla="*/ 748348 h 6858001"/>
              <a:gd name="connsiteX340" fmla="*/ 3310904 w 8009775"/>
              <a:gd name="connsiteY340" fmla="*/ 741045 h 6858001"/>
              <a:gd name="connsiteX341" fmla="*/ 3305584 w 8009775"/>
              <a:gd name="connsiteY341" fmla="*/ 733108 h 6858001"/>
              <a:gd name="connsiteX342" fmla="*/ 3300855 w 8009775"/>
              <a:gd name="connsiteY342" fmla="*/ 725170 h 6858001"/>
              <a:gd name="connsiteX343" fmla="*/ 3297308 w 8009775"/>
              <a:gd name="connsiteY343" fmla="*/ 716915 h 6858001"/>
              <a:gd name="connsiteX344" fmla="*/ 3293761 w 8009775"/>
              <a:gd name="connsiteY344" fmla="*/ 708660 h 6858001"/>
              <a:gd name="connsiteX345" fmla="*/ 3291101 w 8009775"/>
              <a:gd name="connsiteY345" fmla="*/ 699770 h 6858001"/>
              <a:gd name="connsiteX346" fmla="*/ 3289328 w 8009775"/>
              <a:gd name="connsiteY346" fmla="*/ 691198 h 6858001"/>
              <a:gd name="connsiteX347" fmla="*/ 2596527 w 8009775"/>
              <a:gd name="connsiteY347" fmla="*/ 0 h 6858001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980947 w 8009775"/>
              <a:gd name="connsiteY72" fmla="*/ 2804795 h 6858000"/>
              <a:gd name="connsiteX73" fmla="*/ 3965282 w 8009775"/>
              <a:gd name="connsiteY73" fmla="*/ 2791144 h 6858000"/>
              <a:gd name="connsiteX74" fmla="*/ 3950799 w 8009775"/>
              <a:gd name="connsiteY74" fmla="*/ 2776856 h 6858000"/>
              <a:gd name="connsiteX75" fmla="*/ 3936021 w 8009775"/>
              <a:gd name="connsiteY75" fmla="*/ 2762568 h 6858000"/>
              <a:gd name="connsiteX76" fmla="*/ 3001744 w 8009775"/>
              <a:gd name="connsiteY76" fmla="*/ 1828166 h 6858000"/>
              <a:gd name="connsiteX77" fmla="*/ 2997311 w 8009775"/>
              <a:gd name="connsiteY77" fmla="*/ 1823404 h 6858000"/>
              <a:gd name="connsiteX78" fmla="*/ 2992878 w 8009775"/>
              <a:gd name="connsiteY78" fmla="*/ 1818640 h 6858000"/>
              <a:gd name="connsiteX79" fmla="*/ 2989331 w 8009775"/>
              <a:gd name="connsiteY79" fmla="*/ 1814195 h 6858000"/>
              <a:gd name="connsiteX80" fmla="*/ 2985784 w 8009775"/>
              <a:gd name="connsiteY80" fmla="*/ 1808799 h 6858000"/>
              <a:gd name="connsiteX81" fmla="*/ 2982533 w 8009775"/>
              <a:gd name="connsiteY81" fmla="*/ 1803718 h 6858000"/>
              <a:gd name="connsiteX82" fmla="*/ 2979873 w 8009775"/>
              <a:gd name="connsiteY82" fmla="*/ 1798321 h 6858000"/>
              <a:gd name="connsiteX83" fmla="*/ 2976917 w 8009775"/>
              <a:gd name="connsiteY83" fmla="*/ 1792924 h 6858000"/>
              <a:gd name="connsiteX84" fmla="*/ 2974552 w 8009775"/>
              <a:gd name="connsiteY84" fmla="*/ 1787526 h 6858000"/>
              <a:gd name="connsiteX85" fmla="*/ 2972484 w 8009775"/>
              <a:gd name="connsiteY85" fmla="*/ 1781811 h 6858000"/>
              <a:gd name="connsiteX86" fmla="*/ 2970710 w 8009775"/>
              <a:gd name="connsiteY86" fmla="*/ 1776095 h 6858000"/>
              <a:gd name="connsiteX87" fmla="*/ 2968937 w 8009775"/>
              <a:gd name="connsiteY87" fmla="*/ 1770380 h 6858000"/>
              <a:gd name="connsiteX88" fmla="*/ 2967755 w 8009775"/>
              <a:gd name="connsiteY88" fmla="*/ 1764665 h 6858000"/>
              <a:gd name="connsiteX89" fmla="*/ 2966868 w 8009775"/>
              <a:gd name="connsiteY89" fmla="*/ 1758634 h 6858000"/>
              <a:gd name="connsiteX90" fmla="*/ 2965981 w 8009775"/>
              <a:gd name="connsiteY90" fmla="*/ 1752919 h 6858000"/>
              <a:gd name="connsiteX91" fmla="*/ 2965686 w 8009775"/>
              <a:gd name="connsiteY91" fmla="*/ 1746885 h 6858000"/>
              <a:gd name="connsiteX92" fmla="*/ 2965686 w 8009775"/>
              <a:gd name="connsiteY92" fmla="*/ 1741170 h 6858000"/>
              <a:gd name="connsiteX93" fmla="*/ 2965686 w 8009775"/>
              <a:gd name="connsiteY93" fmla="*/ 1735139 h 6858000"/>
              <a:gd name="connsiteX94" fmla="*/ 2965981 w 8009775"/>
              <a:gd name="connsiteY94" fmla="*/ 1729424 h 6858000"/>
              <a:gd name="connsiteX95" fmla="*/ 2966868 w 8009775"/>
              <a:gd name="connsiteY95" fmla="*/ 1723074 h 6858000"/>
              <a:gd name="connsiteX96" fmla="*/ 2967755 w 8009775"/>
              <a:gd name="connsiteY96" fmla="*/ 1717358 h 6858000"/>
              <a:gd name="connsiteX97" fmla="*/ 2968937 w 8009775"/>
              <a:gd name="connsiteY97" fmla="*/ 1711643 h 6858000"/>
              <a:gd name="connsiteX98" fmla="*/ 2970710 w 8009775"/>
              <a:gd name="connsiteY98" fmla="*/ 1705929 h 6858000"/>
              <a:gd name="connsiteX99" fmla="*/ 2972484 w 8009775"/>
              <a:gd name="connsiteY99" fmla="*/ 1700214 h 6858000"/>
              <a:gd name="connsiteX100" fmla="*/ 2974552 w 8009775"/>
              <a:gd name="connsiteY100" fmla="*/ 1694816 h 6858000"/>
              <a:gd name="connsiteX101" fmla="*/ 2976917 w 8009775"/>
              <a:gd name="connsiteY101" fmla="*/ 1689101 h 6858000"/>
              <a:gd name="connsiteX102" fmla="*/ 2979873 w 8009775"/>
              <a:gd name="connsiteY102" fmla="*/ 1683703 h 6858000"/>
              <a:gd name="connsiteX103" fmla="*/ 2982533 w 8009775"/>
              <a:gd name="connsiteY103" fmla="*/ 1678305 h 6858000"/>
              <a:gd name="connsiteX104" fmla="*/ 2985784 w 8009775"/>
              <a:gd name="connsiteY104" fmla="*/ 1673226 h 6858000"/>
              <a:gd name="connsiteX105" fmla="*/ 2989331 w 8009775"/>
              <a:gd name="connsiteY105" fmla="*/ 1668145 h 6858000"/>
              <a:gd name="connsiteX106" fmla="*/ 2992878 w 8009775"/>
              <a:gd name="connsiteY106" fmla="*/ 1663066 h 6858000"/>
              <a:gd name="connsiteX107" fmla="*/ 2997311 w 8009775"/>
              <a:gd name="connsiteY107" fmla="*/ 1658621 h 6858000"/>
              <a:gd name="connsiteX108" fmla="*/ 3001744 w 8009775"/>
              <a:gd name="connsiteY108" fmla="*/ 1653859 h 6858000"/>
              <a:gd name="connsiteX109" fmla="*/ 3006178 w 8009775"/>
              <a:gd name="connsiteY109" fmla="*/ 1649414 h 6858000"/>
              <a:gd name="connsiteX110" fmla="*/ 3010907 w 8009775"/>
              <a:gd name="connsiteY110" fmla="*/ 1645603 h 6858000"/>
              <a:gd name="connsiteX111" fmla="*/ 3015932 w 8009775"/>
              <a:gd name="connsiteY111" fmla="*/ 1641794 h 6858000"/>
              <a:gd name="connsiteX112" fmla="*/ 3020956 w 8009775"/>
              <a:gd name="connsiteY112" fmla="*/ 1637984 h 6858000"/>
              <a:gd name="connsiteX113" fmla="*/ 3025981 w 8009775"/>
              <a:gd name="connsiteY113" fmla="*/ 1634809 h 6858000"/>
              <a:gd name="connsiteX114" fmla="*/ 3031596 w 8009775"/>
              <a:gd name="connsiteY114" fmla="*/ 1631950 h 6858000"/>
              <a:gd name="connsiteX115" fmla="*/ 3036916 w 8009775"/>
              <a:gd name="connsiteY115" fmla="*/ 1629094 h 6858000"/>
              <a:gd name="connsiteX116" fmla="*/ 3042532 w 8009775"/>
              <a:gd name="connsiteY116" fmla="*/ 1626871 h 6858000"/>
              <a:gd name="connsiteX117" fmla="*/ 3047852 w 8009775"/>
              <a:gd name="connsiteY117" fmla="*/ 1624649 h 6858000"/>
              <a:gd name="connsiteX118" fmla="*/ 3053764 w 8009775"/>
              <a:gd name="connsiteY118" fmla="*/ 1623061 h 6858000"/>
              <a:gd name="connsiteX119" fmla="*/ 3059379 w 8009775"/>
              <a:gd name="connsiteY119" fmla="*/ 1621155 h 6858000"/>
              <a:gd name="connsiteX120" fmla="*/ 3065291 w 8009775"/>
              <a:gd name="connsiteY120" fmla="*/ 1620204 h 6858000"/>
              <a:gd name="connsiteX121" fmla="*/ 3070906 w 8009775"/>
              <a:gd name="connsiteY121" fmla="*/ 1618934 h 6858000"/>
              <a:gd name="connsiteX122" fmla="*/ 3077113 w 8009775"/>
              <a:gd name="connsiteY122" fmla="*/ 1618299 h 6858000"/>
              <a:gd name="connsiteX123" fmla="*/ 3082729 w 8009775"/>
              <a:gd name="connsiteY123" fmla="*/ 1617981 h 6858000"/>
              <a:gd name="connsiteX124" fmla="*/ 3088936 w 8009775"/>
              <a:gd name="connsiteY124" fmla="*/ 1617981 h 6858000"/>
              <a:gd name="connsiteX125" fmla="*/ 3094552 w 8009775"/>
              <a:gd name="connsiteY125" fmla="*/ 1617981 h 6858000"/>
              <a:gd name="connsiteX126" fmla="*/ 3100758 w 8009775"/>
              <a:gd name="connsiteY126" fmla="*/ 1618299 h 6858000"/>
              <a:gd name="connsiteX127" fmla="*/ 3106670 w 8009775"/>
              <a:gd name="connsiteY127" fmla="*/ 1618934 h 6858000"/>
              <a:gd name="connsiteX128" fmla="*/ 3112285 w 8009775"/>
              <a:gd name="connsiteY128" fmla="*/ 1620204 h 6858000"/>
              <a:gd name="connsiteX129" fmla="*/ 3117901 w 8009775"/>
              <a:gd name="connsiteY129" fmla="*/ 1621155 h 6858000"/>
              <a:gd name="connsiteX130" fmla="*/ 3123812 w 8009775"/>
              <a:gd name="connsiteY130" fmla="*/ 1623061 h 6858000"/>
              <a:gd name="connsiteX131" fmla="*/ 3129428 w 8009775"/>
              <a:gd name="connsiteY131" fmla="*/ 1624649 h 6858000"/>
              <a:gd name="connsiteX132" fmla="*/ 3135339 w 8009775"/>
              <a:gd name="connsiteY132" fmla="*/ 1626871 h 6858000"/>
              <a:gd name="connsiteX133" fmla="*/ 3140660 w 8009775"/>
              <a:gd name="connsiteY133" fmla="*/ 1629094 h 6858000"/>
              <a:gd name="connsiteX134" fmla="*/ 3145980 w 8009775"/>
              <a:gd name="connsiteY134" fmla="*/ 1631950 h 6858000"/>
              <a:gd name="connsiteX135" fmla="*/ 3151300 w 8009775"/>
              <a:gd name="connsiteY135" fmla="*/ 1634809 h 6858000"/>
              <a:gd name="connsiteX136" fmla="*/ 3156324 w 8009775"/>
              <a:gd name="connsiteY136" fmla="*/ 1637984 h 6858000"/>
              <a:gd name="connsiteX137" fmla="*/ 3161349 w 8009775"/>
              <a:gd name="connsiteY137" fmla="*/ 1641794 h 6858000"/>
              <a:gd name="connsiteX138" fmla="*/ 3166374 w 8009775"/>
              <a:gd name="connsiteY138" fmla="*/ 1645603 h 6858000"/>
              <a:gd name="connsiteX139" fmla="*/ 3171102 w 8009775"/>
              <a:gd name="connsiteY139" fmla="*/ 1649414 h 6858000"/>
              <a:gd name="connsiteX140" fmla="*/ 3175832 w 8009775"/>
              <a:gd name="connsiteY140" fmla="*/ 1653859 h 6858000"/>
              <a:gd name="connsiteX141" fmla="*/ 3844692 w 8009775"/>
              <a:gd name="connsiteY141" fmla="*/ 2322830 h 6858000"/>
              <a:gd name="connsiteX142" fmla="*/ 3849421 w 8009775"/>
              <a:gd name="connsiteY142" fmla="*/ 2326958 h 6858000"/>
              <a:gd name="connsiteX143" fmla="*/ 3854150 w 8009775"/>
              <a:gd name="connsiteY143" fmla="*/ 2331085 h 6858000"/>
              <a:gd name="connsiteX144" fmla="*/ 3859175 w 8009775"/>
              <a:gd name="connsiteY144" fmla="*/ 2334895 h 6858000"/>
              <a:gd name="connsiteX145" fmla="*/ 3864199 w 8009775"/>
              <a:gd name="connsiteY145" fmla="*/ 2338705 h 6858000"/>
              <a:gd name="connsiteX146" fmla="*/ 3869224 w 8009775"/>
              <a:gd name="connsiteY146" fmla="*/ 2341880 h 6858000"/>
              <a:gd name="connsiteX147" fmla="*/ 3874544 w 8009775"/>
              <a:gd name="connsiteY147" fmla="*/ 2344738 h 6858000"/>
              <a:gd name="connsiteX148" fmla="*/ 3879864 w 8009775"/>
              <a:gd name="connsiteY148" fmla="*/ 2347595 h 6858000"/>
              <a:gd name="connsiteX149" fmla="*/ 3885775 w 8009775"/>
              <a:gd name="connsiteY149" fmla="*/ 2349818 h 6858000"/>
              <a:gd name="connsiteX150" fmla="*/ 3891096 w 8009775"/>
              <a:gd name="connsiteY150" fmla="*/ 2351723 h 6858000"/>
              <a:gd name="connsiteX151" fmla="*/ 3896711 w 8009775"/>
              <a:gd name="connsiteY151" fmla="*/ 2353628 h 6858000"/>
              <a:gd name="connsiteX152" fmla="*/ 3902623 w 8009775"/>
              <a:gd name="connsiteY152" fmla="*/ 2355534 h 6858000"/>
              <a:gd name="connsiteX153" fmla="*/ 3908238 w 8009775"/>
              <a:gd name="connsiteY153" fmla="*/ 2356485 h 6858000"/>
              <a:gd name="connsiteX154" fmla="*/ 3914150 w 8009775"/>
              <a:gd name="connsiteY154" fmla="*/ 2357755 h 6858000"/>
              <a:gd name="connsiteX155" fmla="*/ 3920061 w 8009775"/>
              <a:gd name="connsiteY155" fmla="*/ 2358391 h 6858000"/>
              <a:gd name="connsiteX156" fmla="*/ 3925972 w 8009775"/>
              <a:gd name="connsiteY156" fmla="*/ 2358708 h 6858000"/>
              <a:gd name="connsiteX157" fmla="*/ 3931883 w 8009775"/>
              <a:gd name="connsiteY157" fmla="*/ 2358708 h 6858000"/>
              <a:gd name="connsiteX158" fmla="*/ 3937795 w 8009775"/>
              <a:gd name="connsiteY158" fmla="*/ 2358708 h 6858000"/>
              <a:gd name="connsiteX159" fmla="*/ 3943706 w 8009775"/>
              <a:gd name="connsiteY159" fmla="*/ 2358391 h 6858000"/>
              <a:gd name="connsiteX160" fmla="*/ 3949617 w 8009775"/>
              <a:gd name="connsiteY160" fmla="*/ 2357755 h 6858000"/>
              <a:gd name="connsiteX161" fmla="*/ 3955233 w 8009775"/>
              <a:gd name="connsiteY161" fmla="*/ 2356485 h 6858000"/>
              <a:gd name="connsiteX162" fmla="*/ 3961144 w 8009775"/>
              <a:gd name="connsiteY162" fmla="*/ 2355534 h 6858000"/>
              <a:gd name="connsiteX163" fmla="*/ 3966760 w 8009775"/>
              <a:gd name="connsiteY163" fmla="*/ 2353628 h 6858000"/>
              <a:gd name="connsiteX164" fmla="*/ 3972671 w 8009775"/>
              <a:gd name="connsiteY164" fmla="*/ 2351723 h 6858000"/>
              <a:gd name="connsiteX165" fmla="*/ 3978287 w 8009775"/>
              <a:gd name="connsiteY165" fmla="*/ 2349818 h 6858000"/>
              <a:gd name="connsiteX166" fmla="*/ 3983607 w 8009775"/>
              <a:gd name="connsiteY166" fmla="*/ 2347595 h 6858000"/>
              <a:gd name="connsiteX167" fmla="*/ 3989223 w 8009775"/>
              <a:gd name="connsiteY167" fmla="*/ 2344738 h 6858000"/>
              <a:gd name="connsiteX168" fmla="*/ 3994543 w 8009775"/>
              <a:gd name="connsiteY168" fmla="*/ 2341880 h 6858000"/>
              <a:gd name="connsiteX169" fmla="*/ 3999567 w 8009775"/>
              <a:gd name="connsiteY169" fmla="*/ 2338705 h 6858000"/>
              <a:gd name="connsiteX170" fmla="*/ 4004888 w 8009775"/>
              <a:gd name="connsiteY170" fmla="*/ 2334895 h 6858000"/>
              <a:gd name="connsiteX171" fmla="*/ 4009617 w 8009775"/>
              <a:gd name="connsiteY171" fmla="*/ 2331085 h 6858000"/>
              <a:gd name="connsiteX172" fmla="*/ 4014346 w 8009775"/>
              <a:gd name="connsiteY172" fmla="*/ 2326958 h 6858000"/>
              <a:gd name="connsiteX173" fmla="*/ 4018779 w 8009775"/>
              <a:gd name="connsiteY173" fmla="*/ 2322830 h 6858000"/>
              <a:gd name="connsiteX174" fmla="*/ 4023213 w 8009775"/>
              <a:gd name="connsiteY174" fmla="*/ 2318068 h 6858000"/>
              <a:gd name="connsiteX175" fmla="*/ 4027646 w 8009775"/>
              <a:gd name="connsiteY175" fmla="*/ 2313306 h 6858000"/>
              <a:gd name="connsiteX176" fmla="*/ 4031193 w 8009775"/>
              <a:gd name="connsiteY176" fmla="*/ 2308544 h 6858000"/>
              <a:gd name="connsiteX177" fmla="*/ 4034740 w 8009775"/>
              <a:gd name="connsiteY177" fmla="*/ 2303463 h 6858000"/>
              <a:gd name="connsiteX178" fmla="*/ 4037991 w 8009775"/>
              <a:gd name="connsiteY178" fmla="*/ 2298384 h 6858000"/>
              <a:gd name="connsiteX179" fmla="*/ 4040946 w 8009775"/>
              <a:gd name="connsiteY179" fmla="*/ 2292985 h 6858000"/>
              <a:gd name="connsiteX180" fmla="*/ 4043606 w 8009775"/>
              <a:gd name="connsiteY180" fmla="*/ 2287588 h 6858000"/>
              <a:gd name="connsiteX181" fmla="*/ 4046267 w 8009775"/>
              <a:gd name="connsiteY181" fmla="*/ 2281873 h 6858000"/>
              <a:gd name="connsiteX182" fmla="*/ 4048040 w 8009775"/>
              <a:gd name="connsiteY182" fmla="*/ 2276476 h 6858000"/>
              <a:gd name="connsiteX183" fmla="*/ 4050109 w 8009775"/>
              <a:gd name="connsiteY183" fmla="*/ 2270761 h 6858000"/>
              <a:gd name="connsiteX184" fmla="*/ 4051587 w 8009775"/>
              <a:gd name="connsiteY184" fmla="*/ 2265046 h 6858000"/>
              <a:gd name="connsiteX185" fmla="*/ 4052769 w 8009775"/>
              <a:gd name="connsiteY185" fmla="*/ 2259331 h 6858000"/>
              <a:gd name="connsiteX186" fmla="*/ 4053656 w 8009775"/>
              <a:gd name="connsiteY186" fmla="*/ 2253298 h 6858000"/>
              <a:gd name="connsiteX187" fmla="*/ 4054542 w 8009775"/>
              <a:gd name="connsiteY187" fmla="*/ 2247266 h 6858000"/>
              <a:gd name="connsiteX188" fmla="*/ 4054838 w 8009775"/>
              <a:gd name="connsiteY188" fmla="*/ 2241551 h 6858000"/>
              <a:gd name="connsiteX189" fmla="*/ 4055133 w 8009775"/>
              <a:gd name="connsiteY189" fmla="*/ 2235519 h 6858000"/>
              <a:gd name="connsiteX190" fmla="*/ 4054838 w 8009775"/>
              <a:gd name="connsiteY190" fmla="*/ 2229804 h 6858000"/>
              <a:gd name="connsiteX191" fmla="*/ 4054542 w 8009775"/>
              <a:gd name="connsiteY191" fmla="*/ 2223770 h 6858000"/>
              <a:gd name="connsiteX192" fmla="*/ 4053656 w 8009775"/>
              <a:gd name="connsiteY192" fmla="*/ 2217739 h 6858000"/>
              <a:gd name="connsiteX193" fmla="*/ 4052769 w 8009775"/>
              <a:gd name="connsiteY193" fmla="*/ 2212024 h 6858000"/>
              <a:gd name="connsiteX194" fmla="*/ 4051587 w 8009775"/>
              <a:gd name="connsiteY194" fmla="*/ 2206309 h 6858000"/>
              <a:gd name="connsiteX195" fmla="*/ 4050109 w 8009775"/>
              <a:gd name="connsiteY195" fmla="*/ 2200593 h 6858000"/>
              <a:gd name="connsiteX196" fmla="*/ 4048040 w 8009775"/>
              <a:gd name="connsiteY196" fmla="*/ 2194878 h 6858000"/>
              <a:gd name="connsiteX197" fmla="*/ 4046267 w 8009775"/>
              <a:gd name="connsiteY197" fmla="*/ 2189163 h 6858000"/>
              <a:gd name="connsiteX198" fmla="*/ 4043606 w 8009775"/>
              <a:gd name="connsiteY198" fmla="*/ 2183765 h 6858000"/>
              <a:gd name="connsiteX199" fmla="*/ 4040946 w 8009775"/>
              <a:gd name="connsiteY199" fmla="*/ 2178368 h 6858000"/>
              <a:gd name="connsiteX200" fmla="*/ 4037991 w 8009775"/>
              <a:gd name="connsiteY200" fmla="*/ 2172970 h 6858000"/>
              <a:gd name="connsiteX201" fmla="*/ 4034740 w 8009775"/>
              <a:gd name="connsiteY201" fmla="*/ 2167890 h 6858000"/>
              <a:gd name="connsiteX202" fmla="*/ 4031193 w 8009775"/>
              <a:gd name="connsiteY202" fmla="*/ 2162494 h 6858000"/>
              <a:gd name="connsiteX203" fmla="*/ 4027646 w 8009775"/>
              <a:gd name="connsiteY203" fmla="*/ 2157730 h 6858000"/>
              <a:gd name="connsiteX204" fmla="*/ 4023213 w 8009775"/>
              <a:gd name="connsiteY204" fmla="*/ 2153285 h 6858000"/>
              <a:gd name="connsiteX205" fmla="*/ 4018779 w 8009775"/>
              <a:gd name="connsiteY205" fmla="*/ 2148523 h 6858000"/>
              <a:gd name="connsiteX206" fmla="*/ 3632182 w 8009775"/>
              <a:gd name="connsiteY206" fmla="*/ 1761490 h 6858000"/>
              <a:gd name="connsiteX207" fmla="*/ 3435928 w 8009775"/>
              <a:gd name="connsiteY207" fmla="*/ 1565276 h 6858000"/>
              <a:gd name="connsiteX208" fmla="*/ 3431198 w 8009775"/>
              <a:gd name="connsiteY208" fmla="*/ 1560514 h 6858000"/>
              <a:gd name="connsiteX209" fmla="*/ 3427356 w 8009775"/>
              <a:gd name="connsiteY209" fmla="*/ 1555751 h 6858000"/>
              <a:gd name="connsiteX210" fmla="*/ 3423218 w 8009775"/>
              <a:gd name="connsiteY210" fmla="*/ 1550671 h 6858000"/>
              <a:gd name="connsiteX211" fmla="*/ 3420262 w 8009775"/>
              <a:gd name="connsiteY211" fmla="*/ 1545909 h 6858000"/>
              <a:gd name="connsiteX212" fmla="*/ 3417012 w 8009775"/>
              <a:gd name="connsiteY212" fmla="*/ 1540829 h 6858000"/>
              <a:gd name="connsiteX213" fmla="*/ 3413760 w 8009775"/>
              <a:gd name="connsiteY213" fmla="*/ 1535430 h 6858000"/>
              <a:gd name="connsiteX214" fmla="*/ 3411100 w 8009775"/>
              <a:gd name="connsiteY214" fmla="*/ 1530034 h 6858000"/>
              <a:gd name="connsiteX215" fmla="*/ 3408736 w 8009775"/>
              <a:gd name="connsiteY215" fmla="*/ 1524635 h 6858000"/>
              <a:gd name="connsiteX216" fmla="*/ 3406371 w 8009775"/>
              <a:gd name="connsiteY216" fmla="*/ 1518920 h 6858000"/>
              <a:gd name="connsiteX217" fmla="*/ 3404598 w 8009775"/>
              <a:gd name="connsiteY217" fmla="*/ 1513205 h 6858000"/>
              <a:gd name="connsiteX218" fmla="*/ 3403120 w 8009775"/>
              <a:gd name="connsiteY218" fmla="*/ 1507174 h 6858000"/>
              <a:gd name="connsiteX219" fmla="*/ 3401938 w 8009775"/>
              <a:gd name="connsiteY219" fmla="*/ 1501459 h 6858000"/>
              <a:gd name="connsiteX220" fmla="*/ 3401051 w 8009775"/>
              <a:gd name="connsiteY220" fmla="*/ 1495744 h 6858000"/>
              <a:gd name="connsiteX221" fmla="*/ 3400460 w 8009775"/>
              <a:gd name="connsiteY221" fmla="*/ 1489710 h 6858000"/>
              <a:gd name="connsiteX222" fmla="*/ 3399869 w 8009775"/>
              <a:gd name="connsiteY222" fmla="*/ 1483995 h 6858000"/>
              <a:gd name="connsiteX223" fmla="*/ 3399573 w 8009775"/>
              <a:gd name="connsiteY223" fmla="*/ 1478281 h 6858000"/>
              <a:gd name="connsiteX224" fmla="*/ 3399869 w 8009775"/>
              <a:gd name="connsiteY224" fmla="*/ 1472249 h 6858000"/>
              <a:gd name="connsiteX225" fmla="*/ 3400460 w 8009775"/>
              <a:gd name="connsiteY225" fmla="*/ 1466215 h 6858000"/>
              <a:gd name="connsiteX226" fmla="*/ 3401051 w 8009775"/>
              <a:gd name="connsiteY226" fmla="*/ 1460183 h 6858000"/>
              <a:gd name="connsiteX227" fmla="*/ 3401938 w 8009775"/>
              <a:gd name="connsiteY227" fmla="*/ 1454468 h 6858000"/>
              <a:gd name="connsiteX228" fmla="*/ 3403120 w 8009775"/>
              <a:gd name="connsiteY228" fmla="*/ 1448754 h 6858000"/>
              <a:gd name="connsiteX229" fmla="*/ 3404598 w 8009775"/>
              <a:gd name="connsiteY229" fmla="*/ 1443039 h 6858000"/>
              <a:gd name="connsiteX230" fmla="*/ 3406371 w 8009775"/>
              <a:gd name="connsiteY230" fmla="*/ 1437324 h 6858000"/>
              <a:gd name="connsiteX231" fmla="*/ 3408736 w 8009775"/>
              <a:gd name="connsiteY231" fmla="*/ 1431609 h 6858000"/>
              <a:gd name="connsiteX232" fmla="*/ 3411100 w 8009775"/>
              <a:gd name="connsiteY232" fmla="*/ 1426211 h 6858000"/>
              <a:gd name="connsiteX233" fmla="*/ 3413760 w 8009775"/>
              <a:gd name="connsiteY233" fmla="*/ 1420814 h 6858000"/>
              <a:gd name="connsiteX234" fmla="*/ 3417012 w 8009775"/>
              <a:gd name="connsiteY234" fmla="*/ 1415416 h 6858000"/>
              <a:gd name="connsiteX235" fmla="*/ 3420262 w 8009775"/>
              <a:gd name="connsiteY235" fmla="*/ 1410336 h 6858000"/>
              <a:gd name="connsiteX236" fmla="*/ 3423218 w 8009775"/>
              <a:gd name="connsiteY236" fmla="*/ 1405256 h 6858000"/>
              <a:gd name="connsiteX237" fmla="*/ 3427356 w 8009775"/>
              <a:gd name="connsiteY237" fmla="*/ 1400175 h 6858000"/>
              <a:gd name="connsiteX238" fmla="*/ 3431198 w 8009775"/>
              <a:gd name="connsiteY238" fmla="*/ 1395731 h 6858000"/>
              <a:gd name="connsiteX239" fmla="*/ 3435928 w 8009775"/>
              <a:gd name="connsiteY239" fmla="*/ 1390969 h 6858000"/>
              <a:gd name="connsiteX240" fmla="*/ 3440361 w 8009775"/>
              <a:gd name="connsiteY240" fmla="*/ 1386524 h 6858000"/>
              <a:gd name="connsiteX241" fmla="*/ 3445386 w 8009775"/>
              <a:gd name="connsiteY241" fmla="*/ 1382396 h 6858000"/>
              <a:gd name="connsiteX242" fmla="*/ 3449819 w 8009775"/>
              <a:gd name="connsiteY242" fmla="*/ 1378585 h 6858000"/>
              <a:gd name="connsiteX243" fmla="*/ 3454844 w 8009775"/>
              <a:gd name="connsiteY243" fmla="*/ 1375094 h 6858000"/>
              <a:gd name="connsiteX244" fmla="*/ 3460459 w 8009775"/>
              <a:gd name="connsiteY244" fmla="*/ 1371919 h 6858000"/>
              <a:gd name="connsiteX245" fmla="*/ 3465780 w 8009775"/>
              <a:gd name="connsiteY245" fmla="*/ 1369061 h 6858000"/>
              <a:gd name="connsiteX246" fmla="*/ 3471100 w 8009775"/>
              <a:gd name="connsiteY246" fmla="*/ 1366204 h 6858000"/>
              <a:gd name="connsiteX247" fmla="*/ 3476420 w 8009775"/>
              <a:gd name="connsiteY247" fmla="*/ 1363980 h 6858000"/>
              <a:gd name="connsiteX248" fmla="*/ 3482331 w 8009775"/>
              <a:gd name="connsiteY248" fmla="*/ 1361759 h 6858000"/>
              <a:gd name="connsiteX249" fmla="*/ 3487947 w 8009775"/>
              <a:gd name="connsiteY249" fmla="*/ 1360170 h 6858000"/>
              <a:gd name="connsiteX250" fmla="*/ 3493858 w 8009775"/>
              <a:gd name="connsiteY250" fmla="*/ 1358265 h 6858000"/>
              <a:gd name="connsiteX251" fmla="*/ 3499474 w 8009775"/>
              <a:gd name="connsiteY251" fmla="*/ 1357314 h 6858000"/>
              <a:gd name="connsiteX252" fmla="*/ 3505385 w 8009775"/>
              <a:gd name="connsiteY252" fmla="*/ 1356043 h 6858000"/>
              <a:gd name="connsiteX253" fmla="*/ 3511001 w 8009775"/>
              <a:gd name="connsiteY253" fmla="*/ 1355409 h 6858000"/>
              <a:gd name="connsiteX254" fmla="*/ 3517208 w 8009775"/>
              <a:gd name="connsiteY254" fmla="*/ 1355090 h 6858000"/>
              <a:gd name="connsiteX255" fmla="*/ 3522823 w 8009775"/>
              <a:gd name="connsiteY255" fmla="*/ 1354773 h 6858000"/>
              <a:gd name="connsiteX256" fmla="*/ 3529030 w 8009775"/>
              <a:gd name="connsiteY256" fmla="*/ 1355090 h 6858000"/>
              <a:gd name="connsiteX257" fmla="*/ 3534646 w 8009775"/>
              <a:gd name="connsiteY257" fmla="*/ 1355409 h 6858000"/>
              <a:gd name="connsiteX258" fmla="*/ 3540557 w 8009775"/>
              <a:gd name="connsiteY258" fmla="*/ 1356043 h 6858000"/>
              <a:gd name="connsiteX259" fmla="*/ 3546468 w 8009775"/>
              <a:gd name="connsiteY259" fmla="*/ 1357314 h 6858000"/>
              <a:gd name="connsiteX260" fmla="*/ 3552380 w 8009775"/>
              <a:gd name="connsiteY260" fmla="*/ 1358265 h 6858000"/>
              <a:gd name="connsiteX261" fmla="*/ 3557995 w 8009775"/>
              <a:gd name="connsiteY261" fmla="*/ 1360170 h 6858000"/>
              <a:gd name="connsiteX262" fmla="*/ 3563906 w 8009775"/>
              <a:gd name="connsiteY262" fmla="*/ 1361759 h 6858000"/>
              <a:gd name="connsiteX263" fmla="*/ 3569227 w 8009775"/>
              <a:gd name="connsiteY263" fmla="*/ 1363980 h 6858000"/>
              <a:gd name="connsiteX264" fmla="*/ 3574842 w 8009775"/>
              <a:gd name="connsiteY264" fmla="*/ 1366204 h 6858000"/>
              <a:gd name="connsiteX265" fmla="*/ 3580458 w 8009775"/>
              <a:gd name="connsiteY265" fmla="*/ 1369061 h 6858000"/>
              <a:gd name="connsiteX266" fmla="*/ 3585778 w 8009775"/>
              <a:gd name="connsiteY266" fmla="*/ 1371919 h 6858000"/>
              <a:gd name="connsiteX267" fmla="*/ 3590803 w 8009775"/>
              <a:gd name="connsiteY267" fmla="*/ 1375094 h 6858000"/>
              <a:gd name="connsiteX268" fmla="*/ 3595828 w 8009775"/>
              <a:gd name="connsiteY268" fmla="*/ 1378585 h 6858000"/>
              <a:gd name="connsiteX269" fmla="*/ 3600852 w 8009775"/>
              <a:gd name="connsiteY269" fmla="*/ 1382396 h 6858000"/>
              <a:gd name="connsiteX270" fmla="*/ 3605581 w 8009775"/>
              <a:gd name="connsiteY270" fmla="*/ 1386524 h 6858000"/>
              <a:gd name="connsiteX271" fmla="*/ 3610014 w 8009775"/>
              <a:gd name="connsiteY271" fmla="*/ 1390969 h 6858000"/>
              <a:gd name="connsiteX272" fmla="*/ 3817500 w 8009775"/>
              <a:gd name="connsiteY272" fmla="*/ 1598296 h 6858000"/>
              <a:gd name="connsiteX273" fmla="*/ 3821934 w 8009775"/>
              <a:gd name="connsiteY273" fmla="*/ 1602423 h 6858000"/>
              <a:gd name="connsiteX274" fmla="*/ 3826663 w 8009775"/>
              <a:gd name="connsiteY274" fmla="*/ 1606869 h 6858000"/>
              <a:gd name="connsiteX275" fmla="*/ 3831687 w 8009775"/>
              <a:gd name="connsiteY275" fmla="*/ 1610361 h 6858000"/>
              <a:gd name="connsiteX276" fmla="*/ 3836712 w 8009775"/>
              <a:gd name="connsiteY276" fmla="*/ 1613854 h 6858000"/>
              <a:gd name="connsiteX277" fmla="*/ 3841736 w 8009775"/>
              <a:gd name="connsiteY277" fmla="*/ 1617345 h 6858000"/>
              <a:gd name="connsiteX278" fmla="*/ 3847352 w 8009775"/>
              <a:gd name="connsiteY278" fmla="*/ 1620204 h 6858000"/>
              <a:gd name="connsiteX279" fmla="*/ 3852672 w 8009775"/>
              <a:gd name="connsiteY279" fmla="*/ 1623061 h 6858000"/>
              <a:gd name="connsiteX280" fmla="*/ 3857992 w 8009775"/>
              <a:gd name="connsiteY280" fmla="*/ 1625283 h 6858000"/>
              <a:gd name="connsiteX281" fmla="*/ 3863608 w 8009775"/>
              <a:gd name="connsiteY281" fmla="*/ 1627189 h 6858000"/>
              <a:gd name="connsiteX282" fmla="*/ 3869519 w 8009775"/>
              <a:gd name="connsiteY282" fmla="*/ 1629094 h 6858000"/>
              <a:gd name="connsiteX283" fmla="*/ 3875135 w 8009775"/>
              <a:gd name="connsiteY283" fmla="*/ 1630998 h 6858000"/>
              <a:gd name="connsiteX284" fmla="*/ 3881046 w 8009775"/>
              <a:gd name="connsiteY284" fmla="*/ 1631950 h 6858000"/>
              <a:gd name="connsiteX285" fmla="*/ 3886662 w 8009775"/>
              <a:gd name="connsiteY285" fmla="*/ 1632904 h 6858000"/>
              <a:gd name="connsiteX286" fmla="*/ 3892869 w 8009775"/>
              <a:gd name="connsiteY286" fmla="*/ 1633856 h 6858000"/>
              <a:gd name="connsiteX287" fmla="*/ 3898485 w 8009775"/>
              <a:gd name="connsiteY287" fmla="*/ 1634174 h 6858000"/>
              <a:gd name="connsiteX288" fmla="*/ 3904396 w 8009775"/>
              <a:gd name="connsiteY288" fmla="*/ 1634174 h 6858000"/>
              <a:gd name="connsiteX289" fmla="*/ 3910307 w 8009775"/>
              <a:gd name="connsiteY289" fmla="*/ 1634174 h 6858000"/>
              <a:gd name="connsiteX290" fmla="*/ 3916219 w 8009775"/>
              <a:gd name="connsiteY290" fmla="*/ 1633856 h 6858000"/>
              <a:gd name="connsiteX291" fmla="*/ 3922425 w 8009775"/>
              <a:gd name="connsiteY291" fmla="*/ 1632904 h 6858000"/>
              <a:gd name="connsiteX292" fmla="*/ 3928041 w 8009775"/>
              <a:gd name="connsiteY292" fmla="*/ 1631950 h 6858000"/>
              <a:gd name="connsiteX293" fmla="*/ 3933657 w 8009775"/>
              <a:gd name="connsiteY293" fmla="*/ 1630998 h 6858000"/>
              <a:gd name="connsiteX294" fmla="*/ 3939568 w 8009775"/>
              <a:gd name="connsiteY294" fmla="*/ 1629094 h 6858000"/>
              <a:gd name="connsiteX295" fmla="*/ 3945184 w 8009775"/>
              <a:gd name="connsiteY295" fmla="*/ 1627189 h 6858000"/>
              <a:gd name="connsiteX296" fmla="*/ 3950799 w 8009775"/>
              <a:gd name="connsiteY296" fmla="*/ 1625283 h 6858000"/>
              <a:gd name="connsiteX297" fmla="*/ 3956415 w 8009775"/>
              <a:gd name="connsiteY297" fmla="*/ 1623061 h 6858000"/>
              <a:gd name="connsiteX298" fmla="*/ 3961735 w 8009775"/>
              <a:gd name="connsiteY298" fmla="*/ 1620204 h 6858000"/>
              <a:gd name="connsiteX299" fmla="*/ 3967055 w 8009775"/>
              <a:gd name="connsiteY299" fmla="*/ 1617345 h 6858000"/>
              <a:gd name="connsiteX300" fmla="*/ 3972376 w 8009775"/>
              <a:gd name="connsiteY300" fmla="*/ 1613854 h 6858000"/>
              <a:gd name="connsiteX301" fmla="*/ 3977400 w 8009775"/>
              <a:gd name="connsiteY301" fmla="*/ 1610361 h 6858000"/>
              <a:gd name="connsiteX302" fmla="*/ 3982425 w 8009775"/>
              <a:gd name="connsiteY302" fmla="*/ 1606869 h 6858000"/>
              <a:gd name="connsiteX303" fmla="*/ 3986858 w 8009775"/>
              <a:gd name="connsiteY303" fmla="*/ 1602423 h 6858000"/>
              <a:gd name="connsiteX304" fmla="*/ 3991587 w 8009775"/>
              <a:gd name="connsiteY304" fmla="*/ 1598296 h 6858000"/>
              <a:gd name="connsiteX305" fmla="*/ 3996021 w 8009775"/>
              <a:gd name="connsiteY305" fmla="*/ 1593533 h 6858000"/>
              <a:gd name="connsiteX306" fmla="*/ 4000159 w 8009775"/>
              <a:gd name="connsiteY306" fmla="*/ 1588771 h 6858000"/>
              <a:gd name="connsiteX307" fmla="*/ 4003705 w 8009775"/>
              <a:gd name="connsiteY307" fmla="*/ 1583691 h 6858000"/>
              <a:gd name="connsiteX308" fmla="*/ 4007548 w 8009775"/>
              <a:gd name="connsiteY308" fmla="*/ 1578928 h 6858000"/>
              <a:gd name="connsiteX309" fmla="*/ 4010799 w 8009775"/>
              <a:gd name="connsiteY309" fmla="*/ 1573849 h 6858000"/>
              <a:gd name="connsiteX310" fmla="*/ 4013459 w 8009775"/>
              <a:gd name="connsiteY310" fmla="*/ 1568451 h 6858000"/>
              <a:gd name="connsiteX311" fmla="*/ 4016415 w 8009775"/>
              <a:gd name="connsiteY311" fmla="*/ 1563054 h 6858000"/>
              <a:gd name="connsiteX312" fmla="*/ 4018484 w 8009775"/>
              <a:gd name="connsiteY312" fmla="*/ 1557339 h 6858000"/>
              <a:gd name="connsiteX313" fmla="*/ 4020848 w 8009775"/>
              <a:gd name="connsiteY313" fmla="*/ 1551941 h 6858000"/>
              <a:gd name="connsiteX314" fmla="*/ 4022621 w 8009775"/>
              <a:gd name="connsiteY314" fmla="*/ 1546226 h 6858000"/>
              <a:gd name="connsiteX315" fmla="*/ 4024395 w 8009775"/>
              <a:gd name="connsiteY315" fmla="*/ 1540511 h 6858000"/>
              <a:gd name="connsiteX316" fmla="*/ 4025282 w 8009775"/>
              <a:gd name="connsiteY316" fmla="*/ 1534478 h 6858000"/>
              <a:gd name="connsiteX317" fmla="*/ 4026464 w 8009775"/>
              <a:gd name="connsiteY317" fmla="*/ 1528763 h 6858000"/>
              <a:gd name="connsiteX318" fmla="*/ 4027055 w 8009775"/>
              <a:gd name="connsiteY318" fmla="*/ 1522731 h 6858000"/>
              <a:gd name="connsiteX319" fmla="*/ 4027646 w 8009775"/>
              <a:gd name="connsiteY319" fmla="*/ 1517016 h 6858000"/>
              <a:gd name="connsiteX320" fmla="*/ 4027646 w 8009775"/>
              <a:gd name="connsiteY320" fmla="*/ 1510984 h 6858000"/>
              <a:gd name="connsiteX321" fmla="*/ 4027646 w 8009775"/>
              <a:gd name="connsiteY321" fmla="*/ 1505268 h 6858000"/>
              <a:gd name="connsiteX322" fmla="*/ 4027055 w 8009775"/>
              <a:gd name="connsiteY322" fmla="*/ 1499553 h 6858000"/>
              <a:gd name="connsiteX323" fmla="*/ 4026464 w 8009775"/>
              <a:gd name="connsiteY323" fmla="*/ 1493204 h 6858000"/>
              <a:gd name="connsiteX324" fmla="*/ 4025282 w 8009775"/>
              <a:gd name="connsiteY324" fmla="*/ 1487489 h 6858000"/>
              <a:gd name="connsiteX325" fmla="*/ 4024395 w 8009775"/>
              <a:gd name="connsiteY325" fmla="*/ 1481773 h 6858000"/>
              <a:gd name="connsiteX326" fmla="*/ 4022621 w 8009775"/>
              <a:gd name="connsiteY326" fmla="*/ 1476058 h 6858000"/>
              <a:gd name="connsiteX327" fmla="*/ 4020848 w 8009775"/>
              <a:gd name="connsiteY327" fmla="*/ 1470343 h 6858000"/>
              <a:gd name="connsiteX328" fmla="*/ 4018484 w 8009775"/>
              <a:gd name="connsiteY328" fmla="*/ 1464629 h 6858000"/>
              <a:gd name="connsiteX329" fmla="*/ 4016415 w 8009775"/>
              <a:gd name="connsiteY329" fmla="*/ 1459231 h 6858000"/>
              <a:gd name="connsiteX330" fmla="*/ 4013459 w 8009775"/>
              <a:gd name="connsiteY330" fmla="*/ 1453834 h 6858000"/>
              <a:gd name="connsiteX331" fmla="*/ 4010799 w 8009775"/>
              <a:gd name="connsiteY331" fmla="*/ 1448436 h 6858000"/>
              <a:gd name="connsiteX332" fmla="*/ 4007548 w 8009775"/>
              <a:gd name="connsiteY332" fmla="*/ 1443356 h 6858000"/>
              <a:gd name="connsiteX333" fmla="*/ 4003705 w 8009775"/>
              <a:gd name="connsiteY333" fmla="*/ 1438275 h 6858000"/>
              <a:gd name="connsiteX334" fmla="*/ 4000159 w 8009775"/>
              <a:gd name="connsiteY334" fmla="*/ 1433195 h 6858000"/>
              <a:gd name="connsiteX335" fmla="*/ 3996021 w 8009775"/>
              <a:gd name="connsiteY335" fmla="*/ 1428751 h 6858000"/>
              <a:gd name="connsiteX336" fmla="*/ 3991587 w 8009775"/>
              <a:gd name="connsiteY336" fmla="*/ 1423988 h 6858000"/>
              <a:gd name="connsiteX337" fmla="*/ 3323022 w 8009775"/>
              <a:gd name="connsiteY337" fmla="*/ 755333 h 6858000"/>
              <a:gd name="connsiteX338" fmla="*/ 3316815 w 8009775"/>
              <a:gd name="connsiteY338" fmla="*/ 748348 h 6858000"/>
              <a:gd name="connsiteX339" fmla="*/ 3310904 w 8009775"/>
              <a:gd name="connsiteY339" fmla="*/ 741045 h 6858000"/>
              <a:gd name="connsiteX340" fmla="*/ 3305584 w 8009775"/>
              <a:gd name="connsiteY340" fmla="*/ 733108 h 6858000"/>
              <a:gd name="connsiteX341" fmla="*/ 3300855 w 8009775"/>
              <a:gd name="connsiteY341" fmla="*/ 725170 h 6858000"/>
              <a:gd name="connsiteX342" fmla="*/ 3297308 w 8009775"/>
              <a:gd name="connsiteY342" fmla="*/ 716915 h 6858000"/>
              <a:gd name="connsiteX343" fmla="*/ 3293761 w 8009775"/>
              <a:gd name="connsiteY343" fmla="*/ 708660 h 6858000"/>
              <a:gd name="connsiteX344" fmla="*/ 3291101 w 8009775"/>
              <a:gd name="connsiteY344" fmla="*/ 699770 h 6858000"/>
              <a:gd name="connsiteX345" fmla="*/ 3289328 w 8009775"/>
              <a:gd name="connsiteY345" fmla="*/ 691198 h 6858000"/>
              <a:gd name="connsiteX346" fmla="*/ 2596527 w 8009775"/>
              <a:gd name="connsiteY346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980947 w 8009775"/>
              <a:gd name="connsiteY72" fmla="*/ 2804795 h 6858000"/>
              <a:gd name="connsiteX73" fmla="*/ 3965282 w 8009775"/>
              <a:gd name="connsiteY73" fmla="*/ 2791144 h 6858000"/>
              <a:gd name="connsiteX74" fmla="*/ 3950799 w 8009775"/>
              <a:gd name="connsiteY74" fmla="*/ 2776856 h 6858000"/>
              <a:gd name="connsiteX75" fmla="*/ 3001744 w 8009775"/>
              <a:gd name="connsiteY75" fmla="*/ 1828166 h 6858000"/>
              <a:gd name="connsiteX76" fmla="*/ 2997311 w 8009775"/>
              <a:gd name="connsiteY76" fmla="*/ 1823404 h 6858000"/>
              <a:gd name="connsiteX77" fmla="*/ 2992878 w 8009775"/>
              <a:gd name="connsiteY77" fmla="*/ 1818640 h 6858000"/>
              <a:gd name="connsiteX78" fmla="*/ 2989331 w 8009775"/>
              <a:gd name="connsiteY78" fmla="*/ 1814195 h 6858000"/>
              <a:gd name="connsiteX79" fmla="*/ 2985784 w 8009775"/>
              <a:gd name="connsiteY79" fmla="*/ 1808799 h 6858000"/>
              <a:gd name="connsiteX80" fmla="*/ 2982533 w 8009775"/>
              <a:gd name="connsiteY80" fmla="*/ 1803718 h 6858000"/>
              <a:gd name="connsiteX81" fmla="*/ 2979873 w 8009775"/>
              <a:gd name="connsiteY81" fmla="*/ 1798321 h 6858000"/>
              <a:gd name="connsiteX82" fmla="*/ 2976917 w 8009775"/>
              <a:gd name="connsiteY82" fmla="*/ 1792924 h 6858000"/>
              <a:gd name="connsiteX83" fmla="*/ 2974552 w 8009775"/>
              <a:gd name="connsiteY83" fmla="*/ 1787526 h 6858000"/>
              <a:gd name="connsiteX84" fmla="*/ 2972484 w 8009775"/>
              <a:gd name="connsiteY84" fmla="*/ 1781811 h 6858000"/>
              <a:gd name="connsiteX85" fmla="*/ 2970710 w 8009775"/>
              <a:gd name="connsiteY85" fmla="*/ 1776095 h 6858000"/>
              <a:gd name="connsiteX86" fmla="*/ 2968937 w 8009775"/>
              <a:gd name="connsiteY86" fmla="*/ 1770380 h 6858000"/>
              <a:gd name="connsiteX87" fmla="*/ 2967755 w 8009775"/>
              <a:gd name="connsiteY87" fmla="*/ 1764665 h 6858000"/>
              <a:gd name="connsiteX88" fmla="*/ 2966868 w 8009775"/>
              <a:gd name="connsiteY88" fmla="*/ 1758634 h 6858000"/>
              <a:gd name="connsiteX89" fmla="*/ 2965981 w 8009775"/>
              <a:gd name="connsiteY89" fmla="*/ 1752919 h 6858000"/>
              <a:gd name="connsiteX90" fmla="*/ 2965686 w 8009775"/>
              <a:gd name="connsiteY90" fmla="*/ 1746885 h 6858000"/>
              <a:gd name="connsiteX91" fmla="*/ 2965686 w 8009775"/>
              <a:gd name="connsiteY91" fmla="*/ 1741170 h 6858000"/>
              <a:gd name="connsiteX92" fmla="*/ 2965686 w 8009775"/>
              <a:gd name="connsiteY92" fmla="*/ 1735139 h 6858000"/>
              <a:gd name="connsiteX93" fmla="*/ 2965981 w 8009775"/>
              <a:gd name="connsiteY93" fmla="*/ 1729424 h 6858000"/>
              <a:gd name="connsiteX94" fmla="*/ 2966868 w 8009775"/>
              <a:gd name="connsiteY94" fmla="*/ 1723074 h 6858000"/>
              <a:gd name="connsiteX95" fmla="*/ 2967755 w 8009775"/>
              <a:gd name="connsiteY95" fmla="*/ 1717358 h 6858000"/>
              <a:gd name="connsiteX96" fmla="*/ 2968937 w 8009775"/>
              <a:gd name="connsiteY96" fmla="*/ 1711643 h 6858000"/>
              <a:gd name="connsiteX97" fmla="*/ 2970710 w 8009775"/>
              <a:gd name="connsiteY97" fmla="*/ 1705929 h 6858000"/>
              <a:gd name="connsiteX98" fmla="*/ 2972484 w 8009775"/>
              <a:gd name="connsiteY98" fmla="*/ 1700214 h 6858000"/>
              <a:gd name="connsiteX99" fmla="*/ 2974552 w 8009775"/>
              <a:gd name="connsiteY99" fmla="*/ 1694816 h 6858000"/>
              <a:gd name="connsiteX100" fmla="*/ 2976917 w 8009775"/>
              <a:gd name="connsiteY100" fmla="*/ 1689101 h 6858000"/>
              <a:gd name="connsiteX101" fmla="*/ 2979873 w 8009775"/>
              <a:gd name="connsiteY101" fmla="*/ 1683703 h 6858000"/>
              <a:gd name="connsiteX102" fmla="*/ 2982533 w 8009775"/>
              <a:gd name="connsiteY102" fmla="*/ 1678305 h 6858000"/>
              <a:gd name="connsiteX103" fmla="*/ 2985784 w 8009775"/>
              <a:gd name="connsiteY103" fmla="*/ 1673226 h 6858000"/>
              <a:gd name="connsiteX104" fmla="*/ 2989331 w 8009775"/>
              <a:gd name="connsiteY104" fmla="*/ 1668145 h 6858000"/>
              <a:gd name="connsiteX105" fmla="*/ 2992878 w 8009775"/>
              <a:gd name="connsiteY105" fmla="*/ 1663066 h 6858000"/>
              <a:gd name="connsiteX106" fmla="*/ 2997311 w 8009775"/>
              <a:gd name="connsiteY106" fmla="*/ 1658621 h 6858000"/>
              <a:gd name="connsiteX107" fmla="*/ 3001744 w 8009775"/>
              <a:gd name="connsiteY107" fmla="*/ 1653859 h 6858000"/>
              <a:gd name="connsiteX108" fmla="*/ 3006178 w 8009775"/>
              <a:gd name="connsiteY108" fmla="*/ 1649414 h 6858000"/>
              <a:gd name="connsiteX109" fmla="*/ 3010907 w 8009775"/>
              <a:gd name="connsiteY109" fmla="*/ 1645603 h 6858000"/>
              <a:gd name="connsiteX110" fmla="*/ 3015932 w 8009775"/>
              <a:gd name="connsiteY110" fmla="*/ 1641794 h 6858000"/>
              <a:gd name="connsiteX111" fmla="*/ 3020956 w 8009775"/>
              <a:gd name="connsiteY111" fmla="*/ 1637984 h 6858000"/>
              <a:gd name="connsiteX112" fmla="*/ 3025981 w 8009775"/>
              <a:gd name="connsiteY112" fmla="*/ 1634809 h 6858000"/>
              <a:gd name="connsiteX113" fmla="*/ 3031596 w 8009775"/>
              <a:gd name="connsiteY113" fmla="*/ 1631950 h 6858000"/>
              <a:gd name="connsiteX114" fmla="*/ 3036916 w 8009775"/>
              <a:gd name="connsiteY114" fmla="*/ 1629094 h 6858000"/>
              <a:gd name="connsiteX115" fmla="*/ 3042532 w 8009775"/>
              <a:gd name="connsiteY115" fmla="*/ 1626871 h 6858000"/>
              <a:gd name="connsiteX116" fmla="*/ 3047852 w 8009775"/>
              <a:gd name="connsiteY116" fmla="*/ 1624649 h 6858000"/>
              <a:gd name="connsiteX117" fmla="*/ 3053764 w 8009775"/>
              <a:gd name="connsiteY117" fmla="*/ 1623061 h 6858000"/>
              <a:gd name="connsiteX118" fmla="*/ 3059379 w 8009775"/>
              <a:gd name="connsiteY118" fmla="*/ 1621155 h 6858000"/>
              <a:gd name="connsiteX119" fmla="*/ 3065291 w 8009775"/>
              <a:gd name="connsiteY119" fmla="*/ 1620204 h 6858000"/>
              <a:gd name="connsiteX120" fmla="*/ 3070906 w 8009775"/>
              <a:gd name="connsiteY120" fmla="*/ 1618934 h 6858000"/>
              <a:gd name="connsiteX121" fmla="*/ 3077113 w 8009775"/>
              <a:gd name="connsiteY121" fmla="*/ 1618299 h 6858000"/>
              <a:gd name="connsiteX122" fmla="*/ 3082729 w 8009775"/>
              <a:gd name="connsiteY122" fmla="*/ 1617981 h 6858000"/>
              <a:gd name="connsiteX123" fmla="*/ 3088936 w 8009775"/>
              <a:gd name="connsiteY123" fmla="*/ 1617981 h 6858000"/>
              <a:gd name="connsiteX124" fmla="*/ 3094552 w 8009775"/>
              <a:gd name="connsiteY124" fmla="*/ 1617981 h 6858000"/>
              <a:gd name="connsiteX125" fmla="*/ 3100758 w 8009775"/>
              <a:gd name="connsiteY125" fmla="*/ 1618299 h 6858000"/>
              <a:gd name="connsiteX126" fmla="*/ 3106670 w 8009775"/>
              <a:gd name="connsiteY126" fmla="*/ 1618934 h 6858000"/>
              <a:gd name="connsiteX127" fmla="*/ 3112285 w 8009775"/>
              <a:gd name="connsiteY127" fmla="*/ 1620204 h 6858000"/>
              <a:gd name="connsiteX128" fmla="*/ 3117901 w 8009775"/>
              <a:gd name="connsiteY128" fmla="*/ 1621155 h 6858000"/>
              <a:gd name="connsiteX129" fmla="*/ 3123812 w 8009775"/>
              <a:gd name="connsiteY129" fmla="*/ 1623061 h 6858000"/>
              <a:gd name="connsiteX130" fmla="*/ 3129428 w 8009775"/>
              <a:gd name="connsiteY130" fmla="*/ 1624649 h 6858000"/>
              <a:gd name="connsiteX131" fmla="*/ 3135339 w 8009775"/>
              <a:gd name="connsiteY131" fmla="*/ 1626871 h 6858000"/>
              <a:gd name="connsiteX132" fmla="*/ 3140660 w 8009775"/>
              <a:gd name="connsiteY132" fmla="*/ 1629094 h 6858000"/>
              <a:gd name="connsiteX133" fmla="*/ 3145980 w 8009775"/>
              <a:gd name="connsiteY133" fmla="*/ 1631950 h 6858000"/>
              <a:gd name="connsiteX134" fmla="*/ 3151300 w 8009775"/>
              <a:gd name="connsiteY134" fmla="*/ 1634809 h 6858000"/>
              <a:gd name="connsiteX135" fmla="*/ 3156324 w 8009775"/>
              <a:gd name="connsiteY135" fmla="*/ 1637984 h 6858000"/>
              <a:gd name="connsiteX136" fmla="*/ 3161349 w 8009775"/>
              <a:gd name="connsiteY136" fmla="*/ 1641794 h 6858000"/>
              <a:gd name="connsiteX137" fmla="*/ 3166374 w 8009775"/>
              <a:gd name="connsiteY137" fmla="*/ 1645603 h 6858000"/>
              <a:gd name="connsiteX138" fmla="*/ 3171102 w 8009775"/>
              <a:gd name="connsiteY138" fmla="*/ 1649414 h 6858000"/>
              <a:gd name="connsiteX139" fmla="*/ 3175832 w 8009775"/>
              <a:gd name="connsiteY139" fmla="*/ 1653859 h 6858000"/>
              <a:gd name="connsiteX140" fmla="*/ 3844692 w 8009775"/>
              <a:gd name="connsiteY140" fmla="*/ 2322830 h 6858000"/>
              <a:gd name="connsiteX141" fmla="*/ 3849421 w 8009775"/>
              <a:gd name="connsiteY141" fmla="*/ 2326958 h 6858000"/>
              <a:gd name="connsiteX142" fmla="*/ 3854150 w 8009775"/>
              <a:gd name="connsiteY142" fmla="*/ 2331085 h 6858000"/>
              <a:gd name="connsiteX143" fmla="*/ 3859175 w 8009775"/>
              <a:gd name="connsiteY143" fmla="*/ 2334895 h 6858000"/>
              <a:gd name="connsiteX144" fmla="*/ 3864199 w 8009775"/>
              <a:gd name="connsiteY144" fmla="*/ 2338705 h 6858000"/>
              <a:gd name="connsiteX145" fmla="*/ 3869224 w 8009775"/>
              <a:gd name="connsiteY145" fmla="*/ 2341880 h 6858000"/>
              <a:gd name="connsiteX146" fmla="*/ 3874544 w 8009775"/>
              <a:gd name="connsiteY146" fmla="*/ 2344738 h 6858000"/>
              <a:gd name="connsiteX147" fmla="*/ 3879864 w 8009775"/>
              <a:gd name="connsiteY147" fmla="*/ 2347595 h 6858000"/>
              <a:gd name="connsiteX148" fmla="*/ 3885775 w 8009775"/>
              <a:gd name="connsiteY148" fmla="*/ 2349818 h 6858000"/>
              <a:gd name="connsiteX149" fmla="*/ 3891096 w 8009775"/>
              <a:gd name="connsiteY149" fmla="*/ 2351723 h 6858000"/>
              <a:gd name="connsiteX150" fmla="*/ 3896711 w 8009775"/>
              <a:gd name="connsiteY150" fmla="*/ 2353628 h 6858000"/>
              <a:gd name="connsiteX151" fmla="*/ 3902623 w 8009775"/>
              <a:gd name="connsiteY151" fmla="*/ 2355534 h 6858000"/>
              <a:gd name="connsiteX152" fmla="*/ 3908238 w 8009775"/>
              <a:gd name="connsiteY152" fmla="*/ 2356485 h 6858000"/>
              <a:gd name="connsiteX153" fmla="*/ 3914150 w 8009775"/>
              <a:gd name="connsiteY153" fmla="*/ 2357755 h 6858000"/>
              <a:gd name="connsiteX154" fmla="*/ 3920061 w 8009775"/>
              <a:gd name="connsiteY154" fmla="*/ 2358391 h 6858000"/>
              <a:gd name="connsiteX155" fmla="*/ 3925972 w 8009775"/>
              <a:gd name="connsiteY155" fmla="*/ 2358708 h 6858000"/>
              <a:gd name="connsiteX156" fmla="*/ 3931883 w 8009775"/>
              <a:gd name="connsiteY156" fmla="*/ 2358708 h 6858000"/>
              <a:gd name="connsiteX157" fmla="*/ 3937795 w 8009775"/>
              <a:gd name="connsiteY157" fmla="*/ 2358708 h 6858000"/>
              <a:gd name="connsiteX158" fmla="*/ 3943706 w 8009775"/>
              <a:gd name="connsiteY158" fmla="*/ 2358391 h 6858000"/>
              <a:gd name="connsiteX159" fmla="*/ 3949617 w 8009775"/>
              <a:gd name="connsiteY159" fmla="*/ 2357755 h 6858000"/>
              <a:gd name="connsiteX160" fmla="*/ 3955233 w 8009775"/>
              <a:gd name="connsiteY160" fmla="*/ 2356485 h 6858000"/>
              <a:gd name="connsiteX161" fmla="*/ 3961144 w 8009775"/>
              <a:gd name="connsiteY161" fmla="*/ 2355534 h 6858000"/>
              <a:gd name="connsiteX162" fmla="*/ 3966760 w 8009775"/>
              <a:gd name="connsiteY162" fmla="*/ 2353628 h 6858000"/>
              <a:gd name="connsiteX163" fmla="*/ 3972671 w 8009775"/>
              <a:gd name="connsiteY163" fmla="*/ 2351723 h 6858000"/>
              <a:gd name="connsiteX164" fmla="*/ 3978287 w 8009775"/>
              <a:gd name="connsiteY164" fmla="*/ 2349818 h 6858000"/>
              <a:gd name="connsiteX165" fmla="*/ 3983607 w 8009775"/>
              <a:gd name="connsiteY165" fmla="*/ 2347595 h 6858000"/>
              <a:gd name="connsiteX166" fmla="*/ 3989223 w 8009775"/>
              <a:gd name="connsiteY166" fmla="*/ 2344738 h 6858000"/>
              <a:gd name="connsiteX167" fmla="*/ 3994543 w 8009775"/>
              <a:gd name="connsiteY167" fmla="*/ 2341880 h 6858000"/>
              <a:gd name="connsiteX168" fmla="*/ 3999567 w 8009775"/>
              <a:gd name="connsiteY168" fmla="*/ 2338705 h 6858000"/>
              <a:gd name="connsiteX169" fmla="*/ 4004888 w 8009775"/>
              <a:gd name="connsiteY169" fmla="*/ 2334895 h 6858000"/>
              <a:gd name="connsiteX170" fmla="*/ 4009617 w 8009775"/>
              <a:gd name="connsiteY170" fmla="*/ 2331085 h 6858000"/>
              <a:gd name="connsiteX171" fmla="*/ 4014346 w 8009775"/>
              <a:gd name="connsiteY171" fmla="*/ 2326958 h 6858000"/>
              <a:gd name="connsiteX172" fmla="*/ 4018779 w 8009775"/>
              <a:gd name="connsiteY172" fmla="*/ 2322830 h 6858000"/>
              <a:gd name="connsiteX173" fmla="*/ 4023213 w 8009775"/>
              <a:gd name="connsiteY173" fmla="*/ 2318068 h 6858000"/>
              <a:gd name="connsiteX174" fmla="*/ 4027646 w 8009775"/>
              <a:gd name="connsiteY174" fmla="*/ 2313306 h 6858000"/>
              <a:gd name="connsiteX175" fmla="*/ 4031193 w 8009775"/>
              <a:gd name="connsiteY175" fmla="*/ 2308544 h 6858000"/>
              <a:gd name="connsiteX176" fmla="*/ 4034740 w 8009775"/>
              <a:gd name="connsiteY176" fmla="*/ 2303463 h 6858000"/>
              <a:gd name="connsiteX177" fmla="*/ 4037991 w 8009775"/>
              <a:gd name="connsiteY177" fmla="*/ 2298384 h 6858000"/>
              <a:gd name="connsiteX178" fmla="*/ 4040946 w 8009775"/>
              <a:gd name="connsiteY178" fmla="*/ 2292985 h 6858000"/>
              <a:gd name="connsiteX179" fmla="*/ 4043606 w 8009775"/>
              <a:gd name="connsiteY179" fmla="*/ 2287588 h 6858000"/>
              <a:gd name="connsiteX180" fmla="*/ 4046267 w 8009775"/>
              <a:gd name="connsiteY180" fmla="*/ 2281873 h 6858000"/>
              <a:gd name="connsiteX181" fmla="*/ 4048040 w 8009775"/>
              <a:gd name="connsiteY181" fmla="*/ 2276476 h 6858000"/>
              <a:gd name="connsiteX182" fmla="*/ 4050109 w 8009775"/>
              <a:gd name="connsiteY182" fmla="*/ 2270761 h 6858000"/>
              <a:gd name="connsiteX183" fmla="*/ 4051587 w 8009775"/>
              <a:gd name="connsiteY183" fmla="*/ 2265046 h 6858000"/>
              <a:gd name="connsiteX184" fmla="*/ 4052769 w 8009775"/>
              <a:gd name="connsiteY184" fmla="*/ 2259331 h 6858000"/>
              <a:gd name="connsiteX185" fmla="*/ 4053656 w 8009775"/>
              <a:gd name="connsiteY185" fmla="*/ 2253298 h 6858000"/>
              <a:gd name="connsiteX186" fmla="*/ 4054542 w 8009775"/>
              <a:gd name="connsiteY186" fmla="*/ 2247266 h 6858000"/>
              <a:gd name="connsiteX187" fmla="*/ 4054838 w 8009775"/>
              <a:gd name="connsiteY187" fmla="*/ 2241551 h 6858000"/>
              <a:gd name="connsiteX188" fmla="*/ 4055133 w 8009775"/>
              <a:gd name="connsiteY188" fmla="*/ 2235519 h 6858000"/>
              <a:gd name="connsiteX189" fmla="*/ 4054838 w 8009775"/>
              <a:gd name="connsiteY189" fmla="*/ 2229804 h 6858000"/>
              <a:gd name="connsiteX190" fmla="*/ 4054542 w 8009775"/>
              <a:gd name="connsiteY190" fmla="*/ 2223770 h 6858000"/>
              <a:gd name="connsiteX191" fmla="*/ 4053656 w 8009775"/>
              <a:gd name="connsiteY191" fmla="*/ 2217739 h 6858000"/>
              <a:gd name="connsiteX192" fmla="*/ 4052769 w 8009775"/>
              <a:gd name="connsiteY192" fmla="*/ 2212024 h 6858000"/>
              <a:gd name="connsiteX193" fmla="*/ 4051587 w 8009775"/>
              <a:gd name="connsiteY193" fmla="*/ 2206309 h 6858000"/>
              <a:gd name="connsiteX194" fmla="*/ 4050109 w 8009775"/>
              <a:gd name="connsiteY194" fmla="*/ 2200593 h 6858000"/>
              <a:gd name="connsiteX195" fmla="*/ 4048040 w 8009775"/>
              <a:gd name="connsiteY195" fmla="*/ 2194878 h 6858000"/>
              <a:gd name="connsiteX196" fmla="*/ 4046267 w 8009775"/>
              <a:gd name="connsiteY196" fmla="*/ 2189163 h 6858000"/>
              <a:gd name="connsiteX197" fmla="*/ 4043606 w 8009775"/>
              <a:gd name="connsiteY197" fmla="*/ 2183765 h 6858000"/>
              <a:gd name="connsiteX198" fmla="*/ 4040946 w 8009775"/>
              <a:gd name="connsiteY198" fmla="*/ 2178368 h 6858000"/>
              <a:gd name="connsiteX199" fmla="*/ 4037991 w 8009775"/>
              <a:gd name="connsiteY199" fmla="*/ 2172970 h 6858000"/>
              <a:gd name="connsiteX200" fmla="*/ 4034740 w 8009775"/>
              <a:gd name="connsiteY200" fmla="*/ 2167890 h 6858000"/>
              <a:gd name="connsiteX201" fmla="*/ 4031193 w 8009775"/>
              <a:gd name="connsiteY201" fmla="*/ 2162494 h 6858000"/>
              <a:gd name="connsiteX202" fmla="*/ 4027646 w 8009775"/>
              <a:gd name="connsiteY202" fmla="*/ 2157730 h 6858000"/>
              <a:gd name="connsiteX203" fmla="*/ 4023213 w 8009775"/>
              <a:gd name="connsiteY203" fmla="*/ 2153285 h 6858000"/>
              <a:gd name="connsiteX204" fmla="*/ 4018779 w 8009775"/>
              <a:gd name="connsiteY204" fmla="*/ 2148523 h 6858000"/>
              <a:gd name="connsiteX205" fmla="*/ 3632182 w 8009775"/>
              <a:gd name="connsiteY205" fmla="*/ 1761490 h 6858000"/>
              <a:gd name="connsiteX206" fmla="*/ 3435928 w 8009775"/>
              <a:gd name="connsiteY206" fmla="*/ 1565276 h 6858000"/>
              <a:gd name="connsiteX207" fmla="*/ 3431198 w 8009775"/>
              <a:gd name="connsiteY207" fmla="*/ 1560514 h 6858000"/>
              <a:gd name="connsiteX208" fmla="*/ 3427356 w 8009775"/>
              <a:gd name="connsiteY208" fmla="*/ 1555751 h 6858000"/>
              <a:gd name="connsiteX209" fmla="*/ 3423218 w 8009775"/>
              <a:gd name="connsiteY209" fmla="*/ 1550671 h 6858000"/>
              <a:gd name="connsiteX210" fmla="*/ 3420262 w 8009775"/>
              <a:gd name="connsiteY210" fmla="*/ 1545909 h 6858000"/>
              <a:gd name="connsiteX211" fmla="*/ 3417012 w 8009775"/>
              <a:gd name="connsiteY211" fmla="*/ 1540829 h 6858000"/>
              <a:gd name="connsiteX212" fmla="*/ 3413760 w 8009775"/>
              <a:gd name="connsiteY212" fmla="*/ 1535430 h 6858000"/>
              <a:gd name="connsiteX213" fmla="*/ 3411100 w 8009775"/>
              <a:gd name="connsiteY213" fmla="*/ 1530034 h 6858000"/>
              <a:gd name="connsiteX214" fmla="*/ 3408736 w 8009775"/>
              <a:gd name="connsiteY214" fmla="*/ 1524635 h 6858000"/>
              <a:gd name="connsiteX215" fmla="*/ 3406371 w 8009775"/>
              <a:gd name="connsiteY215" fmla="*/ 1518920 h 6858000"/>
              <a:gd name="connsiteX216" fmla="*/ 3404598 w 8009775"/>
              <a:gd name="connsiteY216" fmla="*/ 1513205 h 6858000"/>
              <a:gd name="connsiteX217" fmla="*/ 3403120 w 8009775"/>
              <a:gd name="connsiteY217" fmla="*/ 1507174 h 6858000"/>
              <a:gd name="connsiteX218" fmla="*/ 3401938 w 8009775"/>
              <a:gd name="connsiteY218" fmla="*/ 1501459 h 6858000"/>
              <a:gd name="connsiteX219" fmla="*/ 3401051 w 8009775"/>
              <a:gd name="connsiteY219" fmla="*/ 1495744 h 6858000"/>
              <a:gd name="connsiteX220" fmla="*/ 3400460 w 8009775"/>
              <a:gd name="connsiteY220" fmla="*/ 1489710 h 6858000"/>
              <a:gd name="connsiteX221" fmla="*/ 3399869 w 8009775"/>
              <a:gd name="connsiteY221" fmla="*/ 1483995 h 6858000"/>
              <a:gd name="connsiteX222" fmla="*/ 3399573 w 8009775"/>
              <a:gd name="connsiteY222" fmla="*/ 1478281 h 6858000"/>
              <a:gd name="connsiteX223" fmla="*/ 3399869 w 8009775"/>
              <a:gd name="connsiteY223" fmla="*/ 1472249 h 6858000"/>
              <a:gd name="connsiteX224" fmla="*/ 3400460 w 8009775"/>
              <a:gd name="connsiteY224" fmla="*/ 1466215 h 6858000"/>
              <a:gd name="connsiteX225" fmla="*/ 3401051 w 8009775"/>
              <a:gd name="connsiteY225" fmla="*/ 1460183 h 6858000"/>
              <a:gd name="connsiteX226" fmla="*/ 3401938 w 8009775"/>
              <a:gd name="connsiteY226" fmla="*/ 1454468 h 6858000"/>
              <a:gd name="connsiteX227" fmla="*/ 3403120 w 8009775"/>
              <a:gd name="connsiteY227" fmla="*/ 1448754 h 6858000"/>
              <a:gd name="connsiteX228" fmla="*/ 3404598 w 8009775"/>
              <a:gd name="connsiteY228" fmla="*/ 1443039 h 6858000"/>
              <a:gd name="connsiteX229" fmla="*/ 3406371 w 8009775"/>
              <a:gd name="connsiteY229" fmla="*/ 1437324 h 6858000"/>
              <a:gd name="connsiteX230" fmla="*/ 3408736 w 8009775"/>
              <a:gd name="connsiteY230" fmla="*/ 1431609 h 6858000"/>
              <a:gd name="connsiteX231" fmla="*/ 3411100 w 8009775"/>
              <a:gd name="connsiteY231" fmla="*/ 1426211 h 6858000"/>
              <a:gd name="connsiteX232" fmla="*/ 3413760 w 8009775"/>
              <a:gd name="connsiteY232" fmla="*/ 1420814 h 6858000"/>
              <a:gd name="connsiteX233" fmla="*/ 3417012 w 8009775"/>
              <a:gd name="connsiteY233" fmla="*/ 1415416 h 6858000"/>
              <a:gd name="connsiteX234" fmla="*/ 3420262 w 8009775"/>
              <a:gd name="connsiteY234" fmla="*/ 1410336 h 6858000"/>
              <a:gd name="connsiteX235" fmla="*/ 3423218 w 8009775"/>
              <a:gd name="connsiteY235" fmla="*/ 1405256 h 6858000"/>
              <a:gd name="connsiteX236" fmla="*/ 3427356 w 8009775"/>
              <a:gd name="connsiteY236" fmla="*/ 1400175 h 6858000"/>
              <a:gd name="connsiteX237" fmla="*/ 3431198 w 8009775"/>
              <a:gd name="connsiteY237" fmla="*/ 1395731 h 6858000"/>
              <a:gd name="connsiteX238" fmla="*/ 3435928 w 8009775"/>
              <a:gd name="connsiteY238" fmla="*/ 1390969 h 6858000"/>
              <a:gd name="connsiteX239" fmla="*/ 3440361 w 8009775"/>
              <a:gd name="connsiteY239" fmla="*/ 1386524 h 6858000"/>
              <a:gd name="connsiteX240" fmla="*/ 3445386 w 8009775"/>
              <a:gd name="connsiteY240" fmla="*/ 1382396 h 6858000"/>
              <a:gd name="connsiteX241" fmla="*/ 3449819 w 8009775"/>
              <a:gd name="connsiteY241" fmla="*/ 1378585 h 6858000"/>
              <a:gd name="connsiteX242" fmla="*/ 3454844 w 8009775"/>
              <a:gd name="connsiteY242" fmla="*/ 1375094 h 6858000"/>
              <a:gd name="connsiteX243" fmla="*/ 3460459 w 8009775"/>
              <a:gd name="connsiteY243" fmla="*/ 1371919 h 6858000"/>
              <a:gd name="connsiteX244" fmla="*/ 3465780 w 8009775"/>
              <a:gd name="connsiteY244" fmla="*/ 1369061 h 6858000"/>
              <a:gd name="connsiteX245" fmla="*/ 3471100 w 8009775"/>
              <a:gd name="connsiteY245" fmla="*/ 1366204 h 6858000"/>
              <a:gd name="connsiteX246" fmla="*/ 3476420 w 8009775"/>
              <a:gd name="connsiteY246" fmla="*/ 1363980 h 6858000"/>
              <a:gd name="connsiteX247" fmla="*/ 3482331 w 8009775"/>
              <a:gd name="connsiteY247" fmla="*/ 1361759 h 6858000"/>
              <a:gd name="connsiteX248" fmla="*/ 3487947 w 8009775"/>
              <a:gd name="connsiteY248" fmla="*/ 1360170 h 6858000"/>
              <a:gd name="connsiteX249" fmla="*/ 3493858 w 8009775"/>
              <a:gd name="connsiteY249" fmla="*/ 1358265 h 6858000"/>
              <a:gd name="connsiteX250" fmla="*/ 3499474 w 8009775"/>
              <a:gd name="connsiteY250" fmla="*/ 1357314 h 6858000"/>
              <a:gd name="connsiteX251" fmla="*/ 3505385 w 8009775"/>
              <a:gd name="connsiteY251" fmla="*/ 1356043 h 6858000"/>
              <a:gd name="connsiteX252" fmla="*/ 3511001 w 8009775"/>
              <a:gd name="connsiteY252" fmla="*/ 1355409 h 6858000"/>
              <a:gd name="connsiteX253" fmla="*/ 3517208 w 8009775"/>
              <a:gd name="connsiteY253" fmla="*/ 1355090 h 6858000"/>
              <a:gd name="connsiteX254" fmla="*/ 3522823 w 8009775"/>
              <a:gd name="connsiteY254" fmla="*/ 1354773 h 6858000"/>
              <a:gd name="connsiteX255" fmla="*/ 3529030 w 8009775"/>
              <a:gd name="connsiteY255" fmla="*/ 1355090 h 6858000"/>
              <a:gd name="connsiteX256" fmla="*/ 3534646 w 8009775"/>
              <a:gd name="connsiteY256" fmla="*/ 1355409 h 6858000"/>
              <a:gd name="connsiteX257" fmla="*/ 3540557 w 8009775"/>
              <a:gd name="connsiteY257" fmla="*/ 1356043 h 6858000"/>
              <a:gd name="connsiteX258" fmla="*/ 3546468 w 8009775"/>
              <a:gd name="connsiteY258" fmla="*/ 1357314 h 6858000"/>
              <a:gd name="connsiteX259" fmla="*/ 3552380 w 8009775"/>
              <a:gd name="connsiteY259" fmla="*/ 1358265 h 6858000"/>
              <a:gd name="connsiteX260" fmla="*/ 3557995 w 8009775"/>
              <a:gd name="connsiteY260" fmla="*/ 1360170 h 6858000"/>
              <a:gd name="connsiteX261" fmla="*/ 3563906 w 8009775"/>
              <a:gd name="connsiteY261" fmla="*/ 1361759 h 6858000"/>
              <a:gd name="connsiteX262" fmla="*/ 3569227 w 8009775"/>
              <a:gd name="connsiteY262" fmla="*/ 1363980 h 6858000"/>
              <a:gd name="connsiteX263" fmla="*/ 3574842 w 8009775"/>
              <a:gd name="connsiteY263" fmla="*/ 1366204 h 6858000"/>
              <a:gd name="connsiteX264" fmla="*/ 3580458 w 8009775"/>
              <a:gd name="connsiteY264" fmla="*/ 1369061 h 6858000"/>
              <a:gd name="connsiteX265" fmla="*/ 3585778 w 8009775"/>
              <a:gd name="connsiteY265" fmla="*/ 1371919 h 6858000"/>
              <a:gd name="connsiteX266" fmla="*/ 3590803 w 8009775"/>
              <a:gd name="connsiteY266" fmla="*/ 1375094 h 6858000"/>
              <a:gd name="connsiteX267" fmla="*/ 3595828 w 8009775"/>
              <a:gd name="connsiteY267" fmla="*/ 1378585 h 6858000"/>
              <a:gd name="connsiteX268" fmla="*/ 3600852 w 8009775"/>
              <a:gd name="connsiteY268" fmla="*/ 1382396 h 6858000"/>
              <a:gd name="connsiteX269" fmla="*/ 3605581 w 8009775"/>
              <a:gd name="connsiteY269" fmla="*/ 1386524 h 6858000"/>
              <a:gd name="connsiteX270" fmla="*/ 3610014 w 8009775"/>
              <a:gd name="connsiteY270" fmla="*/ 1390969 h 6858000"/>
              <a:gd name="connsiteX271" fmla="*/ 3817500 w 8009775"/>
              <a:gd name="connsiteY271" fmla="*/ 1598296 h 6858000"/>
              <a:gd name="connsiteX272" fmla="*/ 3821934 w 8009775"/>
              <a:gd name="connsiteY272" fmla="*/ 1602423 h 6858000"/>
              <a:gd name="connsiteX273" fmla="*/ 3826663 w 8009775"/>
              <a:gd name="connsiteY273" fmla="*/ 1606869 h 6858000"/>
              <a:gd name="connsiteX274" fmla="*/ 3831687 w 8009775"/>
              <a:gd name="connsiteY274" fmla="*/ 1610361 h 6858000"/>
              <a:gd name="connsiteX275" fmla="*/ 3836712 w 8009775"/>
              <a:gd name="connsiteY275" fmla="*/ 1613854 h 6858000"/>
              <a:gd name="connsiteX276" fmla="*/ 3841736 w 8009775"/>
              <a:gd name="connsiteY276" fmla="*/ 1617345 h 6858000"/>
              <a:gd name="connsiteX277" fmla="*/ 3847352 w 8009775"/>
              <a:gd name="connsiteY277" fmla="*/ 1620204 h 6858000"/>
              <a:gd name="connsiteX278" fmla="*/ 3852672 w 8009775"/>
              <a:gd name="connsiteY278" fmla="*/ 1623061 h 6858000"/>
              <a:gd name="connsiteX279" fmla="*/ 3857992 w 8009775"/>
              <a:gd name="connsiteY279" fmla="*/ 1625283 h 6858000"/>
              <a:gd name="connsiteX280" fmla="*/ 3863608 w 8009775"/>
              <a:gd name="connsiteY280" fmla="*/ 1627189 h 6858000"/>
              <a:gd name="connsiteX281" fmla="*/ 3869519 w 8009775"/>
              <a:gd name="connsiteY281" fmla="*/ 1629094 h 6858000"/>
              <a:gd name="connsiteX282" fmla="*/ 3875135 w 8009775"/>
              <a:gd name="connsiteY282" fmla="*/ 1630998 h 6858000"/>
              <a:gd name="connsiteX283" fmla="*/ 3881046 w 8009775"/>
              <a:gd name="connsiteY283" fmla="*/ 1631950 h 6858000"/>
              <a:gd name="connsiteX284" fmla="*/ 3886662 w 8009775"/>
              <a:gd name="connsiteY284" fmla="*/ 1632904 h 6858000"/>
              <a:gd name="connsiteX285" fmla="*/ 3892869 w 8009775"/>
              <a:gd name="connsiteY285" fmla="*/ 1633856 h 6858000"/>
              <a:gd name="connsiteX286" fmla="*/ 3898485 w 8009775"/>
              <a:gd name="connsiteY286" fmla="*/ 1634174 h 6858000"/>
              <a:gd name="connsiteX287" fmla="*/ 3904396 w 8009775"/>
              <a:gd name="connsiteY287" fmla="*/ 1634174 h 6858000"/>
              <a:gd name="connsiteX288" fmla="*/ 3910307 w 8009775"/>
              <a:gd name="connsiteY288" fmla="*/ 1634174 h 6858000"/>
              <a:gd name="connsiteX289" fmla="*/ 3916219 w 8009775"/>
              <a:gd name="connsiteY289" fmla="*/ 1633856 h 6858000"/>
              <a:gd name="connsiteX290" fmla="*/ 3922425 w 8009775"/>
              <a:gd name="connsiteY290" fmla="*/ 1632904 h 6858000"/>
              <a:gd name="connsiteX291" fmla="*/ 3928041 w 8009775"/>
              <a:gd name="connsiteY291" fmla="*/ 1631950 h 6858000"/>
              <a:gd name="connsiteX292" fmla="*/ 3933657 w 8009775"/>
              <a:gd name="connsiteY292" fmla="*/ 1630998 h 6858000"/>
              <a:gd name="connsiteX293" fmla="*/ 3939568 w 8009775"/>
              <a:gd name="connsiteY293" fmla="*/ 1629094 h 6858000"/>
              <a:gd name="connsiteX294" fmla="*/ 3945184 w 8009775"/>
              <a:gd name="connsiteY294" fmla="*/ 1627189 h 6858000"/>
              <a:gd name="connsiteX295" fmla="*/ 3950799 w 8009775"/>
              <a:gd name="connsiteY295" fmla="*/ 1625283 h 6858000"/>
              <a:gd name="connsiteX296" fmla="*/ 3956415 w 8009775"/>
              <a:gd name="connsiteY296" fmla="*/ 1623061 h 6858000"/>
              <a:gd name="connsiteX297" fmla="*/ 3961735 w 8009775"/>
              <a:gd name="connsiteY297" fmla="*/ 1620204 h 6858000"/>
              <a:gd name="connsiteX298" fmla="*/ 3967055 w 8009775"/>
              <a:gd name="connsiteY298" fmla="*/ 1617345 h 6858000"/>
              <a:gd name="connsiteX299" fmla="*/ 3972376 w 8009775"/>
              <a:gd name="connsiteY299" fmla="*/ 1613854 h 6858000"/>
              <a:gd name="connsiteX300" fmla="*/ 3977400 w 8009775"/>
              <a:gd name="connsiteY300" fmla="*/ 1610361 h 6858000"/>
              <a:gd name="connsiteX301" fmla="*/ 3982425 w 8009775"/>
              <a:gd name="connsiteY301" fmla="*/ 1606869 h 6858000"/>
              <a:gd name="connsiteX302" fmla="*/ 3986858 w 8009775"/>
              <a:gd name="connsiteY302" fmla="*/ 1602423 h 6858000"/>
              <a:gd name="connsiteX303" fmla="*/ 3991587 w 8009775"/>
              <a:gd name="connsiteY303" fmla="*/ 1598296 h 6858000"/>
              <a:gd name="connsiteX304" fmla="*/ 3996021 w 8009775"/>
              <a:gd name="connsiteY304" fmla="*/ 1593533 h 6858000"/>
              <a:gd name="connsiteX305" fmla="*/ 4000159 w 8009775"/>
              <a:gd name="connsiteY305" fmla="*/ 1588771 h 6858000"/>
              <a:gd name="connsiteX306" fmla="*/ 4003705 w 8009775"/>
              <a:gd name="connsiteY306" fmla="*/ 1583691 h 6858000"/>
              <a:gd name="connsiteX307" fmla="*/ 4007548 w 8009775"/>
              <a:gd name="connsiteY307" fmla="*/ 1578928 h 6858000"/>
              <a:gd name="connsiteX308" fmla="*/ 4010799 w 8009775"/>
              <a:gd name="connsiteY308" fmla="*/ 1573849 h 6858000"/>
              <a:gd name="connsiteX309" fmla="*/ 4013459 w 8009775"/>
              <a:gd name="connsiteY309" fmla="*/ 1568451 h 6858000"/>
              <a:gd name="connsiteX310" fmla="*/ 4016415 w 8009775"/>
              <a:gd name="connsiteY310" fmla="*/ 1563054 h 6858000"/>
              <a:gd name="connsiteX311" fmla="*/ 4018484 w 8009775"/>
              <a:gd name="connsiteY311" fmla="*/ 1557339 h 6858000"/>
              <a:gd name="connsiteX312" fmla="*/ 4020848 w 8009775"/>
              <a:gd name="connsiteY312" fmla="*/ 1551941 h 6858000"/>
              <a:gd name="connsiteX313" fmla="*/ 4022621 w 8009775"/>
              <a:gd name="connsiteY313" fmla="*/ 1546226 h 6858000"/>
              <a:gd name="connsiteX314" fmla="*/ 4024395 w 8009775"/>
              <a:gd name="connsiteY314" fmla="*/ 1540511 h 6858000"/>
              <a:gd name="connsiteX315" fmla="*/ 4025282 w 8009775"/>
              <a:gd name="connsiteY315" fmla="*/ 1534478 h 6858000"/>
              <a:gd name="connsiteX316" fmla="*/ 4026464 w 8009775"/>
              <a:gd name="connsiteY316" fmla="*/ 1528763 h 6858000"/>
              <a:gd name="connsiteX317" fmla="*/ 4027055 w 8009775"/>
              <a:gd name="connsiteY317" fmla="*/ 1522731 h 6858000"/>
              <a:gd name="connsiteX318" fmla="*/ 4027646 w 8009775"/>
              <a:gd name="connsiteY318" fmla="*/ 1517016 h 6858000"/>
              <a:gd name="connsiteX319" fmla="*/ 4027646 w 8009775"/>
              <a:gd name="connsiteY319" fmla="*/ 1510984 h 6858000"/>
              <a:gd name="connsiteX320" fmla="*/ 4027646 w 8009775"/>
              <a:gd name="connsiteY320" fmla="*/ 1505268 h 6858000"/>
              <a:gd name="connsiteX321" fmla="*/ 4027055 w 8009775"/>
              <a:gd name="connsiteY321" fmla="*/ 1499553 h 6858000"/>
              <a:gd name="connsiteX322" fmla="*/ 4026464 w 8009775"/>
              <a:gd name="connsiteY322" fmla="*/ 1493204 h 6858000"/>
              <a:gd name="connsiteX323" fmla="*/ 4025282 w 8009775"/>
              <a:gd name="connsiteY323" fmla="*/ 1487489 h 6858000"/>
              <a:gd name="connsiteX324" fmla="*/ 4024395 w 8009775"/>
              <a:gd name="connsiteY324" fmla="*/ 1481773 h 6858000"/>
              <a:gd name="connsiteX325" fmla="*/ 4022621 w 8009775"/>
              <a:gd name="connsiteY325" fmla="*/ 1476058 h 6858000"/>
              <a:gd name="connsiteX326" fmla="*/ 4020848 w 8009775"/>
              <a:gd name="connsiteY326" fmla="*/ 1470343 h 6858000"/>
              <a:gd name="connsiteX327" fmla="*/ 4018484 w 8009775"/>
              <a:gd name="connsiteY327" fmla="*/ 1464629 h 6858000"/>
              <a:gd name="connsiteX328" fmla="*/ 4016415 w 8009775"/>
              <a:gd name="connsiteY328" fmla="*/ 1459231 h 6858000"/>
              <a:gd name="connsiteX329" fmla="*/ 4013459 w 8009775"/>
              <a:gd name="connsiteY329" fmla="*/ 1453834 h 6858000"/>
              <a:gd name="connsiteX330" fmla="*/ 4010799 w 8009775"/>
              <a:gd name="connsiteY330" fmla="*/ 1448436 h 6858000"/>
              <a:gd name="connsiteX331" fmla="*/ 4007548 w 8009775"/>
              <a:gd name="connsiteY331" fmla="*/ 1443356 h 6858000"/>
              <a:gd name="connsiteX332" fmla="*/ 4003705 w 8009775"/>
              <a:gd name="connsiteY332" fmla="*/ 1438275 h 6858000"/>
              <a:gd name="connsiteX333" fmla="*/ 4000159 w 8009775"/>
              <a:gd name="connsiteY333" fmla="*/ 1433195 h 6858000"/>
              <a:gd name="connsiteX334" fmla="*/ 3996021 w 8009775"/>
              <a:gd name="connsiteY334" fmla="*/ 1428751 h 6858000"/>
              <a:gd name="connsiteX335" fmla="*/ 3991587 w 8009775"/>
              <a:gd name="connsiteY335" fmla="*/ 1423988 h 6858000"/>
              <a:gd name="connsiteX336" fmla="*/ 3323022 w 8009775"/>
              <a:gd name="connsiteY336" fmla="*/ 755333 h 6858000"/>
              <a:gd name="connsiteX337" fmla="*/ 3316815 w 8009775"/>
              <a:gd name="connsiteY337" fmla="*/ 748348 h 6858000"/>
              <a:gd name="connsiteX338" fmla="*/ 3310904 w 8009775"/>
              <a:gd name="connsiteY338" fmla="*/ 741045 h 6858000"/>
              <a:gd name="connsiteX339" fmla="*/ 3305584 w 8009775"/>
              <a:gd name="connsiteY339" fmla="*/ 733108 h 6858000"/>
              <a:gd name="connsiteX340" fmla="*/ 3300855 w 8009775"/>
              <a:gd name="connsiteY340" fmla="*/ 725170 h 6858000"/>
              <a:gd name="connsiteX341" fmla="*/ 3297308 w 8009775"/>
              <a:gd name="connsiteY341" fmla="*/ 716915 h 6858000"/>
              <a:gd name="connsiteX342" fmla="*/ 3293761 w 8009775"/>
              <a:gd name="connsiteY342" fmla="*/ 708660 h 6858000"/>
              <a:gd name="connsiteX343" fmla="*/ 3291101 w 8009775"/>
              <a:gd name="connsiteY343" fmla="*/ 699770 h 6858000"/>
              <a:gd name="connsiteX344" fmla="*/ 3289328 w 8009775"/>
              <a:gd name="connsiteY344" fmla="*/ 691198 h 6858000"/>
              <a:gd name="connsiteX345" fmla="*/ 2596527 w 8009775"/>
              <a:gd name="connsiteY345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980947 w 8009775"/>
              <a:gd name="connsiteY72" fmla="*/ 2804795 h 6858000"/>
              <a:gd name="connsiteX73" fmla="*/ 3965282 w 8009775"/>
              <a:gd name="connsiteY73" fmla="*/ 2791144 h 6858000"/>
              <a:gd name="connsiteX74" fmla="*/ 3001744 w 8009775"/>
              <a:gd name="connsiteY74" fmla="*/ 1828166 h 6858000"/>
              <a:gd name="connsiteX75" fmla="*/ 2997311 w 8009775"/>
              <a:gd name="connsiteY75" fmla="*/ 1823404 h 6858000"/>
              <a:gd name="connsiteX76" fmla="*/ 2992878 w 8009775"/>
              <a:gd name="connsiteY76" fmla="*/ 1818640 h 6858000"/>
              <a:gd name="connsiteX77" fmla="*/ 2989331 w 8009775"/>
              <a:gd name="connsiteY77" fmla="*/ 1814195 h 6858000"/>
              <a:gd name="connsiteX78" fmla="*/ 2985784 w 8009775"/>
              <a:gd name="connsiteY78" fmla="*/ 1808799 h 6858000"/>
              <a:gd name="connsiteX79" fmla="*/ 2982533 w 8009775"/>
              <a:gd name="connsiteY79" fmla="*/ 1803718 h 6858000"/>
              <a:gd name="connsiteX80" fmla="*/ 2979873 w 8009775"/>
              <a:gd name="connsiteY80" fmla="*/ 1798321 h 6858000"/>
              <a:gd name="connsiteX81" fmla="*/ 2976917 w 8009775"/>
              <a:gd name="connsiteY81" fmla="*/ 1792924 h 6858000"/>
              <a:gd name="connsiteX82" fmla="*/ 2974552 w 8009775"/>
              <a:gd name="connsiteY82" fmla="*/ 1787526 h 6858000"/>
              <a:gd name="connsiteX83" fmla="*/ 2972484 w 8009775"/>
              <a:gd name="connsiteY83" fmla="*/ 1781811 h 6858000"/>
              <a:gd name="connsiteX84" fmla="*/ 2970710 w 8009775"/>
              <a:gd name="connsiteY84" fmla="*/ 1776095 h 6858000"/>
              <a:gd name="connsiteX85" fmla="*/ 2968937 w 8009775"/>
              <a:gd name="connsiteY85" fmla="*/ 1770380 h 6858000"/>
              <a:gd name="connsiteX86" fmla="*/ 2967755 w 8009775"/>
              <a:gd name="connsiteY86" fmla="*/ 1764665 h 6858000"/>
              <a:gd name="connsiteX87" fmla="*/ 2966868 w 8009775"/>
              <a:gd name="connsiteY87" fmla="*/ 1758634 h 6858000"/>
              <a:gd name="connsiteX88" fmla="*/ 2965981 w 8009775"/>
              <a:gd name="connsiteY88" fmla="*/ 1752919 h 6858000"/>
              <a:gd name="connsiteX89" fmla="*/ 2965686 w 8009775"/>
              <a:gd name="connsiteY89" fmla="*/ 1746885 h 6858000"/>
              <a:gd name="connsiteX90" fmla="*/ 2965686 w 8009775"/>
              <a:gd name="connsiteY90" fmla="*/ 1741170 h 6858000"/>
              <a:gd name="connsiteX91" fmla="*/ 2965686 w 8009775"/>
              <a:gd name="connsiteY91" fmla="*/ 1735139 h 6858000"/>
              <a:gd name="connsiteX92" fmla="*/ 2965981 w 8009775"/>
              <a:gd name="connsiteY92" fmla="*/ 1729424 h 6858000"/>
              <a:gd name="connsiteX93" fmla="*/ 2966868 w 8009775"/>
              <a:gd name="connsiteY93" fmla="*/ 1723074 h 6858000"/>
              <a:gd name="connsiteX94" fmla="*/ 2967755 w 8009775"/>
              <a:gd name="connsiteY94" fmla="*/ 1717358 h 6858000"/>
              <a:gd name="connsiteX95" fmla="*/ 2968937 w 8009775"/>
              <a:gd name="connsiteY95" fmla="*/ 1711643 h 6858000"/>
              <a:gd name="connsiteX96" fmla="*/ 2970710 w 8009775"/>
              <a:gd name="connsiteY96" fmla="*/ 1705929 h 6858000"/>
              <a:gd name="connsiteX97" fmla="*/ 2972484 w 8009775"/>
              <a:gd name="connsiteY97" fmla="*/ 1700214 h 6858000"/>
              <a:gd name="connsiteX98" fmla="*/ 2974552 w 8009775"/>
              <a:gd name="connsiteY98" fmla="*/ 1694816 h 6858000"/>
              <a:gd name="connsiteX99" fmla="*/ 2976917 w 8009775"/>
              <a:gd name="connsiteY99" fmla="*/ 1689101 h 6858000"/>
              <a:gd name="connsiteX100" fmla="*/ 2979873 w 8009775"/>
              <a:gd name="connsiteY100" fmla="*/ 1683703 h 6858000"/>
              <a:gd name="connsiteX101" fmla="*/ 2982533 w 8009775"/>
              <a:gd name="connsiteY101" fmla="*/ 1678305 h 6858000"/>
              <a:gd name="connsiteX102" fmla="*/ 2985784 w 8009775"/>
              <a:gd name="connsiteY102" fmla="*/ 1673226 h 6858000"/>
              <a:gd name="connsiteX103" fmla="*/ 2989331 w 8009775"/>
              <a:gd name="connsiteY103" fmla="*/ 1668145 h 6858000"/>
              <a:gd name="connsiteX104" fmla="*/ 2992878 w 8009775"/>
              <a:gd name="connsiteY104" fmla="*/ 1663066 h 6858000"/>
              <a:gd name="connsiteX105" fmla="*/ 2997311 w 8009775"/>
              <a:gd name="connsiteY105" fmla="*/ 1658621 h 6858000"/>
              <a:gd name="connsiteX106" fmla="*/ 3001744 w 8009775"/>
              <a:gd name="connsiteY106" fmla="*/ 1653859 h 6858000"/>
              <a:gd name="connsiteX107" fmla="*/ 3006178 w 8009775"/>
              <a:gd name="connsiteY107" fmla="*/ 1649414 h 6858000"/>
              <a:gd name="connsiteX108" fmla="*/ 3010907 w 8009775"/>
              <a:gd name="connsiteY108" fmla="*/ 1645603 h 6858000"/>
              <a:gd name="connsiteX109" fmla="*/ 3015932 w 8009775"/>
              <a:gd name="connsiteY109" fmla="*/ 1641794 h 6858000"/>
              <a:gd name="connsiteX110" fmla="*/ 3020956 w 8009775"/>
              <a:gd name="connsiteY110" fmla="*/ 1637984 h 6858000"/>
              <a:gd name="connsiteX111" fmla="*/ 3025981 w 8009775"/>
              <a:gd name="connsiteY111" fmla="*/ 1634809 h 6858000"/>
              <a:gd name="connsiteX112" fmla="*/ 3031596 w 8009775"/>
              <a:gd name="connsiteY112" fmla="*/ 1631950 h 6858000"/>
              <a:gd name="connsiteX113" fmla="*/ 3036916 w 8009775"/>
              <a:gd name="connsiteY113" fmla="*/ 1629094 h 6858000"/>
              <a:gd name="connsiteX114" fmla="*/ 3042532 w 8009775"/>
              <a:gd name="connsiteY114" fmla="*/ 1626871 h 6858000"/>
              <a:gd name="connsiteX115" fmla="*/ 3047852 w 8009775"/>
              <a:gd name="connsiteY115" fmla="*/ 1624649 h 6858000"/>
              <a:gd name="connsiteX116" fmla="*/ 3053764 w 8009775"/>
              <a:gd name="connsiteY116" fmla="*/ 1623061 h 6858000"/>
              <a:gd name="connsiteX117" fmla="*/ 3059379 w 8009775"/>
              <a:gd name="connsiteY117" fmla="*/ 1621155 h 6858000"/>
              <a:gd name="connsiteX118" fmla="*/ 3065291 w 8009775"/>
              <a:gd name="connsiteY118" fmla="*/ 1620204 h 6858000"/>
              <a:gd name="connsiteX119" fmla="*/ 3070906 w 8009775"/>
              <a:gd name="connsiteY119" fmla="*/ 1618934 h 6858000"/>
              <a:gd name="connsiteX120" fmla="*/ 3077113 w 8009775"/>
              <a:gd name="connsiteY120" fmla="*/ 1618299 h 6858000"/>
              <a:gd name="connsiteX121" fmla="*/ 3082729 w 8009775"/>
              <a:gd name="connsiteY121" fmla="*/ 1617981 h 6858000"/>
              <a:gd name="connsiteX122" fmla="*/ 3088936 w 8009775"/>
              <a:gd name="connsiteY122" fmla="*/ 1617981 h 6858000"/>
              <a:gd name="connsiteX123" fmla="*/ 3094552 w 8009775"/>
              <a:gd name="connsiteY123" fmla="*/ 1617981 h 6858000"/>
              <a:gd name="connsiteX124" fmla="*/ 3100758 w 8009775"/>
              <a:gd name="connsiteY124" fmla="*/ 1618299 h 6858000"/>
              <a:gd name="connsiteX125" fmla="*/ 3106670 w 8009775"/>
              <a:gd name="connsiteY125" fmla="*/ 1618934 h 6858000"/>
              <a:gd name="connsiteX126" fmla="*/ 3112285 w 8009775"/>
              <a:gd name="connsiteY126" fmla="*/ 1620204 h 6858000"/>
              <a:gd name="connsiteX127" fmla="*/ 3117901 w 8009775"/>
              <a:gd name="connsiteY127" fmla="*/ 1621155 h 6858000"/>
              <a:gd name="connsiteX128" fmla="*/ 3123812 w 8009775"/>
              <a:gd name="connsiteY128" fmla="*/ 1623061 h 6858000"/>
              <a:gd name="connsiteX129" fmla="*/ 3129428 w 8009775"/>
              <a:gd name="connsiteY129" fmla="*/ 1624649 h 6858000"/>
              <a:gd name="connsiteX130" fmla="*/ 3135339 w 8009775"/>
              <a:gd name="connsiteY130" fmla="*/ 1626871 h 6858000"/>
              <a:gd name="connsiteX131" fmla="*/ 3140660 w 8009775"/>
              <a:gd name="connsiteY131" fmla="*/ 1629094 h 6858000"/>
              <a:gd name="connsiteX132" fmla="*/ 3145980 w 8009775"/>
              <a:gd name="connsiteY132" fmla="*/ 1631950 h 6858000"/>
              <a:gd name="connsiteX133" fmla="*/ 3151300 w 8009775"/>
              <a:gd name="connsiteY133" fmla="*/ 1634809 h 6858000"/>
              <a:gd name="connsiteX134" fmla="*/ 3156324 w 8009775"/>
              <a:gd name="connsiteY134" fmla="*/ 1637984 h 6858000"/>
              <a:gd name="connsiteX135" fmla="*/ 3161349 w 8009775"/>
              <a:gd name="connsiteY135" fmla="*/ 1641794 h 6858000"/>
              <a:gd name="connsiteX136" fmla="*/ 3166374 w 8009775"/>
              <a:gd name="connsiteY136" fmla="*/ 1645603 h 6858000"/>
              <a:gd name="connsiteX137" fmla="*/ 3171102 w 8009775"/>
              <a:gd name="connsiteY137" fmla="*/ 1649414 h 6858000"/>
              <a:gd name="connsiteX138" fmla="*/ 3175832 w 8009775"/>
              <a:gd name="connsiteY138" fmla="*/ 1653859 h 6858000"/>
              <a:gd name="connsiteX139" fmla="*/ 3844692 w 8009775"/>
              <a:gd name="connsiteY139" fmla="*/ 2322830 h 6858000"/>
              <a:gd name="connsiteX140" fmla="*/ 3849421 w 8009775"/>
              <a:gd name="connsiteY140" fmla="*/ 2326958 h 6858000"/>
              <a:gd name="connsiteX141" fmla="*/ 3854150 w 8009775"/>
              <a:gd name="connsiteY141" fmla="*/ 2331085 h 6858000"/>
              <a:gd name="connsiteX142" fmla="*/ 3859175 w 8009775"/>
              <a:gd name="connsiteY142" fmla="*/ 2334895 h 6858000"/>
              <a:gd name="connsiteX143" fmla="*/ 3864199 w 8009775"/>
              <a:gd name="connsiteY143" fmla="*/ 2338705 h 6858000"/>
              <a:gd name="connsiteX144" fmla="*/ 3869224 w 8009775"/>
              <a:gd name="connsiteY144" fmla="*/ 2341880 h 6858000"/>
              <a:gd name="connsiteX145" fmla="*/ 3874544 w 8009775"/>
              <a:gd name="connsiteY145" fmla="*/ 2344738 h 6858000"/>
              <a:gd name="connsiteX146" fmla="*/ 3879864 w 8009775"/>
              <a:gd name="connsiteY146" fmla="*/ 2347595 h 6858000"/>
              <a:gd name="connsiteX147" fmla="*/ 3885775 w 8009775"/>
              <a:gd name="connsiteY147" fmla="*/ 2349818 h 6858000"/>
              <a:gd name="connsiteX148" fmla="*/ 3891096 w 8009775"/>
              <a:gd name="connsiteY148" fmla="*/ 2351723 h 6858000"/>
              <a:gd name="connsiteX149" fmla="*/ 3896711 w 8009775"/>
              <a:gd name="connsiteY149" fmla="*/ 2353628 h 6858000"/>
              <a:gd name="connsiteX150" fmla="*/ 3902623 w 8009775"/>
              <a:gd name="connsiteY150" fmla="*/ 2355534 h 6858000"/>
              <a:gd name="connsiteX151" fmla="*/ 3908238 w 8009775"/>
              <a:gd name="connsiteY151" fmla="*/ 2356485 h 6858000"/>
              <a:gd name="connsiteX152" fmla="*/ 3914150 w 8009775"/>
              <a:gd name="connsiteY152" fmla="*/ 2357755 h 6858000"/>
              <a:gd name="connsiteX153" fmla="*/ 3920061 w 8009775"/>
              <a:gd name="connsiteY153" fmla="*/ 2358391 h 6858000"/>
              <a:gd name="connsiteX154" fmla="*/ 3925972 w 8009775"/>
              <a:gd name="connsiteY154" fmla="*/ 2358708 h 6858000"/>
              <a:gd name="connsiteX155" fmla="*/ 3931883 w 8009775"/>
              <a:gd name="connsiteY155" fmla="*/ 2358708 h 6858000"/>
              <a:gd name="connsiteX156" fmla="*/ 3937795 w 8009775"/>
              <a:gd name="connsiteY156" fmla="*/ 2358708 h 6858000"/>
              <a:gd name="connsiteX157" fmla="*/ 3943706 w 8009775"/>
              <a:gd name="connsiteY157" fmla="*/ 2358391 h 6858000"/>
              <a:gd name="connsiteX158" fmla="*/ 3949617 w 8009775"/>
              <a:gd name="connsiteY158" fmla="*/ 2357755 h 6858000"/>
              <a:gd name="connsiteX159" fmla="*/ 3955233 w 8009775"/>
              <a:gd name="connsiteY159" fmla="*/ 2356485 h 6858000"/>
              <a:gd name="connsiteX160" fmla="*/ 3961144 w 8009775"/>
              <a:gd name="connsiteY160" fmla="*/ 2355534 h 6858000"/>
              <a:gd name="connsiteX161" fmla="*/ 3966760 w 8009775"/>
              <a:gd name="connsiteY161" fmla="*/ 2353628 h 6858000"/>
              <a:gd name="connsiteX162" fmla="*/ 3972671 w 8009775"/>
              <a:gd name="connsiteY162" fmla="*/ 2351723 h 6858000"/>
              <a:gd name="connsiteX163" fmla="*/ 3978287 w 8009775"/>
              <a:gd name="connsiteY163" fmla="*/ 2349818 h 6858000"/>
              <a:gd name="connsiteX164" fmla="*/ 3983607 w 8009775"/>
              <a:gd name="connsiteY164" fmla="*/ 2347595 h 6858000"/>
              <a:gd name="connsiteX165" fmla="*/ 3989223 w 8009775"/>
              <a:gd name="connsiteY165" fmla="*/ 2344738 h 6858000"/>
              <a:gd name="connsiteX166" fmla="*/ 3994543 w 8009775"/>
              <a:gd name="connsiteY166" fmla="*/ 2341880 h 6858000"/>
              <a:gd name="connsiteX167" fmla="*/ 3999567 w 8009775"/>
              <a:gd name="connsiteY167" fmla="*/ 2338705 h 6858000"/>
              <a:gd name="connsiteX168" fmla="*/ 4004888 w 8009775"/>
              <a:gd name="connsiteY168" fmla="*/ 2334895 h 6858000"/>
              <a:gd name="connsiteX169" fmla="*/ 4009617 w 8009775"/>
              <a:gd name="connsiteY169" fmla="*/ 2331085 h 6858000"/>
              <a:gd name="connsiteX170" fmla="*/ 4014346 w 8009775"/>
              <a:gd name="connsiteY170" fmla="*/ 2326958 h 6858000"/>
              <a:gd name="connsiteX171" fmla="*/ 4018779 w 8009775"/>
              <a:gd name="connsiteY171" fmla="*/ 2322830 h 6858000"/>
              <a:gd name="connsiteX172" fmla="*/ 4023213 w 8009775"/>
              <a:gd name="connsiteY172" fmla="*/ 2318068 h 6858000"/>
              <a:gd name="connsiteX173" fmla="*/ 4027646 w 8009775"/>
              <a:gd name="connsiteY173" fmla="*/ 2313306 h 6858000"/>
              <a:gd name="connsiteX174" fmla="*/ 4031193 w 8009775"/>
              <a:gd name="connsiteY174" fmla="*/ 2308544 h 6858000"/>
              <a:gd name="connsiteX175" fmla="*/ 4034740 w 8009775"/>
              <a:gd name="connsiteY175" fmla="*/ 2303463 h 6858000"/>
              <a:gd name="connsiteX176" fmla="*/ 4037991 w 8009775"/>
              <a:gd name="connsiteY176" fmla="*/ 2298384 h 6858000"/>
              <a:gd name="connsiteX177" fmla="*/ 4040946 w 8009775"/>
              <a:gd name="connsiteY177" fmla="*/ 2292985 h 6858000"/>
              <a:gd name="connsiteX178" fmla="*/ 4043606 w 8009775"/>
              <a:gd name="connsiteY178" fmla="*/ 2287588 h 6858000"/>
              <a:gd name="connsiteX179" fmla="*/ 4046267 w 8009775"/>
              <a:gd name="connsiteY179" fmla="*/ 2281873 h 6858000"/>
              <a:gd name="connsiteX180" fmla="*/ 4048040 w 8009775"/>
              <a:gd name="connsiteY180" fmla="*/ 2276476 h 6858000"/>
              <a:gd name="connsiteX181" fmla="*/ 4050109 w 8009775"/>
              <a:gd name="connsiteY181" fmla="*/ 2270761 h 6858000"/>
              <a:gd name="connsiteX182" fmla="*/ 4051587 w 8009775"/>
              <a:gd name="connsiteY182" fmla="*/ 2265046 h 6858000"/>
              <a:gd name="connsiteX183" fmla="*/ 4052769 w 8009775"/>
              <a:gd name="connsiteY183" fmla="*/ 2259331 h 6858000"/>
              <a:gd name="connsiteX184" fmla="*/ 4053656 w 8009775"/>
              <a:gd name="connsiteY184" fmla="*/ 2253298 h 6858000"/>
              <a:gd name="connsiteX185" fmla="*/ 4054542 w 8009775"/>
              <a:gd name="connsiteY185" fmla="*/ 2247266 h 6858000"/>
              <a:gd name="connsiteX186" fmla="*/ 4054838 w 8009775"/>
              <a:gd name="connsiteY186" fmla="*/ 2241551 h 6858000"/>
              <a:gd name="connsiteX187" fmla="*/ 4055133 w 8009775"/>
              <a:gd name="connsiteY187" fmla="*/ 2235519 h 6858000"/>
              <a:gd name="connsiteX188" fmla="*/ 4054838 w 8009775"/>
              <a:gd name="connsiteY188" fmla="*/ 2229804 h 6858000"/>
              <a:gd name="connsiteX189" fmla="*/ 4054542 w 8009775"/>
              <a:gd name="connsiteY189" fmla="*/ 2223770 h 6858000"/>
              <a:gd name="connsiteX190" fmla="*/ 4053656 w 8009775"/>
              <a:gd name="connsiteY190" fmla="*/ 2217739 h 6858000"/>
              <a:gd name="connsiteX191" fmla="*/ 4052769 w 8009775"/>
              <a:gd name="connsiteY191" fmla="*/ 2212024 h 6858000"/>
              <a:gd name="connsiteX192" fmla="*/ 4051587 w 8009775"/>
              <a:gd name="connsiteY192" fmla="*/ 2206309 h 6858000"/>
              <a:gd name="connsiteX193" fmla="*/ 4050109 w 8009775"/>
              <a:gd name="connsiteY193" fmla="*/ 2200593 h 6858000"/>
              <a:gd name="connsiteX194" fmla="*/ 4048040 w 8009775"/>
              <a:gd name="connsiteY194" fmla="*/ 2194878 h 6858000"/>
              <a:gd name="connsiteX195" fmla="*/ 4046267 w 8009775"/>
              <a:gd name="connsiteY195" fmla="*/ 2189163 h 6858000"/>
              <a:gd name="connsiteX196" fmla="*/ 4043606 w 8009775"/>
              <a:gd name="connsiteY196" fmla="*/ 2183765 h 6858000"/>
              <a:gd name="connsiteX197" fmla="*/ 4040946 w 8009775"/>
              <a:gd name="connsiteY197" fmla="*/ 2178368 h 6858000"/>
              <a:gd name="connsiteX198" fmla="*/ 4037991 w 8009775"/>
              <a:gd name="connsiteY198" fmla="*/ 2172970 h 6858000"/>
              <a:gd name="connsiteX199" fmla="*/ 4034740 w 8009775"/>
              <a:gd name="connsiteY199" fmla="*/ 2167890 h 6858000"/>
              <a:gd name="connsiteX200" fmla="*/ 4031193 w 8009775"/>
              <a:gd name="connsiteY200" fmla="*/ 2162494 h 6858000"/>
              <a:gd name="connsiteX201" fmla="*/ 4027646 w 8009775"/>
              <a:gd name="connsiteY201" fmla="*/ 2157730 h 6858000"/>
              <a:gd name="connsiteX202" fmla="*/ 4023213 w 8009775"/>
              <a:gd name="connsiteY202" fmla="*/ 2153285 h 6858000"/>
              <a:gd name="connsiteX203" fmla="*/ 4018779 w 8009775"/>
              <a:gd name="connsiteY203" fmla="*/ 2148523 h 6858000"/>
              <a:gd name="connsiteX204" fmla="*/ 3632182 w 8009775"/>
              <a:gd name="connsiteY204" fmla="*/ 1761490 h 6858000"/>
              <a:gd name="connsiteX205" fmla="*/ 3435928 w 8009775"/>
              <a:gd name="connsiteY205" fmla="*/ 1565276 h 6858000"/>
              <a:gd name="connsiteX206" fmla="*/ 3431198 w 8009775"/>
              <a:gd name="connsiteY206" fmla="*/ 1560514 h 6858000"/>
              <a:gd name="connsiteX207" fmla="*/ 3427356 w 8009775"/>
              <a:gd name="connsiteY207" fmla="*/ 1555751 h 6858000"/>
              <a:gd name="connsiteX208" fmla="*/ 3423218 w 8009775"/>
              <a:gd name="connsiteY208" fmla="*/ 1550671 h 6858000"/>
              <a:gd name="connsiteX209" fmla="*/ 3420262 w 8009775"/>
              <a:gd name="connsiteY209" fmla="*/ 1545909 h 6858000"/>
              <a:gd name="connsiteX210" fmla="*/ 3417012 w 8009775"/>
              <a:gd name="connsiteY210" fmla="*/ 1540829 h 6858000"/>
              <a:gd name="connsiteX211" fmla="*/ 3413760 w 8009775"/>
              <a:gd name="connsiteY211" fmla="*/ 1535430 h 6858000"/>
              <a:gd name="connsiteX212" fmla="*/ 3411100 w 8009775"/>
              <a:gd name="connsiteY212" fmla="*/ 1530034 h 6858000"/>
              <a:gd name="connsiteX213" fmla="*/ 3408736 w 8009775"/>
              <a:gd name="connsiteY213" fmla="*/ 1524635 h 6858000"/>
              <a:gd name="connsiteX214" fmla="*/ 3406371 w 8009775"/>
              <a:gd name="connsiteY214" fmla="*/ 1518920 h 6858000"/>
              <a:gd name="connsiteX215" fmla="*/ 3404598 w 8009775"/>
              <a:gd name="connsiteY215" fmla="*/ 1513205 h 6858000"/>
              <a:gd name="connsiteX216" fmla="*/ 3403120 w 8009775"/>
              <a:gd name="connsiteY216" fmla="*/ 1507174 h 6858000"/>
              <a:gd name="connsiteX217" fmla="*/ 3401938 w 8009775"/>
              <a:gd name="connsiteY217" fmla="*/ 1501459 h 6858000"/>
              <a:gd name="connsiteX218" fmla="*/ 3401051 w 8009775"/>
              <a:gd name="connsiteY218" fmla="*/ 1495744 h 6858000"/>
              <a:gd name="connsiteX219" fmla="*/ 3400460 w 8009775"/>
              <a:gd name="connsiteY219" fmla="*/ 1489710 h 6858000"/>
              <a:gd name="connsiteX220" fmla="*/ 3399869 w 8009775"/>
              <a:gd name="connsiteY220" fmla="*/ 1483995 h 6858000"/>
              <a:gd name="connsiteX221" fmla="*/ 3399573 w 8009775"/>
              <a:gd name="connsiteY221" fmla="*/ 1478281 h 6858000"/>
              <a:gd name="connsiteX222" fmla="*/ 3399869 w 8009775"/>
              <a:gd name="connsiteY222" fmla="*/ 1472249 h 6858000"/>
              <a:gd name="connsiteX223" fmla="*/ 3400460 w 8009775"/>
              <a:gd name="connsiteY223" fmla="*/ 1466215 h 6858000"/>
              <a:gd name="connsiteX224" fmla="*/ 3401051 w 8009775"/>
              <a:gd name="connsiteY224" fmla="*/ 1460183 h 6858000"/>
              <a:gd name="connsiteX225" fmla="*/ 3401938 w 8009775"/>
              <a:gd name="connsiteY225" fmla="*/ 1454468 h 6858000"/>
              <a:gd name="connsiteX226" fmla="*/ 3403120 w 8009775"/>
              <a:gd name="connsiteY226" fmla="*/ 1448754 h 6858000"/>
              <a:gd name="connsiteX227" fmla="*/ 3404598 w 8009775"/>
              <a:gd name="connsiteY227" fmla="*/ 1443039 h 6858000"/>
              <a:gd name="connsiteX228" fmla="*/ 3406371 w 8009775"/>
              <a:gd name="connsiteY228" fmla="*/ 1437324 h 6858000"/>
              <a:gd name="connsiteX229" fmla="*/ 3408736 w 8009775"/>
              <a:gd name="connsiteY229" fmla="*/ 1431609 h 6858000"/>
              <a:gd name="connsiteX230" fmla="*/ 3411100 w 8009775"/>
              <a:gd name="connsiteY230" fmla="*/ 1426211 h 6858000"/>
              <a:gd name="connsiteX231" fmla="*/ 3413760 w 8009775"/>
              <a:gd name="connsiteY231" fmla="*/ 1420814 h 6858000"/>
              <a:gd name="connsiteX232" fmla="*/ 3417012 w 8009775"/>
              <a:gd name="connsiteY232" fmla="*/ 1415416 h 6858000"/>
              <a:gd name="connsiteX233" fmla="*/ 3420262 w 8009775"/>
              <a:gd name="connsiteY233" fmla="*/ 1410336 h 6858000"/>
              <a:gd name="connsiteX234" fmla="*/ 3423218 w 8009775"/>
              <a:gd name="connsiteY234" fmla="*/ 1405256 h 6858000"/>
              <a:gd name="connsiteX235" fmla="*/ 3427356 w 8009775"/>
              <a:gd name="connsiteY235" fmla="*/ 1400175 h 6858000"/>
              <a:gd name="connsiteX236" fmla="*/ 3431198 w 8009775"/>
              <a:gd name="connsiteY236" fmla="*/ 1395731 h 6858000"/>
              <a:gd name="connsiteX237" fmla="*/ 3435928 w 8009775"/>
              <a:gd name="connsiteY237" fmla="*/ 1390969 h 6858000"/>
              <a:gd name="connsiteX238" fmla="*/ 3440361 w 8009775"/>
              <a:gd name="connsiteY238" fmla="*/ 1386524 h 6858000"/>
              <a:gd name="connsiteX239" fmla="*/ 3445386 w 8009775"/>
              <a:gd name="connsiteY239" fmla="*/ 1382396 h 6858000"/>
              <a:gd name="connsiteX240" fmla="*/ 3449819 w 8009775"/>
              <a:gd name="connsiteY240" fmla="*/ 1378585 h 6858000"/>
              <a:gd name="connsiteX241" fmla="*/ 3454844 w 8009775"/>
              <a:gd name="connsiteY241" fmla="*/ 1375094 h 6858000"/>
              <a:gd name="connsiteX242" fmla="*/ 3460459 w 8009775"/>
              <a:gd name="connsiteY242" fmla="*/ 1371919 h 6858000"/>
              <a:gd name="connsiteX243" fmla="*/ 3465780 w 8009775"/>
              <a:gd name="connsiteY243" fmla="*/ 1369061 h 6858000"/>
              <a:gd name="connsiteX244" fmla="*/ 3471100 w 8009775"/>
              <a:gd name="connsiteY244" fmla="*/ 1366204 h 6858000"/>
              <a:gd name="connsiteX245" fmla="*/ 3476420 w 8009775"/>
              <a:gd name="connsiteY245" fmla="*/ 1363980 h 6858000"/>
              <a:gd name="connsiteX246" fmla="*/ 3482331 w 8009775"/>
              <a:gd name="connsiteY246" fmla="*/ 1361759 h 6858000"/>
              <a:gd name="connsiteX247" fmla="*/ 3487947 w 8009775"/>
              <a:gd name="connsiteY247" fmla="*/ 1360170 h 6858000"/>
              <a:gd name="connsiteX248" fmla="*/ 3493858 w 8009775"/>
              <a:gd name="connsiteY248" fmla="*/ 1358265 h 6858000"/>
              <a:gd name="connsiteX249" fmla="*/ 3499474 w 8009775"/>
              <a:gd name="connsiteY249" fmla="*/ 1357314 h 6858000"/>
              <a:gd name="connsiteX250" fmla="*/ 3505385 w 8009775"/>
              <a:gd name="connsiteY250" fmla="*/ 1356043 h 6858000"/>
              <a:gd name="connsiteX251" fmla="*/ 3511001 w 8009775"/>
              <a:gd name="connsiteY251" fmla="*/ 1355409 h 6858000"/>
              <a:gd name="connsiteX252" fmla="*/ 3517208 w 8009775"/>
              <a:gd name="connsiteY252" fmla="*/ 1355090 h 6858000"/>
              <a:gd name="connsiteX253" fmla="*/ 3522823 w 8009775"/>
              <a:gd name="connsiteY253" fmla="*/ 1354773 h 6858000"/>
              <a:gd name="connsiteX254" fmla="*/ 3529030 w 8009775"/>
              <a:gd name="connsiteY254" fmla="*/ 1355090 h 6858000"/>
              <a:gd name="connsiteX255" fmla="*/ 3534646 w 8009775"/>
              <a:gd name="connsiteY255" fmla="*/ 1355409 h 6858000"/>
              <a:gd name="connsiteX256" fmla="*/ 3540557 w 8009775"/>
              <a:gd name="connsiteY256" fmla="*/ 1356043 h 6858000"/>
              <a:gd name="connsiteX257" fmla="*/ 3546468 w 8009775"/>
              <a:gd name="connsiteY257" fmla="*/ 1357314 h 6858000"/>
              <a:gd name="connsiteX258" fmla="*/ 3552380 w 8009775"/>
              <a:gd name="connsiteY258" fmla="*/ 1358265 h 6858000"/>
              <a:gd name="connsiteX259" fmla="*/ 3557995 w 8009775"/>
              <a:gd name="connsiteY259" fmla="*/ 1360170 h 6858000"/>
              <a:gd name="connsiteX260" fmla="*/ 3563906 w 8009775"/>
              <a:gd name="connsiteY260" fmla="*/ 1361759 h 6858000"/>
              <a:gd name="connsiteX261" fmla="*/ 3569227 w 8009775"/>
              <a:gd name="connsiteY261" fmla="*/ 1363980 h 6858000"/>
              <a:gd name="connsiteX262" fmla="*/ 3574842 w 8009775"/>
              <a:gd name="connsiteY262" fmla="*/ 1366204 h 6858000"/>
              <a:gd name="connsiteX263" fmla="*/ 3580458 w 8009775"/>
              <a:gd name="connsiteY263" fmla="*/ 1369061 h 6858000"/>
              <a:gd name="connsiteX264" fmla="*/ 3585778 w 8009775"/>
              <a:gd name="connsiteY264" fmla="*/ 1371919 h 6858000"/>
              <a:gd name="connsiteX265" fmla="*/ 3590803 w 8009775"/>
              <a:gd name="connsiteY265" fmla="*/ 1375094 h 6858000"/>
              <a:gd name="connsiteX266" fmla="*/ 3595828 w 8009775"/>
              <a:gd name="connsiteY266" fmla="*/ 1378585 h 6858000"/>
              <a:gd name="connsiteX267" fmla="*/ 3600852 w 8009775"/>
              <a:gd name="connsiteY267" fmla="*/ 1382396 h 6858000"/>
              <a:gd name="connsiteX268" fmla="*/ 3605581 w 8009775"/>
              <a:gd name="connsiteY268" fmla="*/ 1386524 h 6858000"/>
              <a:gd name="connsiteX269" fmla="*/ 3610014 w 8009775"/>
              <a:gd name="connsiteY269" fmla="*/ 1390969 h 6858000"/>
              <a:gd name="connsiteX270" fmla="*/ 3817500 w 8009775"/>
              <a:gd name="connsiteY270" fmla="*/ 1598296 h 6858000"/>
              <a:gd name="connsiteX271" fmla="*/ 3821934 w 8009775"/>
              <a:gd name="connsiteY271" fmla="*/ 1602423 h 6858000"/>
              <a:gd name="connsiteX272" fmla="*/ 3826663 w 8009775"/>
              <a:gd name="connsiteY272" fmla="*/ 1606869 h 6858000"/>
              <a:gd name="connsiteX273" fmla="*/ 3831687 w 8009775"/>
              <a:gd name="connsiteY273" fmla="*/ 1610361 h 6858000"/>
              <a:gd name="connsiteX274" fmla="*/ 3836712 w 8009775"/>
              <a:gd name="connsiteY274" fmla="*/ 1613854 h 6858000"/>
              <a:gd name="connsiteX275" fmla="*/ 3841736 w 8009775"/>
              <a:gd name="connsiteY275" fmla="*/ 1617345 h 6858000"/>
              <a:gd name="connsiteX276" fmla="*/ 3847352 w 8009775"/>
              <a:gd name="connsiteY276" fmla="*/ 1620204 h 6858000"/>
              <a:gd name="connsiteX277" fmla="*/ 3852672 w 8009775"/>
              <a:gd name="connsiteY277" fmla="*/ 1623061 h 6858000"/>
              <a:gd name="connsiteX278" fmla="*/ 3857992 w 8009775"/>
              <a:gd name="connsiteY278" fmla="*/ 1625283 h 6858000"/>
              <a:gd name="connsiteX279" fmla="*/ 3863608 w 8009775"/>
              <a:gd name="connsiteY279" fmla="*/ 1627189 h 6858000"/>
              <a:gd name="connsiteX280" fmla="*/ 3869519 w 8009775"/>
              <a:gd name="connsiteY280" fmla="*/ 1629094 h 6858000"/>
              <a:gd name="connsiteX281" fmla="*/ 3875135 w 8009775"/>
              <a:gd name="connsiteY281" fmla="*/ 1630998 h 6858000"/>
              <a:gd name="connsiteX282" fmla="*/ 3881046 w 8009775"/>
              <a:gd name="connsiteY282" fmla="*/ 1631950 h 6858000"/>
              <a:gd name="connsiteX283" fmla="*/ 3886662 w 8009775"/>
              <a:gd name="connsiteY283" fmla="*/ 1632904 h 6858000"/>
              <a:gd name="connsiteX284" fmla="*/ 3892869 w 8009775"/>
              <a:gd name="connsiteY284" fmla="*/ 1633856 h 6858000"/>
              <a:gd name="connsiteX285" fmla="*/ 3898485 w 8009775"/>
              <a:gd name="connsiteY285" fmla="*/ 1634174 h 6858000"/>
              <a:gd name="connsiteX286" fmla="*/ 3904396 w 8009775"/>
              <a:gd name="connsiteY286" fmla="*/ 1634174 h 6858000"/>
              <a:gd name="connsiteX287" fmla="*/ 3910307 w 8009775"/>
              <a:gd name="connsiteY287" fmla="*/ 1634174 h 6858000"/>
              <a:gd name="connsiteX288" fmla="*/ 3916219 w 8009775"/>
              <a:gd name="connsiteY288" fmla="*/ 1633856 h 6858000"/>
              <a:gd name="connsiteX289" fmla="*/ 3922425 w 8009775"/>
              <a:gd name="connsiteY289" fmla="*/ 1632904 h 6858000"/>
              <a:gd name="connsiteX290" fmla="*/ 3928041 w 8009775"/>
              <a:gd name="connsiteY290" fmla="*/ 1631950 h 6858000"/>
              <a:gd name="connsiteX291" fmla="*/ 3933657 w 8009775"/>
              <a:gd name="connsiteY291" fmla="*/ 1630998 h 6858000"/>
              <a:gd name="connsiteX292" fmla="*/ 3939568 w 8009775"/>
              <a:gd name="connsiteY292" fmla="*/ 1629094 h 6858000"/>
              <a:gd name="connsiteX293" fmla="*/ 3945184 w 8009775"/>
              <a:gd name="connsiteY293" fmla="*/ 1627189 h 6858000"/>
              <a:gd name="connsiteX294" fmla="*/ 3950799 w 8009775"/>
              <a:gd name="connsiteY294" fmla="*/ 1625283 h 6858000"/>
              <a:gd name="connsiteX295" fmla="*/ 3956415 w 8009775"/>
              <a:gd name="connsiteY295" fmla="*/ 1623061 h 6858000"/>
              <a:gd name="connsiteX296" fmla="*/ 3961735 w 8009775"/>
              <a:gd name="connsiteY296" fmla="*/ 1620204 h 6858000"/>
              <a:gd name="connsiteX297" fmla="*/ 3967055 w 8009775"/>
              <a:gd name="connsiteY297" fmla="*/ 1617345 h 6858000"/>
              <a:gd name="connsiteX298" fmla="*/ 3972376 w 8009775"/>
              <a:gd name="connsiteY298" fmla="*/ 1613854 h 6858000"/>
              <a:gd name="connsiteX299" fmla="*/ 3977400 w 8009775"/>
              <a:gd name="connsiteY299" fmla="*/ 1610361 h 6858000"/>
              <a:gd name="connsiteX300" fmla="*/ 3982425 w 8009775"/>
              <a:gd name="connsiteY300" fmla="*/ 1606869 h 6858000"/>
              <a:gd name="connsiteX301" fmla="*/ 3986858 w 8009775"/>
              <a:gd name="connsiteY301" fmla="*/ 1602423 h 6858000"/>
              <a:gd name="connsiteX302" fmla="*/ 3991587 w 8009775"/>
              <a:gd name="connsiteY302" fmla="*/ 1598296 h 6858000"/>
              <a:gd name="connsiteX303" fmla="*/ 3996021 w 8009775"/>
              <a:gd name="connsiteY303" fmla="*/ 1593533 h 6858000"/>
              <a:gd name="connsiteX304" fmla="*/ 4000159 w 8009775"/>
              <a:gd name="connsiteY304" fmla="*/ 1588771 h 6858000"/>
              <a:gd name="connsiteX305" fmla="*/ 4003705 w 8009775"/>
              <a:gd name="connsiteY305" fmla="*/ 1583691 h 6858000"/>
              <a:gd name="connsiteX306" fmla="*/ 4007548 w 8009775"/>
              <a:gd name="connsiteY306" fmla="*/ 1578928 h 6858000"/>
              <a:gd name="connsiteX307" fmla="*/ 4010799 w 8009775"/>
              <a:gd name="connsiteY307" fmla="*/ 1573849 h 6858000"/>
              <a:gd name="connsiteX308" fmla="*/ 4013459 w 8009775"/>
              <a:gd name="connsiteY308" fmla="*/ 1568451 h 6858000"/>
              <a:gd name="connsiteX309" fmla="*/ 4016415 w 8009775"/>
              <a:gd name="connsiteY309" fmla="*/ 1563054 h 6858000"/>
              <a:gd name="connsiteX310" fmla="*/ 4018484 w 8009775"/>
              <a:gd name="connsiteY310" fmla="*/ 1557339 h 6858000"/>
              <a:gd name="connsiteX311" fmla="*/ 4020848 w 8009775"/>
              <a:gd name="connsiteY311" fmla="*/ 1551941 h 6858000"/>
              <a:gd name="connsiteX312" fmla="*/ 4022621 w 8009775"/>
              <a:gd name="connsiteY312" fmla="*/ 1546226 h 6858000"/>
              <a:gd name="connsiteX313" fmla="*/ 4024395 w 8009775"/>
              <a:gd name="connsiteY313" fmla="*/ 1540511 h 6858000"/>
              <a:gd name="connsiteX314" fmla="*/ 4025282 w 8009775"/>
              <a:gd name="connsiteY314" fmla="*/ 1534478 h 6858000"/>
              <a:gd name="connsiteX315" fmla="*/ 4026464 w 8009775"/>
              <a:gd name="connsiteY315" fmla="*/ 1528763 h 6858000"/>
              <a:gd name="connsiteX316" fmla="*/ 4027055 w 8009775"/>
              <a:gd name="connsiteY316" fmla="*/ 1522731 h 6858000"/>
              <a:gd name="connsiteX317" fmla="*/ 4027646 w 8009775"/>
              <a:gd name="connsiteY317" fmla="*/ 1517016 h 6858000"/>
              <a:gd name="connsiteX318" fmla="*/ 4027646 w 8009775"/>
              <a:gd name="connsiteY318" fmla="*/ 1510984 h 6858000"/>
              <a:gd name="connsiteX319" fmla="*/ 4027646 w 8009775"/>
              <a:gd name="connsiteY319" fmla="*/ 1505268 h 6858000"/>
              <a:gd name="connsiteX320" fmla="*/ 4027055 w 8009775"/>
              <a:gd name="connsiteY320" fmla="*/ 1499553 h 6858000"/>
              <a:gd name="connsiteX321" fmla="*/ 4026464 w 8009775"/>
              <a:gd name="connsiteY321" fmla="*/ 1493204 h 6858000"/>
              <a:gd name="connsiteX322" fmla="*/ 4025282 w 8009775"/>
              <a:gd name="connsiteY322" fmla="*/ 1487489 h 6858000"/>
              <a:gd name="connsiteX323" fmla="*/ 4024395 w 8009775"/>
              <a:gd name="connsiteY323" fmla="*/ 1481773 h 6858000"/>
              <a:gd name="connsiteX324" fmla="*/ 4022621 w 8009775"/>
              <a:gd name="connsiteY324" fmla="*/ 1476058 h 6858000"/>
              <a:gd name="connsiteX325" fmla="*/ 4020848 w 8009775"/>
              <a:gd name="connsiteY325" fmla="*/ 1470343 h 6858000"/>
              <a:gd name="connsiteX326" fmla="*/ 4018484 w 8009775"/>
              <a:gd name="connsiteY326" fmla="*/ 1464629 h 6858000"/>
              <a:gd name="connsiteX327" fmla="*/ 4016415 w 8009775"/>
              <a:gd name="connsiteY327" fmla="*/ 1459231 h 6858000"/>
              <a:gd name="connsiteX328" fmla="*/ 4013459 w 8009775"/>
              <a:gd name="connsiteY328" fmla="*/ 1453834 h 6858000"/>
              <a:gd name="connsiteX329" fmla="*/ 4010799 w 8009775"/>
              <a:gd name="connsiteY329" fmla="*/ 1448436 h 6858000"/>
              <a:gd name="connsiteX330" fmla="*/ 4007548 w 8009775"/>
              <a:gd name="connsiteY330" fmla="*/ 1443356 h 6858000"/>
              <a:gd name="connsiteX331" fmla="*/ 4003705 w 8009775"/>
              <a:gd name="connsiteY331" fmla="*/ 1438275 h 6858000"/>
              <a:gd name="connsiteX332" fmla="*/ 4000159 w 8009775"/>
              <a:gd name="connsiteY332" fmla="*/ 1433195 h 6858000"/>
              <a:gd name="connsiteX333" fmla="*/ 3996021 w 8009775"/>
              <a:gd name="connsiteY333" fmla="*/ 1428751 h 6858000"/>
              <a:gd name="connsiteX334" fmla="*/ 3991587 w 8009775"/>
              <a:gd name="connsiteY334" fmla="*/ 1423988 h 6858000"/>
              <a:gd name="connsiteX335" fmla="*/ 3323022 w 8009775"/>
              <a:gd name="connsiteY335" fmla="*/ 755333 h 6858000"/>
              <a:gd name="connsiteX336" fmla="*/ 3316815 w 8009775"/>
              <a:gd name="connsiteY336" fmla="*/ 748348 h 6858000"/>
              <a:gd name="connsiteX337" fmla="*/ 3310904 w 8009775"/>
              <a:gd name="connsiteY337" fmla="*/ 741045 h 6858000"/>
              <a:gd name="connsiteX338" fmla="*/ 3305584 w 8009775"/>
              <a:gd name="connsiteY338" fmla="*/ 733108 h 6858000"/>
              <a:gd name="connsiteX339" fmla="*/ 3300855 w 8009775"/>
              <a:gd name="connsiteY339" fmla="*/ 725170 h 6858000"/>
              <a:gd name="connsiteX340" fmla="*/ 3297308 w 8009775"/>
              <a:gd name="connsiteY340" fmla="*/ 716915 h 6858000"/>
              <a:gd name="connsiteX341" fmla="*/ 3293761 w 8009775"/>
              <a:gd name="connsiteY341" fmla="*/ 708660 h 6858000"/>
              <a:gd name="connsiteX342" fmla="*/ 3291101 w 8009775"/>
              <a:gd name="connsiteY342" fmla="*/ 699770 h 6858000"/>
              <a:gd name="connsiteX343" fmla="*/ 3289328 w 8009775"/>
              <a:gd name="connsiteY343" fmla="*/ 691198 h 6858000"/>
              <a:gd name="connsiteX344" fmla="*/ 2596527 w 8009775"/>
              <a:gd name="connsiteY344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980947 w 8009775"/>
              <a:gd name="connsiteY72" fmla="*/ 2804795 h 6858000"/>
              <a:gd name="connsiteX73" fmla="*/ 3001744 w 8009775"/>
              <a:gd name="connsiteY73" fmla="*/ 1828166 h 6858000"/>
              <a:gd name="connsiteX74" fmla="*/ 2997311 w 8009775"/>
              <a:gd name="connsiteY74" fmla="*/ 1823404 h 6858000"/>
              <a:gd name="connsiteX75" fmla="*/ 2992878 w 8009775"/>
              <a:gd name="connsiteY75" fmla="*/ 1818640 h 6858000"/>
              <a:gd name="connsiteX76" fmla="*/ 2989331 w 8009775"/>
              <a:gd name="connsiteY76" fmla="*/ 1814195 h 6858000"/>
              <a:gd name="connsiteX77" fmla="*/ 2985784 w 8009775"/>
              <a:gd name="connsiteY77" fmla="*/ 1808799 h 6858000"/>
              <a:gd name="connsiteX78" fmla="*/ 2982533 w 8009775"/>
              <a:gd name="connsiteY78" fmla="*/ 1803718 h 6858000"/>
              <a:gd name="connsiteX79" fmla="*/ 2979873 w 8009775"/>
              <a:gd name="connsiteY79" fmla="*/ 1798321 h 6858000"/>
              <a:gd name="connsiteX80" fmla="*/ 2976917 w 8009775"/>
              <a:gd name="connsiteY80" fmla="*/ 1792924 h 6858000"/>
              <a:gd name="connsiteX81" fmla="*/ 2974552 w 8009775"/>
              <a:gd name="connsiteY81" fmla="*/ 1787526 h 6858000"/>
              <a:gd name="connsiteX82" fmla="*/ 2972484 w 8009775"/>
              <a:gd name="connsiteY82" fmla="*/ 1781811 h 6858000"/>
              <a:gd name="connsiteX83" fmla="*/ 2970710 w 8009775"/>
              <a:gd name="connsiteY83" fmla="*/ 1776095 h 6858000"/>
              <a:gd name="connsiteX84" fmla="*/ 2968937 w 8009775"/>
              <a:gd name="connsiteY84" fmla="*/ 1770380 h 6858000"/>
              <a:gd name="connsiteX85" fmla="*/ 2967755 w 8009775"/>
              <a:gd name="connsiteY85" fmla="*/ 1764665 h 6858000"/>
              <a:gd name="connsiteX86" fmla="*/ 2966868 w 8009775"/>
              <a:gd name="connsiteY86" fmla="*/ 1758634 h 6858000"/>
              <a:gd name="connsiteX87" fmla="*/ 2965981 w 8009775"/>
              <a:gd name="connsiteY87" fmla="*/ 1752919 h 6858000"/>
              <a:gd name="connsiteX88" fmla="*/ 2965686 w 8009775"/>
              <a:gd name="connsiteY88" fmla="*/ 1746885 h 6858000"/>
              <a:gd name="connsiteX89" fmla="*/ 2965686 w 8009775"/>
              <a:gd name="connsiteY89" fmla="*/ 1741170 h 6858000"/>
              <a:gd name="connsiteX90" fmla="*/ 2965686 w 8009775"/>
              <a:gd name="connsiteY90" fmla="*/ 1735139 h 6858000"/>
              <a:gd name="connsiteX91" fmla="*/ 2965981 w 8009775"/>
              <a:gd name="connsiteY91" fmla="*/ 1729424 h 6858000"/>
              <a:gd name="connsiteX92" fmla="*/ 2966868 w 8009775"/>
              <a:gd name="connsiteY92" fmla="*/ 1723074 h 6858000"/>
              <a:gd name="connsiteX93" fmla="*/ 2967755 w 8009775"/>
              <a:gd name="connsiteY93" fmla="*/ 1717358 h 6858000"/>
              <a:gd name="connsiteX94" fmla="*/ 2968937 w 8009775"/>
              <a:gd name="connsiteY94" fmla="*/ 1711643 h 6858000"/>
              <a:gd name="connsiteX95" fmla="*/ 2970710 w 8009775"/>
              <a:gd name="connsiteY95" fmla="*/ 1705929 h 6858000"/>
              <a:gd name="connsiteX96" fmla="*/ 2972484 w 8009775"/>
              <a:gd name="connsiteY96" fmla="*/ 1700214 h 6858000"/>
              <a:gd name="connsiteX97" fmla="*/ 2974552 w 8009775"/>
              <a:gd name="connsiteY97" fmla="*/ 1694816 h 6858000"/>
              <a:gd name="connsiteX98" fmla="*/ 2976917 w 8009775"/>
              <a:gd name="connsiteY98" fmla="*/ 1689101 h 6858000"/>
              <a:gd name="connsiteX99" fmla="*/ 2979873 w 8009775"/>
              <a:gd name="connsiteY99" fmla="*/ 1683703 h 6858000"/>
              <a:gd name="connsiteX100" fmla="*/ 2982533 w 8009775"/>
              <a:gd name="connsiteY100" fmla="*/ 1678305 h 6858000"/>
              <a:gd name="connsiteX101" fmla="*/ 2985784 w 8009775"/>
              <a:gd name="connsiteY101" fmla="*/ 1673226 h 6858000"/>
              <a:gd name="connsiteX102" fmla="*/ 2989331 w 8009775"/>
              <a:gd name="connsiteY102" fmla="*/ 1668145 h 6858000"/>
              <a:gd name="connsiteX103" fmla="*/ 2992878 w 8009775"/>
              <a:gd name="connsiteY103" fmla="*/ 1663066 h 6858000"/>
              <a:gd name="connsiteX104" fmla="*/ 2997311 w 8009775"/>
              <a:gd name="connsiteY104" fmla="*/ 1658621 h 6858000"/>
              <a:gd name="connsiteX105" fmla="*/ 3001744 w 8009775"/>
              <a:gd name="connsiteY105" fmla="*/ 1653859 h 6858000"/>
              <a:gd name="connsiteX106" fmla="*/ 3006178 w 8009775"/>
              <a:gd name="connsiteY106" fmla="*/ 1649414 h 6858000"/>
              <a:gd name="connsiteX107" fmla="*/ 3010907 w 8009775"/>
              <a:gd name="connsiteY107" fmla="*/ 1645603 h 6858000"/>
              <a:gd name="connsiteX108" fmla="*/ 3015932 w 8009775"/>
              <a:gd name="connsiteY108" fmla="*/ 1641794 h 6858000"/>
              <a:gd name="connsiteX109" fmla="*/ 3020956 w 8009775"/>
              <a:gd name="connsiteY109" fmla="*/ 1637984 h 6858000"/>
              <a:gd name="connsiteX110" fmla="*/ 3025981 w 8009775"/>
              <a:gd name="connsiteY110" fmla="*/ 1634809 h 6858000"/>
              <a:gd name="connsiteX111" fmla="*/ 3031596 w 8009775"/>
              <a:gd name="connsiteY111" fmla="*/ 1631950 h 6858000"/>
              <a:gd name="connsiteX112" fmla="*/ 3036916 w 8009775"/>
              <a:gd name="connsiteY112" fmla="*/ 1629094 h 6858000"/>
              <a:gd name="connsiteX113" fmla="*/ 3042532 w 8009775"/>
              <a:gd name="connsiteY113" fmla="*/ 1626871 h 6858000"/>
              <a:gd name="connsiteX114" fmla="*/ 3047852 w 8009775"/>
              <a:gd name="connsiteY114" fmla="*/ 1624649 h 6858000"/>
              <a:gd name="connsiteX115" fmla="*/ 3053764 w 8009775"/>
              <a:gd name="connsiteY115" fmla="*/ 1623061 h 6858000"/>
              <a:gd name="connsiteX116" fmla="*/ 3059379 w 8009775"/>
              <a:gd name="connsiteY116" fmla="*/ 1621155 h 6858000"/>
              <a:gd name="connsiteX117" fmla="*/ 3065291 w 8009775"/>
              <a:gd name="connsiteY117" fmla="*/ 1620204 h 6858000"/>
              <a:gd name="connsiteX118" fmla="*/ 3070906 w 8009775"/>
              <a:gd name="connsiteY118" fmla="*/ 1618934 h 6858000"/>
              <a:gd name="connsiteX119" fmla="*/ 3077113 w 8009775"/>
              <a:gd name="connsiteY119" fmla="*/ 1618299 h 6858000"/>
              <a:gd name="connsiteX120" fmla="*/ 3082729 w 8009775"/>
              <a:gd name="connsiteY120" fmla="*/ 1617981 h 6858000"/>
              <a:gd name="connsiteX121" fmla="*/ 3088936 w 8009775"/>
              <a:gd name="connsiteY121" fmla="*/ 1617981 h 6858000"/>
              <a:gd name="connsiteX122" fmla="*/ 3094552 w 8009775"/>
              <a:gd name="connsiteY122" fmla="*/ 1617981 h 6858000"/>
              <a:gd name="connsiteX123" fmla="*/ 3100758 w 8009775"/>
              <a:gd name="connsiteY123" fmla="*/ 1618299 h 6858000"/>
              <a:gd name="connsiteX124" fmla="*/ 3106670 w 8009775"/>
              <a:gd name="connsiteY124" fmla="*/ 1618934 h 6858000"/>
              <a:gd name="connsiteX125" fmla="*/ 3112285 w 8009775"/>
              <a:gd name="connsiteY125" fmla="*/ 1620204 h 6858000"/>
              <a:gd name="connsiteX126" fmla="*/ 3117901 w 8009775"/>
              <a:gd name="connsiteY126" fmla="*/ 1621155 h 6858000"/>
              <a:gd name="connsiteX127" fmla="*/ 3123812 w 8009775"/>
              <a:gd name="connsiteY127" fmla="*/ 1623061 h 6858000"/>
              <a:gd name="connsiteX128" fmla="*/ 3129428 w 8009775"/>
              <a:gd name="connsiteY128" fmla="*/ 1624649 h 6858000"/>
              <a:gd name="connsiteX129" fmla="*/ 3135339 w 8009775"/>
              <a:gd name="connsiteY129" fmla="*/ 1626871 h 6858000"/>
              <a:gd name="connsiteX130" fmla="*/ 3140660 w 8009775"/>
              <a:gd name="connsiteY130" fmla="*/ 1629094 h 6858000"/>
              <a:gd name="connsiteX131" fmla="*/ 3145980 w 8009775"/>
              <a:gd name="connsiteY131" fmla="*/ 1631950 h 6858000"/>
              <a:gd name="connsiteX132" fmla="*/ 3151300 w 8009775"/>
              <a:gd name="connsiteY132" fmla="*/ 1634809 h 6858000"/>
              <a:gd name="connsiteX133" fmla="*/ 3156324 w 8009775"/>
              <a:gd name="connsiteY133" fmla="*/ 1637984 h 6858000"/>
              <a:gd name="connsiteX134" fmla="*/ 3161349 w 8009775"/>
              <a:gd name="connsiteY134" fmla="*/ 1641794 h 6858000"/>
              <a:gd name="connsiteX135" fmla="*/ 3166374 w 8009775"/>
              <a:gd name="connsiteY135" fmla="*/ 1645603 h 6858000"/>
              <a:gd name="connsiteX136" fmla="*/ 3171102 w 8009775"/>
              <a:gd name="connsiteY136" fmla="*/ 1649414 h 6858000"/>
              <a:gd name="connsiteX137" fmla="*/ 3175832 w 8009775"/>
              <a:gd name="connsiteY137" fmla="*/ 1653859 h 6858000"/>
              <a:gd name="connsiteX138" fmla="*/ 3844692 w 8009775"/>
              <a:gd name="connsiteY138" fmla="*/ 2322830 h 6858000"/>
              <a:gd name="connsiteX139" fmla="*/ 3849421 w 8009775"/>
              <a:gd name="connsiteY139" fmla="*/ 2326958 h 6858000"/>
              <a:gd name="connsiteX140" fmla="*/ 3854150 w 8009775"/>
              <a:gd name="connsiteY140" fmla="*/ 2331085 h 6858000"/>
              <a:gd name="connsiteX141" fmla="*/ 3859175 w 8009775"/>
              <a:gd name="connsiteY141" fmla="*/ 2334895 h 6858000"/>
              <a:gd name="connsiteX142" fmla="*/ 3864199 w 8009775"/>
              <a:gd name="connsiteY142" fmla="*/ 2338705 h 6858000"/>
              <a:gd name="connsiteX143" fmla="*/ 3869224 w 8009775"/>
              <a:gd name="connsiteY143" fmla="*/ 2341880 h 6858000"/>
              <a:gd name="connsiteX144" fmla="*/ 3874544 w 8009775"/>
              <a:gd name="connsiteY144" fmla="*/ 2344738 h 6858000"/>
              <a:gd name="connsiteX145" fmla="*/ 3879864 w 8009775"/>
              <a:gd name="connsiteY145" fmla="*/ 2347595 h 6858000"/>
              <a:gd name="connsiteX146" fmla="*/ 3885775 w 8009775"/>
              <a:gd name="connsiteY146" fmla="*/ 2349818 h 6858000"/>
              <a:gd name="connsiteX147" fmla="*/ 3891096 w 8009775"/>
              <a:gd name="connsiteY147" fmla="*/ 2351723 h 6858000"/>
              <a:gd name="connsiteX148" fmla="*/ 3896711 w 8009775"/>
              <a:gd name="connsiteY148" fmla="*/ 2353628 h 6858000"/>
              <a:gd name="connsiteX149" fmla="*/ 3902623 w 8009775"/>
              <a:gd name="connsiteY149" fmla="*/ 2355534 h 6858000"/>
              <a:gd name="connsiteX150" fmla="*/ 3908238 w 8009775"/>
              <a:gd name="connsiteY150" fmla="*/ 2356485 h 6858000"/>
              <a:gd name="connsiteX151" fmla="*/ 3914150 w 8009775"/>
              <a:gd name="connsiteY151" fmla="*/ 2357755 h 6858000"/>
              <a:gd name="connsiteX152" fmla="*/ 3920061 w 8009775"/>
              <a:gd name="connsiteY152" fmla="*/ 2358391 h 6858000"/>
              <a:gd name="connsiteX153" fmla="*/ 3925972 w 8009775"/>
              <a:gd name="connsiteY153" fmla="*/ 2358708 h 6858000"/>
              <a:gd name="connsiteX154" fmla="*/ 3931883 w 8009775"/>
              <a:gd name="connsiteY154" fmla="*/ 2358708 h 6858000"/>
              <a:gd name="connsiteX155" fmla="*/ 3937795 w 8009775"/>
              <a:gd name="connsiteY155" fmla="*/ 2358708 h 6858000"/>
              <a:gd name="connsiteX156" fmla="*/ 3943706 w 8009775"/>
              <a:gd name="connsiteY156" fmla="*/ 2358391 h 6858000"/>
              <a:gd name="connsiteX157" fmla="*/ 3949617 w 8009775"/>
              <a:gd name="connsiteY157" fmla="*/ 2357755 h 6858000"/>
              <a:gd name="connsiteX158" fmla="*/ 3955233 w 8009775"/>
              <a:gd name="connsiteY158" fmla="*/ 2356485 h 6858000"/>
              <a:gd name="connsiteX159" fmla="*/ 3961144 w 8009775"/>
              <a:gd name="connsiteY159" fmla="*/ 2355534 h 6858000"/>
              <a:gd name="connsiteX160" fmla="*/ 3966760 w 8009775"/>
              <a:gd name="connsiteY160" fmla="*/ 2353628 h 6858000"/>
              <a:gd name="connsiteX161" fmla="*/ 3972671 w 8009775"/>
              <a:gd name="connsiteY161" fmla="*/ 2351723 h 6858000"/>
              <a:gd name="connsiteX162" fmla="*/ 3978287 w 8009775"/>
              <a:gd name="connsiteY162" fmla="*/ 2349818 h 6858000"/>
              <a:gd name="connsiteX163" fmla="*/ 3983607 w 8009775"/>
              <a:gd name="connsiteY163" fmla="*/ 2347595 h 6858000"/>
              <a:gd name="connsiteX164" fmla="*/ 3989223 w 8009775"/>
              <a:gd name="connsiteY164" fmla="*/ 2344738 h 6858000"/>
              <a:gd name="connsiteX165" fmla="*/ 3994543 w 8009775"/>
              <a:gd name="connsiteY165" fmla="*/ 2341880 h 6858000"/>
              <a:gd name="connsiteX166" fmla="*/ 3999567 w 8009775"/>
              <a:gd name="connsiteY166" fmla="*/ 2338705 h 6858000"/>
              <a:gd name="connsiteX167" fmla="*/ 4004888 w 8009775"/>
              <a:gd name="connsiteY167" fmla="*/ 2334895 h 6858000"/>
              <a:gd name="connsiteX168" fmla="*/ 4009617 w 8009775"/>
              <a:gd name="connsiteY168" fmla="*/ 2331085 h 6858000"/>
              <a:gd name="connsiteX169" fmla="*/ 4014346 w 8009775"/>
              <a:gd name="connsiteY169" fmla="*/ 2326958 h 6858000"/>
              <a:gd name="connsiteX170" fmla="*/ 4018779 w 8009775"/>
              <a:gd name="connsiteY170" fmla="*/ 2322830 h 6858000"/>
              <a:gd name="connsiteX171" fmla="*/ 4023213 w 8009775"/>
              <a:gd name="connsiteY171" fmla="*/ 2318068 h 6858000"/>
              <a:gd name="connsiteX172" fmla="*/ 4027646 w 8009775"/>
              <a:gd name="connsiteY172" fmla="*/ 2313306 h 6858000"/>
              <a:gd name="connsiteX173" fmla="*/ 4031193 w 8009775"/>
              <a:gd name="connsiteY173" fmla="*/ 2308544 h 6858000"/>
              <a:gd name="connsiteX174" fmla="*/ 4034740 w 8009775"/>
              <a:gd name="connsiteY174" fmla="*/ 2303463 h 6858000"/>
              <a:gd name="connsiteX175" fmla="*/ 4037991 w 8009775"/>
              <a:gd name="connsiteY175" fmla="*/ 2298384 h 6858000"/>
              <a:gd name="connsiteX176" fmla="*/ 4040946 w 8009775"/>
              <a:gd name="connsiteY176" fmla="*/ 2292985 h 6858000"/>
              <a:gd name="connsiteX177" fmla="*/ 4043606 w 8009775"/>
              <a:gd name="connsiteY177" fmla="*/ 2287588 h 6858000"/>
              <a:gd name="connsiteX178" fmla="*/ 4046267 w 8009775"/>
              <a:gd name="connsiteY178" fmla="*/ 2281873 h 6858000"/>
              <a:gd name="connsiteX179" fmla="*/ 4048040 w 8009775"/>
              <a:gd name="connsiteY179" fmla="*/ 2276476 h 6858000"/>
              <a:gd name="connsiteX180" fmla="*/ 4050109 w 8009775"/>
              <a:gd name="connsiteY180" fmla="*/ 2270761 h 6858000"/>
              <a:gd name="connsiteX181" fmla="*/ 4051587 w 8009775"/>
              <a:gd name="connsiteY181" fmla="*/ 2265046 h 6858000"/>
              <a:gd name="connsiteX182" fmla="*/ 4052769 w 8009775"/>
              <a:gd name="connsiteY182" fmla="*/ 2259331 h 6858000"/>
              <a:gd name="connsiteX183" fmla="*/ 4053656 w 8009775"/>
              <a:gd name="connsiteY183" fmla="*/ 2253298 h 6858000"/>
              <a:gd name="connsiteX184" fmla="*/ 4054542 w 8009775"/>
              <a:gd name="connsiteY184" fmla="*/ 2247266 h 6858000"/>
              <a:gd name="connsiteX185" fmla="*/ 4054838 w 8009775"/>
              <a:gd name="connsiteY185" fmla="*/ 2241551 h 6858000"/>
              <a:gd name="connsiteX186" fmla="*/ 4055133 w 8009775"/>
              <a:gd name="connsiteY186" fmla="*/ 2235519 h 6858000"/>
              <a:gd name="connsiteX187" fmla="*/ 4054838 w 8009775"/>
              <a:gd name="connsiteY187" fmla="*/ 2229804 h 6858000"/>
              <a:gd name="connsiteX188" fmla="*/ 4054542 w 8009775"/>
              <a:gd name="connsiteY188" fmla="*/ 2223770 h 6858000"/>
              <a:gd name="connsiteX189" fmla="*/ 4053656 w 8009775"/>
              <a:gd name="connsiteY189" fmla="*/ 2217739 h 6858000"/>
              <a:gd name="connsiteX190" fmla="*/ 4052769 w 8009775"/>
              <a:gd name="connsiteY190" fmla="*/ 2212024 h 6858000"/>
              <a:gd name="connsiteX191" fmla="*/ 4051587 w 8009775"/>
              <a:gd name="connsiteY191" fmla="*/ 2206309 h 6858000"/>
              <a:gd name="connsiteX192" fmla="*/ 4050109 w 8009775"/>
              <a:gd name="connsiteY192" fmla="*/ 2200593 h 6858000"/>
              <a:gd name="connsiteX193" fmla="*/ 4048040 w 8009775"/>
              <a:gd name="connsiteY193" fmla="*/ 2194878 h 6858000"/>
              <a:gd name="connsiteX194" fmla="*/ 4046267 w 8009775"/>
              <a:gd name="connsiteY194" fmla="*/ 2189163 h 6858000"/>
              <a:gd name="connsiteX195" fmla="*/ 4043606 w 8009775"/>
              <a:gd name="connsiteY195" fmla="*/ 2183765 h 6858000"/>
              <a:gd name="connsiteX196" fmla="*/ 4040946 w 8009775"/>
              <a:gd name="connsiteY196" fmla="*/ 2178368 h 6858000"/>
              <a:gd name="connsiteX197" fmla="*/ 4037991 w 8009775"/>
              <a:gd name="connsiteY197" fmla="*/ 2172970 h 6858000"/>
              <a:gd name="connsiteX198" fmla="*/ 4034740 w 8009775"/>
              <a:gd name="connsiteY198" fmla="*/ 2167890 h 6858000"/>
              <a:gd name="connsiteX199" fmla="*/ 4031193 w 8009775"/>
              <a:gd name="connsiteY199" fmla="*/ 2162494 h 6858000"/>
              <a:gd name="connsiteX200" fmla="*/ 4027646 w 8009775"/>
              <a:gd name="connsiteY200" fmla="*/ 2157730 h 6858000"/>
              <a:gd name="connsiteX201" fmla="*/ 4023213 w 8009775"/>
              <a:gd name="connsiteY201" fmla="*/ 2153285 h 6858000"/>
              <a:gd name="connsiteX202" fmla="*/ 4018779 w 8009775"/>
              <a:gd name="connsiteY202" fmla="*/ 2148523 h 6858000"/>
              <a:gd name="connsiteX203" fmla="*/ 3632182 w 8009775"/>
              <a:gd name="connsiteY203" fmla="*/ 1761490 h 6858000"/>
              <a:gd name="connsiteX204" fmla="*/ 3435928 w 8009775"/>
              <a:gd name="connsiteY204" fmla="*/ 1565276 h 6858000"/>
              <a:gd name="connsiteX205" fmla="*/ 3431198 w 8009775"/>
              <a:gd name="connsiteY205" fmla="*/ 1560514 h 6858000"/>
              <a:gd name="connsiteX206" fmla="*/ 3427356 w 8009775"/>
              <a:gd name="connsiteY206" fmla="*/ 1555751 h 6858000"/>
              <a:gd name="connsiteX207" fmla="*/ 3423218 w 8009775"/>
              <a:gd name="connsiteY207" fmla="*/ 1550671 h 6858000"/>
              <a:gd name="connsiteX208" fmla="*/ 3420262 w 8009775"/>
              <a:gd name="connsiteY208" fmla="*/ 1545909 h 6858000"/>
              <a:gd name="connsiteX209" fmla="*/ 3417012 w 8009775"/>
              <a:gd name="connsiteY209" fmla="*/ 1540829 h 6858000"/>
              <a:gd name="connsiteX210" fmla="*/ 3413760 w 8009775"/>
              <a:gd name="connsiteY210" fmla="*/ 1535430 h 6858000"/>
              <a:gd name="connsiteX211" fmla="*/ 3411100 w 8009775"/>
              <a:gd name="connsiteY211" fmla="*/ 1530034 h 6858000"/>
              <a:gd name="connsiteX212" fmla="*/ 3408736 w 8009775"/>
              <a:gd name="connsiteY212" fmla="*/ 1524635 h 6858000"/>
              <a:gd name="connsiteX213" fmla="*/ 3406371 w 8009775"/>
              <a:gd name="connsiteY213" fmla="*/ 1518920 h 6858000"/>
              <a:gd name="connsiteX214" fmla="*/ 3404598 w 8009775"/>
              <a:gd name="connsiteY214" fmla="*/ 1513205 h 6858000"/>
              <a:gd name="connsiteX215" fmla="*/ 3403120 w 8009775"/>
              <a:gd name="connsiteY215" fmla="*/ 1507174 h 6858000"/>
              <a:gd name="connsiteX216" fmla="*/ 3401938 w 8009775"/>
              <a:gd name="connsiteY216" fmla="*/ 1501459 h 6858000"/>
              <a:gd name="connsiteX217" fmla="*/ 3401051 w 8009775"/>
              <a:gd name="connsiteY217" fmla="*/ 1495744 h 6858000"/>
              <a:gd name="connsiteX218" fmla="*/ 3400460 w 8009775"/>
              <a:gd name="connsiteY218" fmla="*/ 1489710 h 6858000"/>
              <a:gd name="connsiteX219" fmla="*/ 3399869 w 8009775"/>
              <a:gd name="connsiteY219" fmla="*/ 1483995 h 6858000"/>
              <a:gd name="connsiteX220" fmla="*/ 3399573 w 8009775"/>
              <a:gd name="connsiteY220" fmla="*/ 1478281 h 6858000"/>
              <a:gd name="connsiteX221" fmla="*/ 3399869 w 8009775"/>
              <a:gd name="connsiteY221" fmla="*/ 1472249 h 6858000"/>
              <a:gd name="connsiteX222" fmla="*/ 3400460 w 8009775"/>
              <a:gd name="connsiteY222" fmla="*/ 1466215 h 6858000"/>
              <a:gd name="connsiteX223" fmla="*/ 3401051 w 8009775"/>
              <a:gd name="connsiteY223" fmla="*/ 1460183 h 6858000"/>
              <a:gd name="connsiteX224" fmla="*/ 3401938 w 8009775"/>
              <a:gd name="connsiteY224" fmla="*/ 1454468 h 6858000"/>
              <a:gd name="connsiteX225" fmla="*/ 3403120 w 8009775"/>
              <a:gd name="connsiteY225" fmla="*/ 1448754 h 6858000"/>
              <a:gd name="connsiteX226" fmla="*/ 3404598 w 8009775"/>
              <a:gd name="connsiteY226" fmla="*/ 1443039 h 6858000"/>
              <a:gd name="connsiteX227" fmla="*/ 3406371 w 8009775"/>
              <a:gd name="connsiteY227" fmla="*/ 1437324 h 6858000"/>
              <a:gd name="connsiteX228" fmla="*/ 3408736 w 8009775"/>
              <a:gd name="connsiteY228" fmla="*/ 1431609 h 6858000"/>
              <a:gd name="connsiteX229" fmla="*/ 3411100 w 8009775"/>
              <a:gd name="connsiteY229" fmla="*/ 1426211 h 6858000"/>
              <a:gd name="connsiteX230" fmla="*/ 3413760 w 8009775"/>
              <a:gd name="connsiteY230" fmla="*/ 1420814 h 6858000"/>
              <a:gd name="connsiteX231" fmla="*/ 3417012 w 8009775"/>
              <a:gd name="connsiteY231" fmla="*/ 1415416 h 6858000"/>
              <a:gd name="connsiteX232" fmla="*/ 3420262 w 8009775"/>
              <a:gd name="connsiteY232" fmla="*/ 1410336 h 6858000"/>
              <a:gd name="connsiteX233" fmla="*/ 3423218 w 8009775"/>
              <a:gd name="connsiteY233" fmla="*/ 1405256 h 6858000"/>
              <a:gd name="connsiteX234" fmla="*/ 3427356 w 8009775"/>
              <a:gd name="connsiteY234" fmla="*/ 1400175 h 6858000"/>
              <a:gd name="connsiteX235" fmla="*/ 3431198 w 8009775"/>
              <a:gd name="connsiteY235" fmla="*/ 1395731 h 6858000"/>
              <a:gd name="connsiteX236" fmla="*/ 3435928 w 8009775"/>
              <a:gd name="connsiteY236" fmla="*/ 1390969 h 6858000"/>
              <a:gd name="connsiteX237" fmla="*/ 3440361 w 8009775"/>
              <a:gd name="connsiteY237" fmla="*/ 1386524 h 6858000"/>
              <a:gd name="connsiteX238" fmla="*/ 3445386 w 8009775"/>
              <a:gd name="connsiteY238" fmla="*/ 1382396 h 6858000"/>
              <a:gd name="connsiteX239" fmla="*/ 3449819 w 8009775"/>
              <a:gd name="connsiteY239" fmla="*/ 1378585 h 6858000"/>
              <a:gd name="connsiteX240" fmla="*/ 3454844 w 8009775"/>
              <a:gd name="connsiteY240" fmla="*/ 1375094 h 6858000"/>
              <a:gd name="connsiteX241" fmla="*/ 3460459 w 8009775"/>
              <a:gd name="connsiteY241" fmla="*/ 1371919 h 6858000"/>
              <a:gd name="connsiteX242" fmla="*/ 3465780 w 8009775"/>
              <a:gd name="connsiteY242" fmla="*/ 1369061 h 6858000"/>
              <a:gd name="connsiteX243" fmla="*/ 3471100 w 8009775"/>
              <a:gd name="connsiteY243" fmla="*/ 1366204 h 6858000"/>
              <a:gd name="connsiteX244" fmla="*/ 3476420 w 8009775"/>
              <a:gd name="connsiteY244" fmla="*/ 1363980 h 6858000"/>
              <a:gd name="connsiteX245" fmla="*/ 3482331 w 8009775"/>
              <a:gd name="connsiteY245" fmla="*/ 1361759 h 6858000"/>
              <a:gd name="connsiteX246" fmla="*/ 3487947 w 8009775"/>
              <a:gd name="connsiteY246" fmla="*/ 1360170 h 6858000"/>
              <a:gd name="connsiteX247" fmla="*/ 3493858 w 8009775"/>
              <a:gd name="connsiteY247" fmla="*/ 1358265 h 6858000"/>
              <a:gd name="connsiteX248" fmla="*/ 3499474 w 8009775"/>
              <a:gd name="connsiteY248" fmla="*/ 1357314 h 6858000"/>
              <a:gd name="connsiteX249" fmla="*/ 3505385 w 8009775"/>
              <a:gd name="connsiteY249" fmla="*/ 1356043 h 6858000"/>
              <a:gd name="connsiteX250" fmla="*/ 3511001 w 8009775"/>
              <a:gd name="connsiteY250" fmla="*/ 1355409 h 6858000"/>
              <a:gd name="connsiteX251" fmla="*/ 3517208 w 8009775"/>
              <a:gd name="connsiteY251" fmla="*/ 1355090 h 6858000"/>
              <a:gd name="connsiteX252" fmla="*/ 3522823 w 8009775"/>
              <a:gd name="connsiteY252" fmla="*/ 1354773 h 6858000"/>
              <a:gd name="connsiteX253" fmla="*/ 3529030 w 8009775"/>
              <a:gd name="connsiteY253" fmla="*/ 1355090 h 6858000"/>
              <a:gd name="connsiteX254" fmla="*/ 3534646 w 8009775"/>
              <a:gd name="connsiteY254" fmla="*/ 1355409 h 6858000"/>
              <a:gd name="connsiteX255" fmla="*/ 3540557 w 8009775"/>
              <a:gd name="connsiteY255" fmla="*/ 1356043 h 6858000"/>
              <a:gd name="connsiteX256" fmla="*/ 3546468 w 8009775"/>
              <a:gd name="connsiteY256" fmla="*/ 1357314 h 6858000"/>
              <a:gd name="connsiteX257" fmla="*/ 3552380 w 8009775"/>
              <a:gd name="connsiteY257" fmla="*/ 1358265 h 6858000"/>
              <a:gd name="connsiteX258" fmla="*/ 3557995 w 8009775"/>
              <a:gd name="connsiteY258" fmla="*/ 1360170 h 6858000"/>
              <a:gd name="connsiteX259" fmla="*/ 3563906 w 8009775"/>
              <a:gd name="connsiteY259" fmla="*/ 1361759 h 6858000"/>
              <a:gd name="connsiteX260" fmla="*/ 3569227 w 8009775"/>
              <a:gd name="connsiteY260" fmla="*/ 1363980 h 6858000"/>
              <a:gd name="connsiteX261" fmla="*/ 3574842 w 8009775"/>
              <a:gd name="connsiteY261" fmla="*/ 1366204 h 6858000"/>
              <a:gd name="connsiteX262" fmla="*/ 3580458 w 8009775"/>
              <a:gd name="connsiteY262" fmla="*/ 1369061 h 6858000"/>
              <a:gd name="connsiteX263" fmla="*/ 3585778 w 8009775"/>
              <a:gd name="connsiteY263" fmla="*/ 1371919 h 6858000"/>
              <a:gd name="connsiteX264" fmla="*/ 3590803 w 8009775"/>
              <a:gd name="connsiteY264" fmla="*/ 1375094 h 6858000"/>
              <a:gd name="connsiteX265" fmla="*/ 3595828 w 8009775"/>
              <a:gd name="connsiteY265" fmla="*/ 1378585 h 6858000"/>
              <a:gd name="connsiteX266" fmla="*/ 3600852 w 8009775"/>
              <a:gd name="connsiteY266" fmla="*/ 1382396 h 6858000"/>
              <a:gd name="connsiteX267" fmla="*/ 3605581 w 8009775"/>
              <a:gd name="connsiteY267" fmla="*/ 1386524 h 6858000"/>
              <a:gd name="connsiteX268" fmla="*/ 3610014 w 8009775"/>
              <a:gd name="connsiteY268" fmla="*/ 1390969 h 6858000"/>
              <a:gd name="connsiteX269" fmla="*/ 3817500 w 8009775"/>
              <a:gd name="connsiteY269" fmla="*/ 1598296 h 6858000"/>
              <a:gd name="connsiteX270" fmla="*/ 3821934 w 8009775"/>
              <a:gd name="connsiteY270" fmla="*/ 1602423 h 6858000"/>
              <a:gd name="connsiteX271" fmla="*/ 3826663 w 8009775"/>
              <a:gd name="connsiteY271" fmla="*/ 1606869 h 6858000"/>
              <a:gd name="connsiteX272" fmla="*/ 3831687 w 8009775"/>
              <a:gd name="connsiteY272" fmla="*/ 1610361 h 6858000"/>
              <a:gd name="connsiteX273" fmla="*/ 3836712 w 8009775"/>
              <a:gd name="connsiteY273" fmla="*/ 1613854 h 6858000"/>
              <a:gd name="connsiteX274" fmla="*/ 3841736 w 8009775"/>
              <a:gd name="connsiteY274" fmla="*/ 1617345 h 6858000"/>
              <a:gd name="connsiteX275" fmla="*/ 3847352 w 8009775"/>
              <a:gd name="connsiteY275" fmla="*/ 1620204 h 6858000"/>
              <a:gd name="connsiteX276" fmla="*/ 3852672 w 8009775"/>
              <a:gd name="connsiteY276" fmla="*/ 1623061 h 6858000"/>
              <a:gd name="connsiteX277" fmla="*/ 3857992 w 8009775"/>
              <a:gd name="connsiteY277" fmla="*/ 1625283 h 6858000"/>
              <a:gd name="connsiteX278" fmla="*/ 3863608 w 8009775"/>
              <a:gd name="connsiteY278" fmla="*/ 1627189 h 6858000"/>
              <a:gd name="connsiteX279" fmla="*/ 3869519 w 8009775"/>
              <a:gd name="connsiteY279" fmla="*/ 1629094 h 6858000"/>
              <a:gd name="connsiteX280" fmla="*/ 3875135 w 8009775"/>
              <a:gd name="connsiteY280" fmla="*/ 1630998 h 6858000"/>
              <a:gd name="connsiteX281" fmla="*/ 3881046 w 8009775"/>
              <a:gd name="connsiteY281" fmla="*/ 1631950 h 6858000"/>
              <a:gd name="connsiteX282" fmla="*/ 3886662 w 8009775"/>
              <a:gd name="connsiteY282" fmla="*/ 1632904 h 6858000"/>
              <a:gd name="connsiteX283" fmla="*/ 3892869 w 8009775"/>
              <a:gd name="connsiteY283" fmla="*/ 1633856 h 6858000"/>
              <a:gd name="connsiteX284" fmla="*/ 3898485 w 8009775"/>
              <a:gd name="connsiteY284" fmla="*/ 1634174 h 6858000"/>
              <a:gd name="connsiteX285" fmla="*/ 3904396 w 8009775"/>
              <a:gd name="connsiteY285" fmla="*/ 1634174 h 6858000"/>
              <a:gd name="connsiteX286" fmla="*/ 3910307 w 8009775"/>
              <a:gd name="connsiteY286" fmla="*/ 1634174 h 6858000"/>
              <a:gd name="connsiteX287" fmla="*/ 3916219 w 8009775"/>
              <a:gd name="connsiteY287" fmla="*/ 1633856 h 6858000"/>
              <a:gd name="connsiteX288" fmla="*/ 3922425 w 8009775"/>
              <a:gd name="connsiteY288" fmla="*/ 1632904 h 6858000"/>
              <a:gd name="connsiteX289" fmla="*/ 3928041 w 8009775"/>
              <a:gd name="connsiteY289" fmla="*/ 1631950 h 6858000"/>
              <a:gd name="connsiteX290" fmla="*/ 3933657 w 8009775"/>
              <a:gd name="connsiteY290" fmla="*/ 1630998 h 6858000"/>
              <a:gd name="connsiteX291" fmla="*/ 3939568 w 8009775"/>
              <a:gd name="connsiteY291" fmla="*/ 1629094 h 6858000"/>
              <a:gd name="connsiteX292" fmla="*/ 3945184 w 8009775"/>
              <a:gd name="connsiteY292" fmla="*/ 1627189 h 6858000"/>
              <a:gd name="connsiteX293" fmla="*/ 3950799 w 8009775"/>
              <a:gd name="connsiteY293" fmla="*/ 1625283 h 6858000"/>
              <a:gd name="connsiteX294" fmla="*/ 3956415 w 8009775"/>
              <a:gd name="connsiteY294" fmla="*/ 1623061 h 6858000"/>
              <a:gd name="connsiteX295" fmla="*/ 3961735 w 8009775"/>
              <a:gd name="connsiteY295" fmla="*/ 1620204 h 6858000"/>
              <a:gd name="connsiteX296" fmla="*/ 3967055 w 8009775"/>
              <a:gd name="connsiteY296" fmla="*/ 1617345 h 6858000"/>
              <a:gd name="connsiteX297" fmla="*/ 3972376 w 8009775"/>
              <a:gd name="connsiteY297" fmla="*/ 1613854 h 6858000"/>
              <a:gd name="connsiteX298" fmla="*/ 3977400 w 8009775"/>
              <a:gd name="connsiteY298" fmla="*/ 1610361 h 6858000"/>
              <a:gd name="connsiteX299" fmla="*/ 3982425 w 8009775"/>
              <a:gd name="connsiteY299" fmla="*/ 1606869 h 6858000"/>
              <a:gd name="connsiteX300" fmla="*/ 3986858 w 8009775"/>
              <a:gd name="connsiteY300" fmla="*/ 1602423 h 6858000"/>
              <a:gd name="connsiteX301" fmla="*/ 3991587 w 8009775"/>
              <a:gd name="connsiteY301" fmla="*/ 1598296 h 6858000"/>
              <a:gd name="connsiteX302" fmla="*/ 3996021 w 8009775"/>
              <a:gd name="connsiteY302" fmla="*/ 1593533 h 6858000"/>
              <a:gd name="connsiteX303" fmla="*/ 4000159 w 8009775"/>
              <a:gd name="connsiteY303" fmla="*/ 1588771 h 6858000"/>
              <a:gd name="connsiteX304" fmla="*/ 4003705 w 8009775"/>
              <a:gd name="connsiteY304" fmla="*/ 1583691 h 6858000"/>
              <a:gd name="connsiteX305" fmla="*/ 4007548 w 8009775"/>
              <a:gd name="connsiteY305" fmla="*/ 1578928 h 6858000"/>
              <a:gd name="connsiteX306" fmla="*/ 4010799 w 8009775"/>
              <a:gd name="connsiteY306" fmla="*/ 1573849 h 6858000"/>
              <a:gd name="connsiteX307" fmla="*/ 4013459 w 8009775"/>
              <a:gd name="connsiteY307" fmla="*/ 1568451 h 6858000"/>
              <a:gd name="connsiteX308" fmla="*/ 4016415 w 8009775"/>
              <a:gd name="connsiteY308" fmla="*/ 1563054 h 6858000"/>
              <a:gd name="connsiteX309" fmla="*/ 4018484 w 8009775"/>
              <a:gd name="connsiteY309" fmla="*/ 1557339 h 6858000"/>
              <a:gd name="connsiteX310" fmla="*/ 4020848 w 8009775"/>
              <a:gd name="connsiteY310" fmla="*/ 1551941 h 6858000"/>
              <a:gd name="connsiteX311" fmla="*/ 4022621 w 8009775"/>
              <a:gd name="connsiteY311" fmla="*/ 1546226 h 6858000"/>
              <a:gd name="connsiteX312" fmla="*/ 4024395 w 8009775"/>
              <a:gd name="connsiteY312" fmla="*/ 1540511 h 6858000"/>
              <a:gd name="connsiteX313" fmla="*/ 4025282 w 8009775"/>
              <a:gd name="connsiteY313" fmla="*/ 1534478 h 6858000"/>
              <a:gd name="connsiteX314" fmla="*/ 4026464 w 8009775"/>
              <a:gd name="connsiteY314" fmla="*/ 1528763 h 6858000"/>
              <a:gd name="connsiteX315" fmla="*/ 4027055 w 8009775"/>
              <a:gd name="connsiteY315" fmla="*/ 1522731 h 6858000"/>
              <a:gd name="connsiteX316" fmla="*/ 4027646 w 8009775"/>
              <a:gd name="connsiteY316" fmla="*/ 1517016 h 6858000"/>
              <a:gd name="connsiteX317" fmla="*/ 4027646 w 8009775"/>
              <a:gd name="connsiteY317" fmla="*/ 1510984 h 6858000"/>
              <a:gd name="connsiteX318" fmla="*/ 4027646 w 8009775"/>
              <a:gd name="connsiteY318" fmla="*/ 1505268 h 6858000"/>
              <a:gd name="connsiteX319" fmla="*/ 4027055 w 8009775"/>
              <a:gd name="connsiteY319" fmla="*/ 1499553 h 6858000"/>
              <a:gd name="connsiteX320" fmla="*/ 4026464 w 8009775"/>
              <a:gd name="connsiteY320" fmla="*/ 1493204 h 6858000"/>
              <a:gd name="connsiteX321" fmla="*/ 4025282 w 8009775"/>
              <a:gd name="connsiteY321" fmla="*/ 1487489 h 6858000"/>
              <a:gd name="connsiteX322" fmla="*/ 4024395 w 8009775"/>
              <a:gd name="connsiteY322" fmla="*/ 1481773 h 6858000"/>
              <a:gd name="connsiteX323" fmla="*/ 4022621 w 8009775"/>
              <a:gd name="connsiteY323" fmla="*/ 1476058 h 6858000"/>
              <a:gd name="connsiteX324" fmla="*/ 4020848 w 8009775"/>
              <a:gd name="connsiteY324" fmla="*/ 1470343 h 6858000"/>
              <a:gd name="connsiteX325" fmla="*/ 4018484 w 8009775"/>
              <a:gd name="connsiteY325" fmla="*/ 1464629 h 6858000"/>
              <a:gd name="connsiteX326" fmla="*/ 4016415 w 8009775"/>
              <a:gd name="connsiteY326" fmla="*/ 1459231 h 6858000"/>
              <a:gd name="connsiteX327" fmla="*/ 4013459 w 8009775"/>
              <a:gd name="connsiteY327" fmla="*/ 1453834 h 6858000"/>
              <a:gd name="connsiteX328" fmla="*/ 4010799 w 8009775"/>
              <a:gd name="connsiteY328" fmla="*/ 1448436 h 6858000"/>
              <a:gd name="connsiteX329" fmla="*/ 4007548 w 8009775"/>
              <a:gd name="connsiteY329" fmla="*/ 1443356 h 6858000"/>
              <a:gd name="connsiteX330" fmla="*/ 4003705 w 8009775"/>
              <a:gd name="connsiteY330" fmla="*/ 1438275 h 6858000"/>
              <a:gd name="connsiteX331" fmla="*/ 4000159 w 8009775"/>
              <a:gd name="connsiteY331" fmla="*/ 1433195 h 6858000"/>
              <a:gd name="connsiteX332" fmla="*/ 3996021 w 8009775"/>
              <a:gd name="connsiteY332" fmla="*/ 1428751 h 6858000"/>
              <a:gd name="connsiteX333" fmla="*/ 3991587 w 8009775"/>
              <a:gd name="connsiteY333" fmla="*/ 1423988 h 6858000"/>
              <a:gd name="connsiteX334" fmla="*/ 3323022 w 8009775"/>
              <a:gd name="connsiteY334" fmla="*/ 755333 h 6858000"/>
              <a:gd name="connsiteX335" fmla="*/ 3316815 w 8009775"/>
              <a:gd name="connsiteY335" fmla="*/ 748348 h 6858000"/>
              <a:gd name="connsiteX336" fmla="*/ 3310904 w 8009775"/>
              <a:gd name="connsiteY336" fmla="*/ 741045 h 6858000"/>
              <a:gd name="connsiteX337" fmla="*/ 3305584 w 8009775"/>
              <a:gd name="connsiteY337" fmla="*/ 733108 h 6858000"/>
              <a:gd name="connsiteX338" fmla="*/ 3300855 w 8009775"/>
              <a:gd name="connsiteY338" fmla="*/ 725170 h 6858000"/>
              <a:gd name="connsiteX339" fmla="*/ 3297308 w 8009775"/>
              <a:gd name="connsiteY339" fmla="*/ 716915 h 6858000"/>
              <a:gd name="connsiteX340" fmla="*/ 3293761 w 8009775"/>
              <a:gd name="connsiteY340" fmla="*/ 708660 h 6858000"/>
              <a:gd name="connsiteX341" fmla="*/ 3291101 w 8009775"/>
              <a:gd name="connsiteY341" fmla="*/ 699770 h 6858000"/>
              <a:gd name="connsiteX342" fmla="*/ 3289328 w 8009775"/>
              <a:gd name="connsiteY342" fmla="*/ 691198 h 6858000"/>
              <a:gd name="connsiteX343" fmla="*/ 2596527 w 8009775"/>
              <a:gd name="connsiteY343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996316 w 8009775"/>
              <a:gd name="connsiteY71" fmla="*/ 2818448 h 6858000"/>
              <a:gd name="connsiteX72" fmla="*/ 3001744 w 8009775"/>
              <a:gd name="connsiteY72" fmla="*/ 1828166 h 6858000"/>
              <a:gd name="connsiteX73" fmla="*/ 2997311 w 8009775"/>
              <a:gd name="connsiteY73" fmla="*/ 1823404 h 6858000"/>
              <a:gd name="connsiteX74" fmla="*/ 2992878 w 8009775"/>
              <a:gd name="connsiteY74" fmla="*/ 1818640 h 6858000"/>
              <a:gd name="connsiteX75" fmla="*/ 2989331 w 8009775"/>
              <a:gd name="connsiteY75" fmla="*/ 1814195 h 6858000"/>
              <a:gd name="connsiteX76" fmla="*/ 2985784 w 8009775"/>
              <a:gd name="connsiteY76" fmla="*/ 1808799 h 6858000"/>
              <a:gd name="connsiteX77" fmla="*/ 2982533 w 8009775"/>
              <a:gd name="connsiteY77" fmla="*/ 1803718 h 6858000"/>
              <a:gd name="connsiteX78" fmla="*/ 2979873 w 8009775"/>
              <a:gd name="connsiteY78" fmla="*/ 1798321 h 6858000"/>
              <a:gd name="connsiteX79" fmla="*/ 2976917 w 8009775"/>
              <a:gd name="connsiteY79" fmla="*/ 1792924 h 6858000"/>
              <a:gd name="connsiteX80" fmla="*/ 2974552 w 8009775"/>
              <a:gd name="connsiteY80" fmla="*/ 1787526 h 6858000"/>
              <a:gd name="connsiteX81" fmla="*/ 2972484 w 8009775"/>
              <a:gd name="connsiteY81" fmla="*/ 1781811 h 6858000"/>
              <a:gd name="connsiteX82" fmla="*/ 2970710 w 8009775"/>
              <a:gd name="connsiteY82" fmla="*/ 1776095 h 6858000"/>
              <a:gd name="connsiteX83" fmla="*/ 2968937 w 8009775"/>
              <a:gd name="connsiteY83" fmla="*/ 1770380 h 6858000"/>
              <a:gd name="connsiteX84" fmla="*/ 2967755 w 8009775"/>
              <a:gd name="connsiteY84" fmla="*/ 1764665 h 6858000"/>
              <a:gd name="connsiteX85" fmla="*/ 2966868 w 8009775"/>
              <a:gd name="connsiteY85" fmla="*/ 1758634 h 6858000"/>
              <a:gd name="connsiteX86" fmla="*/ 2965981 w 8009775"/>
              <a:gd name="connsiteY86" fmla="*/ 1752919 h 6858000"/>
              <a:gd name="connsiteX87" fmla="*/ 2965686 w 8009775"/>
              <a:gd name="connsiteY87" fmla="*/ 1746885 h 6858000"/>
              <a:gd name="connsiteX88" fmla="*/ 2965686 w 8009775"/>
              <a:gd name="connsiteY88" fmla="*/ 1741170 h 6858000"/>
              <a:gd name="connsiteX89" fmla="*/ 2965686 w 8009775"/>
              <a:gd name="connsiteY89" fmla="*/ 1735139 h 6858000"/>
              <a:gd name="connsiteX90" fmla="*/ 2965981 w 8009775"/>
              <a:gd name="connsiteY90" fmla="*/ 1729424 h 6858000"/>
              <a:gd name="connsiteX91" fmla="*/ 2966868 w 8009775"/>
              <a:gd name="connsiteY91" fmla="*/ 1723074 h 6858000"/>
              <a:gd name="connsiteX92" fmla="*/ 2967755 w 8009775"/>
              <a:gd name="connsiteY92" fmla="*/ 1717358 h 6858000"/>
              <a:gd name="connsiteX93" fmla="*/ 2968937 w 8009775"/>
              <a:gd name="connsiteY93" fmla="*/ 1711643 h 6858000"/>
              <a:gd name="connsiteX94" fmla="*/ 2970710 w 8009775"/>
              <a:gd name="connsiteY94" fmla="*/ 1705929 h 6858000"/>
              <a:gd name="connsiteX95" fmla="*/ 2972484 w 8009775"/>
              <a:gd name="connsiteY95" fmla="*/ 1700214 h 6858000"/>
              <a:gd name="connsiteX96" fmla="*/ 2974552 w 8009775"/>
              <a:gd name="connsiteY96" fmla="*/ 1694816 h 6858000"/>
              <a:gd name="connsiteX97" fmla="*/ 2976917 w 8009775"/>
              <a:gd name="connsiteY97" fmla="*/ 1689101 h 6858000"/>
              <a:gd name="connsiteX98" fmla="*/ 2979873 w 8009775"/>
              <a:gd name="connsiteY98" fmla="*/ 1683703 h 6858000"/>
              <a:gd name="connsiteX99" fmla="*/ 2982533 w 8009775"/>
              <a:gd name="connsiteY99" fmla="*/ 1678305 h 6858000"/>
              <a:gd name="connsiteX100" fmla="*/ 2985784 w 8009775"/>
              <a:gd name="connsiteY100" fmla="*/ 1673226 h 6858000"/>
              <a:gd name="connsiteX101" fmla="*/ 2989331 w 8009775"/>
              <a:gd name="connsiteY101" fmla="*/ 1668145 h 6858000"/>
              <a:gd name="connsiteX102" fmla="*/ 2992878 w 8009775"/>
              <a:gd name="connsiteY102" fmla="*/ 1663066 h 6858000"/>
              <a:gd name="connsiteX103" fmla="*/ 2997311 w 8009775"/>
              <a:gd name="connsiteY103" fmla="*/ 1658621 h 6858000"/>
              <a:gd name="connsiteX104" fmla="*/ 3001744 w 8009775"/>
              <a:gd name="connsiteY104" fmla="*/ 1653859 h 6858000"/>
              <a:gd name="connsiteX105" fmla="*/ 3006178 w 8009775"/>
              <a:gd name="connsiteY105" fmla="*/ 1649414 h 6858000"/>
              <a:gd name="connsiteX106" fmla="*/ 3010907 w 8009775"/>
              <a:gd name="connsiteY106" fmla="*/ 1645603 h 6858000"/>
              <a:gd name="connsiteX107" fmla="*/ 3015932 w 8009775"/>
              <a:gd name="connsiteY107" fmla="*/ 1641794 h 6858000"/>
              <a:gd name="connsiteX108" fmla="*/ 3020956 w 8009775"/>
              <a:gd name="connsiteY108" fmla="*/ 1637984 h 6858000"/>
              <a:gd name="connsiteX109" fmla="*/ 3025981 w 8009775"/>
              <a:gd name="connsiteY109" fmla="*/ 1634809 h 6858000"/>
              <a:gd name="connsiteX110" fmla="*/ 3031596 w 8009775"/>
              <a:gd name="connsiteY110" fmla="*/ 1631950 h 6858000"/>
              <a:gd name="connsiteX111" fmla="*/ 3036916 w 8009775"/>
              <a:gd name="connsiteY111" fmla="*/ 1629094 h 6858000"/>
              <a:gd name="connsiteX112" fmla="*/ 3042532 w 8009775"/>
              <a:gd name="connsiteY112" fmla="*/ 1626871 h 6858000"/>
              <a:gd name="connsiteX113" fmla="*/ 3047852 w 8009775"/>
              <a:gd name="connsiteY113" fmla="*/ 1624649 h 6858000"/>
              <a:gd name="connsiteX114" fmla="*/ 3053764 w 8009775"/>
              <a:gd name="connsiteY114" fmla="*/ 1623061 h 6858000"/>
              <a:gd name="connsiteX115" fmla="*/ 3059379 w 8009775"/>
              <a:gd name="connsiteY115" fmla="*/ 1621155 h 6858000"/>
              <a:gd name="connsiteX116" fmla="*/ 3065291 w 8009775"/>
              <a:gd name="connsiteY116" fmla="*/ 1620204 h 6858000"/>
              <a:gd name="connsiteX117" fmla="*/ 3070906 w 8009775"/>
              <a:gd name="connsiteY117" fmla="*/ 1618934 h 6858000"/>
              <a:gd name="connsiteX118" fmla="*/ 3077113 w 8009775"/>
              <a:gd name="connsiteY118" fmla="*/ 1618299 h 6858000"/>
              <a:gd name="connsiteX119" fmla="*/ 3082729 w 8009775"/>
              <a:gd name="connsiteY119" fmla="*/ 1617981 h 6858000"/>
              <a:gd name="connsiteX120" fmla="*/ 3088936 w 8009775"/>
              <a:gd name="connsiteY120" fmla="*/ 1617981 h 6858000"/>
              <a:gd name="connsiteX121" fmla="*/ 3094552 w 8009775"/>
              <a:gd name="connsiteY121" fmla="*/ 1617981 h 6858000"/>
              <a:gd name="connsiteX122" fmla="*/ 3100758 w 8009775"/>
              <a:gd name="connsiteY122" fmla="*/ 1618299 h 6858000"/>
              <a:gd name="connsiteX123" fmla="*/ 3106670 w 8009775"/>
              <a:gd name="connsiteY123" fmla="*/ 1618934 h 6858000"/>
              <a:gd name="connsiteX124" fmla="*/ 3112285 w 8009775"/>
              <a:gd name="connsiteY124" fmla="*/ 1620204 h 6858000"/>
              <a:gd name="connsiteX125" fmla="*/ 3117901 w 8009775"/>
              <a:gd name="connsiteY125" fmla="*/ 1621155 h 6858000"/>
              <a:gd name="connsiteX126" fmla="*/ 3123812 w 8009775"/>
              <a:gd name="connsiteY126" fmla="*/ 1623061 h 6858000"/>
              <a:gd name="connsiteX127" fmla="*/ 3129428 w 8009775"/>
              <a:gd name="connsiteY127" fmla="*/ 1624649 h 6858000"/>
              <a:gd name="connsiteX128" fmla="*/ 3135339 w 8009775"/>
              <a:gd name="connsiteY128" fmla="*/ 1626871 h 6858000"/>
              <a:gd name="connsiteX129" fmla="*/ 3140660 w 8009775"/>
              <a:gd name="connsiteY129" fmla="*/ 1629094 h 6858000"/>
              <a:gd name="connsiteX130" fmla="*/ 3145980 w 8009775"/>
              <a:gd name="connsiteY130" fmla="*/ 1631950 h 6858000"/>
              <a:gd name="connsiteX131" fmla="*/ 3151300 w 8009775"/>
              <a:gd name="connsiteY131" fmla="*/ 1634809 h 6858000"/>
              <a:gd name="connsiteX132" fmla="*/ 3156324 w 8009775"/>
              <a:gd name="connsiteY132" fmla="*/ 1637984 h 6858000"/>
              <a:gd name="connsiteX133" fmla="*/ 3161349 w 8009775"/>
              <a:gd name="connsiteY133" fmla="*/ 1641794 h 6858000"/>
              <a:gd name="connsiteX134" fmla="*/ 3166374 w 8009775"/>
              <a:gd name="connsiteY134" fmla="*/ 1645603 h 6858000"/>
              <a:gd name="connsiteX135" fmla="*/ 3171102 w 8009775"/>
              <a:gd name="connsiteY135" fmla="*/ 1649414 h 6858000"/>
              <a:gd name="connsiteX136" fmla="*/ 3175832 w 8009775"/>
              <a:gd name="connsiteY136" fmla="*/ 1653859 h 6858000"/>
              <a:gd name="connsiteX137" fmla="*/ 3844692 w 8009775"/>
              <a:gd name="connsiteY137" fmla="*/ 2322830 h 6858000"/>
              <a:gd name="connsiteX138" fmla="*/ 3849421 w 8009775"/>
              <a:gd name="connsiteY138" fmla="*/ 2326958 h 6858000"/>
              <a:gd name="connsiteX139" fmla="*/ 3854150 w 8009775"/>
              <a:gd name="connsiteY139" fmla="*/ 2331085 h 6858000"/>
              <a:gd name="connsiteX140" fmla="*/ 3859175 w 8009775"/>
              <a:gd name="connsiteY140" fmla="*/ 2334895 h 6858000"/>
              <a:gd name="connsiteX141" fmla="*/ 3864199 w 8009775"/>
              <a:gd name="connsiteY141" fmla="*/ 2338705 h 6858000"/>
              <a:gd name="connsiteX142" fmla="*/ 3869224 w 8009775"/>
              <a:gd name="connsiteY142" fmla="*/ 2341880 h 6858000"/>
              <a:gd name="connsiteX143" fmla="*/ 3874544 w 8009775"/>
              <a:gd name="connsiteY143" fmla="*/ 2344738 h 6858000"/>
              <a:gd name="connsiteX144" fmla="*/ 3879864 w 8009775"/>
              <a:gd name="connsiteY144" fmla="*/ 2347595 h 6858000"/>
              <a:gd name="connsiteX145" fmla="*/ 3885775 w 8009775"/>
              <a:gd name="connsiteY145" fmla="*/ 2349818 h 6858000"/>
              <a:gd name="connsiteX146" fmla="*/ 3891096 w 8009775"/>
              <a:gd name="connsiteY146" fmla="*/ 2351723 h 6858000"/>
              <a:gd name="connsiteX147" fmla="*/ 3896711 w 8009775"/>
              <a:gd name="connsiteY147" fmla="*/ 2353628 h 6858000"/>
              <a:gd name="connsiteX148" fmla="*/ 3902623 w 8009775"/>
              <a:gd name="connsiteY148" fmla="*/ 2355534 h 6858000"/>
              <a:gd name="connsiteX149" fmla="*/ 3908238 w 8009775"/>
              <a:gd name="connsiteY149" fmla="*/ 2356485 h 6858000"/>
              <a:gd name="connsiteX150" fmla="*/ 3914150 w 8009775"/>
              <a:gd name="connsiteY150" fmla="*/ 2357755 h 6858000"/>
              <a:gd name="connsiteX151" fmla="*/ 3920061 w 8009775"/>
              <a:gd name="connsiteY151" fmla="*/ 2358391 h 6858000"/>
              <a:gd name="connsiteX152" fmla="*/ 3925972 w 8009775"/>
              <a:gd name="connsiteY152" fmla="*/ 2358708 h 6858000"/>
              <a:gd name="connsiteX153" fmla="*/ 3931883 w 8009775"/>
              <a:gd name="connsiteY153" fmla="*/ 2358708 h 6858000"/>
              <a:gd name="connsiteX154" fmla="*/ 3937795 w 8009775"/>
              <a:gd name="connsiteY154" fmla="*/ 2358708 h 6858000"/>
              <a:gd name="connsiteX155" fmla="*/ 3943706 w 8009775"/>
              <a:gd name="connsiteY155" fmla="*/ 2358391 h 6858000"/>
              <a:gd name="connsiteX156" fmla="*/ 3949617 w 8009775"/>
              <a:gd name="connsiteY156" fmla="*/ 2357755 h 6858000"/>
              <a:gd name="connsiteX157" fmla="*/ 3955233 w 8009775"/>
              <a:gd name="connsiteY157" fmla="*/ 2356485 h 6858000"/>
              <a:gd name="connsiteX158" fmla="*/ 3961144 w 8009775"/>
              <a:gd name="connsiteY158" fmla="*/ 2355534 h 6858000"/>
              <a:gd name="connsiteX159" fmla="*/ 3966760 w 8009775"/>
              <a:gd name="connsiteY159" fmla="*/ 2353628 h 6858000"/>
              <a:gd name="connsiteX160" fmla="*/ 3972671 w 8009775"/>
              <a:gd name="connsiteY160" fmla="*/ 2351723 h 6858000"/>
              <a:gd name="connsiteX161" fmla="*/ 3978287 w 8009775"/>
              <a:gd name="connsiteY161" fmla="*/ 2349818 h 6858000"/>
              <a:gd name="connsiteX162" fmla="*/ 3983607 w 8009775"/>
              <a:gd name="connsiteY162" fmla="*/ 2347595 h 6858000"/>
              <a:gd name="connsiteX163" fmla="*/ 3989223 w 8009775"/>
              <a:gd name="connsiteY163" fmla="*/ 2344738 h 6858000"/>
              <a:gd name="connsiteX164" fmla="*/ 3994543 w 8009775"/>
              <a:gd name="connsiteY164" fmla="*/ 2341880 h 6858000"/>
              <a:gd name="connsiteX165" fmla="*/ 3999567 w 8009775"/>
              <a:gd name="connsiteY165" fmla="*/ 2338705 h 6858000"/>
              <a:gd name="connsiteX166" fmla="*/ 4004888 w 8009775"/>
              <a:gd name="connsiteY166" fmla="*/ 2334895 h 6858000"/>
              <a:gd name="connsiteX167" fmla="*/ 4009617 w 8009775"/>
              <a:gd name="connsiteY167" fmla="*/ 2331085 h 6858000"/>
              <a:gd name="connsiteX168" fmla="*/ 4014346 w 8009775"/>
              <a:gd name="connsiteY168" fmla="*/ 2326958 h 6858000"/>
              <a:gd name="connsiteX169" fmla="*/ 4018779 w 8009775"/>
              <a:gd name="connsiteY169" fmla="*/ 2322830 h 6858000"/>
              <a:gd name="connsiteX170" fmla="*/ 4023213 w 8009775"/>
              <a:gd name="connsiteY170" fmla="*/ 2318068 h 6858000"/>
              <a:gd name="connsiteX171" fmla="*/ 4027646 w 8009775"/>
              <a:gd name="connsiteY171" fmla="*/ 2313306 h 6858000"/>
              <a:gd name="connsiteX172" fmla="*/ 4031193 w 8009775"/>
              <a:gd name="connsiteY172" fmla="*/ 2308544 h 6858000"/>
              <a:gd name="connsiteX173" fmla="*/ 4034740 w 8009775"/>
              <a:gd name="connsiteY173" fmla="*/ 2303463 h 6858000"/>
              <a:gd name="connsiteX174" fmla="*/ 4037991 w 8009775"/>
              <a:gd name="connsiteY174" fmla="*/ 2298384 h 6858000"/>
              <a:gd name="connsiteX175" fmla="*/ 4040946 w 8009775"/>
              <a:gd name="connsiteY175" fmla="*/ 2292985 h 6858000"/>
              <a:gd name="connsiteX176" fmla="*/ 4043606 w 8009775"/>
              <a:gd name="connsiteY176" fmla="*/ 2287588 h 6858000"/>
              <a:gd name="connsiteX177" fmla="*/ 4046267 w 8009775"/>
              <a:gd name="connsiteY177" fmla="*/ 2281873 h 6858000"/>
              <a:gd name="connsiteX178" fmla="*/ 4048040 w 8009775"/>
              <a:gd name="connsiteY178" fmla="*/ 2276476 h 6858000"/>
              <a:gd name="connsiteX179" fmla="*/ 4050109 w 8009775"/>
              <a:gd name="connsiteY179" fmla="*/ 2270761 h 6858000"/>
              <a:gd name="connsiteX180" fmla="*/ 4051587 w 8009775"/>
              <a:gd name="connsiteY180" fmla="*/ 2265046 h 6858000"/>
              <a:gd name="connsiteX181" fmla="*/ 4052769 w 8009775"/>
              <a:gd name="connsiteY181" fmla="*/ 2259331 h 6858000"/>
              <a:gd name="connsiteX182" fmla="*/ 4053656 w 8009775"/>
              <a:gd name="connsiteY182" fmla="*/ 2253298 h 6858000"/>
              <a:gd name="connsiteX183" fmla="*/ 4054542 w 8009775"/>
              <a:gd name="connsiteY183" fmla="*/ 2247266 h 6858000"/>
              <a:gd name="connsiteX184" fmla="*/ 4054838 w 8009775"/>
              <a:gd name="connsiteY184" fmla="*/ 2241551 h 6858000"/>
              <a:gd name="connsiteX185" fmla="*/ 4055133 w 8009775"/>
              <a:gd name="connsiteY185" fmla="*/ 2235519 h 6858000"/>
              <a:gd name="connsiteX186" fmla="*/ 4054838 w 8009775"/>
              <a:gd name="connsiteY186" fmla="*/ 2229804 h 6858000"/>
              <a:gd name="connsiteX187" fmla="*/ 4054542 w 8009775"/>
              <a:gd name="connsiteY187" fmla="*/ 2223770 h 6858000"/>
              <a:gd name="connsiteX188" fmla="*/ 4053656 w 8009775"/>
              <a:gd name="connsiteY188" fmla="*/ 2217739 h 6858000"/>
              <a:gd name="connsiteX189" fmla="*/ 4052769 w 8009775"/>
              <a:gd name="connsiteY189" fmla="*/ 2212024 h 6858000"/>
              <a:gd name="connsiteX190" fmla="*/ 4051587 w 8009775"/>
              <a:gd name="connsiteY190" fmla="*/ 2206309 h 6858000"/>
              <a:gd name="connsiteX191" fmla="*/ 4050109 w 8009775"/>
              <a:gd name="connsiteY191" fmla="*/ 2200593 h 6858000"/>
              <a:gd name="connsiteX192" fmla="*/ 4048040 w 8009775"/>
              <a:gd name="connsiteY192" fmla="*/ 2194878 h 6858000"/>
              <a:gd name="connsiteX193" fmla="*/ 4046267 w 8009775"/>
              <a:gd name="connsiteY193" fmla="*/ 2189163 h 6858000"/>
              <a:gd name="connsiteX194" fmla="*/ 4043606 w 8009775"/>
              <a:gd name="connsiteY194" fmla="*/ 2183765 h 6858000"/>
              <a:gd name="connsiteX195" fmla="*/ 4040946 w 8009775"/>
              <a:gd name="connsiteY195" fmla="*/ 2178368 h 6858000"/>
              <a:gd name="connsiteX196" fmla="*/ 4037991 w 8009775"/>
              <a:gd name="connsiteY196" fmla="*/ 2172970 h 6858000"/>
              <a:gd name="connsiteX197" fmla="*/ 4034740 w 8009775"/>
              <a:gd name="connsiteY197" fmla="*/ 2167890 h 6858000"/>
              <a:gd name="connsiteX198" fmla="*/ 4031193 w 8009775"/>
              <a:gd name="connsiteY198" fmla="*/ 2162494 h 6858000"/>
              <a:gd name="connsiteX199" fmla="*/ 4027646 w 8009775"/>
              <a:gd name="connsiteY199" fmla="*/ 2157730 h 6858000"/>
              <a:gd name="connsiteX200" fmla="*/ 4023213 w 8009775"/>
              <a:gd name="connsiteY200" fmla="*/ 2153285 h 6858000"/>
              <a:gd name="connsiteX201" fmla="*/ 4018779 w 8009775"/>
              <a:gd name="connsiteY201" fmla="*/ 2148523 h 6858000"/>
              <a:gd name="connsiteX202" fmla="*/ 3632182 w 8009775"/>
              <a:gd name="connsiteY202" fmla="*/ 1761490 h 6858000"/>
              <a:gd name="connsiteX203" fmla="*/ 3435928 w 8009775"/>
              <a:gd name="connsiteY203" fmla="*/ 1565276 h 6858000"/>
              <a:gd name="connsiteX204" fmla="*/ 3431198 w 8009775"/>
              <a:gd name="connsiteY204" fmla="*/ 1560514 h 6858000"/>
              <a:gd name="connsiteX205" fmla="*/ 3427356 w 8009775"/>
              <a:gd name="connsiteY205" fmla="*/ 1555751 h 6858000"/>
              <a:gd name="connsiteX206" fmla="*/ 3423218 w 8009775"/>
              <a:gd name="connsiteY206" fmla="*/ 1550671 h 6858000"/>
              <a:gd name="connsiteX207" fmla="*/ 3420262 w 8009775"/>
              <a:gd name="connsiteY207" fmla="*/ 1545909 h 6858000"/>
              <a:gd name="connsiteX208" fmla="*/ 3417012 w 8009775"/>
              <a:gd name="connsiteY208" fmla="*/ 1540829 h 6858000"/>
              <a:gd name="connsiteX209" fmla="*/ 3413760 w 8009775"/>
              <a:gd name="connsiteY209" fmla="*/ 1535430 h 6858000"/>
              <a:gd name="connsiteX210" fmla="*/ 3411100 w 8009775"/>
              <a:gd name="connsiteY210" fmla="*/ 1530034 h 6858000"/>
              <a:gd name="connsiteX211" fmla="*/ 3408736 w 8009775"/>
              <a:gd name="connsiteY211" fmla="*/ 1524635 h 6858000"/>
              <a:gd name="connsiteX212" fmla="*/ 3406371 w 8009775"/>
              <a:gd name="connsiteY212" fmla="*/ 1518920 h 6858000"/>
              <a:gd name="connsiteX213" fmla="*/ 3404598 w 8009775"/>
              <a:gd name="connsiteY213" fmla="*/ 1513205 h 6858000"/>
              <a:gd name="connsiteX214" fmla="*/ 3403120 w 8009775"/>
              <a:gd name="connsiteY214" fmla="*/ 1507174 h 6858000"/>
              <a:gd name="connsiteX215" fmla="*/ 3401938 w 8009775"/>
              <a:gd name="connsiteY215" fmla="*/ 1501459 h 6858000"/>
              <a:gd name="connsiteX216" fmla="*/ 3401051 w 8009775"/>
              <a:gd name="connsiteY216" fmla="*/ 1495744 h 6858000"/>
              <a:gd name="connsiteX217" fmla="*/ 3400460 w 8009775"/>
              <a:gd name="connsiteY217" fmla="*/ 1489710 h 6858000"/>
              <a:gd name="connsiteX218" fmla="*/ 3399869 w 8009775"/>
              <a:gd name="connsiteY218" fmla="*/ 1483995 h 6858000"/>
              <a:gd name="connsiteX219" fmla="*/ 3399573 w 8009775"/>
              <a:gd name="connsiteY219" fmla="*/ 1478281 h 6858000"/>
              <a:gd name="connsiteX220" fmla="*/ 3399869 w 8009775"/>
              <a:gd name="connsiteY220" fmla="*/ 1472249 h 6858000"/>
              <a:gd name="connsiteX221" fmla="*/ 3400460 w 8009775"/>
              <a:gd name="connsiteY221" fmla="*/ 1466215 h 6858000"/>
              <a:gd name="connsiteX222" fmla="*/ 3401051 w 8009775"/>
              <a:gd name="connsiteY222" fmla="*/ 1460183 h 6858000"/>
              <a:gd name="connsiteX223" fmla="*/ 3401938 w 8009775"/>
              <a:gd name="connsiteY223" fmla="*/ 1454468 h 6858000"/>
              <a:gd name="connsiteX224" fmla="*/ 3403120 w 8009775"/>
              <a:gd name="connsiteY224" fmla="*/ 1448754 h 6858000"/>
              <a:gd name="connsiteX225" fmla="*/ 3404598 w 8009775"/>
              <a:gd name="connsiteY225" fmla="*/ 1443039 h 6858000"/>
              <a:gd name="connsiteX226" fmla="*/ 3406371 w 8009775"/>
              <a:gd name="connsiteY226" fmla="*/ 1437324 h 6858000"/>
              <a:gd name="connsiteX227" fmla="*/ 3408736 w 8009775"/>
              <a:gd name="connsiteY227" fmla="*/ 1431609 h 6858000"/>
              <a:gd name="connsiteX228" fmla="*/ 3411100 w 8009775"/>
              <a:gd name="connsiteY228" fmla="*/ 1426211 h 6858000"/>
              <a:gd name="connsiteX229" fmla="*/ 3413760 w 8009775"/>
              <a:gd name="connsiteY229" fmla="*/ 1420814 h 6858000"/>
              <a:gd name="connsiteX230" fmla="*/ 3417012 w 8009775"/>
              <a:gd name="connsiteY230" fmla="*/ 1415416 h 6858000"/>
              <a:gd name="connsiteX231" fmla="*/ 3420262 w 8009775"/>
              <a:gd name="connsiteY231" fmla="*/ 1410336 h 6858000"/>
              <a:gd name="connsiteX232" fmla="*/ 3423218 w 8009775"/>
              <a:gd name="connsiteY232" fmla="*/ 1405256 h 6858000"/>
              <a:gd name="connsiteX233" fmla="*/ 3427356 w 8009775"/>
              <a:gd name="connsiteY233" fmla="*/ 1400175 h 6858000"/>
              <a:gd name="connsiteX234" fmla="*/ 3431198 w 8009775"/>
              <a:gd name="connsiteY234" fmla="*/ 1395731 h 6858000"/>
              <a:gd name="connsiteX235" fmla="*/ 3435928 w 8009775"/>
              <a:gd name="connsiteY235" fmla="*/ 1390969 h 6858000"/>
              <a:gd name="connsiteX236" fmla="*/ 3440361 w 8009775"/>
              <a:gd name="connsiteY236" fmla="*/ 1386524 h 6858000"/>
              <a:gd name="connsiteX237" fmla="*/ 3445386 w 8009775"/>
              <a:gd name="connsiteY237" fmla="*/ 1382396 h 6858000"/>
              <a:gd name="connsiteX238" fmla="*/ 3449819 w 8009775"/>
              <a:gd name="connsiteY238" fmla="*/ 1378585 h 6858000"/>
              <a:gd name="connsiteX239" fmla="*/ 3454844 w 8009775"/>
              <a:gd name="connsiteY239" fmla="*/ 1375094 h 6858000"/>
              <a:gd name="connsiteX240" fmla="*/ 3460459 w 8009775"/>
              <a:gd name="connsiteY240" fmla="*/ 1371919 h 6858000"/>
              <a:gd name="connsiteX241" fmla="*/ 3465780 w 8009775"/>
              <a:gd name="connsiteY241" fmla="*/ 1369061 h 6858000"/>
              <a:gd name="connsiteX242" fmla="*/ 3471100 w 8009775"/>
              <a:gd name="connsiteY242" fmla="*/ 1366204 h 6858000"/>
              <a:gd name="connsiteX243" fmla="*/ 3476420 w 8009775"/>
              <a:gd name="connsiteY243" fmla="*/ 1363980 h 6858000"/>
              <a:gd name="connsiteX244" fmla="*/ 3482331 w 8009775"/>
              <a:gd name="connsiteY244" fmla="*/ 1361759 h 6858000"/>
              <a:gd name="connsiteX245" fmla="*/ 3487947 w 8009775"/>
              <a:gd name="connsiteY245" fmla="*/ 1360170 h 6858000"/>
              <a:gd name="connsiteX246" fmla="*/ 3493858 w 8009775"/>
              <a:gd name="connsiteY246" fmla="*/ 1358265 h 6858000"/>
              <a:gd name="connsiteX247" fmla="*/ 3499474 w 8009775"/>
              <a:gd name="connsiteY247" fmla="*/ 1357314 h 6858000"/>
              <a:gd name="connsiteX248" fmla="*/ 3505385 w 8009775"/>
              <a:gd name="connsiteY248" fmla="*/ 1356043 h 6858000"/>
              <a:gd name="connsiteX249" fmla="*/ 3511001 w 8009775"/>
              <a:gd name="connsiteY249" fmla="*/ 1355409 h 6858000"/>
              <a:gd name="connsiteX250" fmla="*/ 3517208 w 8009775"/>
              <a:gd name="connsiteY250" fmla="*/ 1355090 h 6858000"/>
              <a:gd name="connsiteX251" fmla="*/ 3522823 w 8009775"/>
              <a:gd name="connsiteY251" fmla="*/ 1354773 h 6858000"/>
              <a:gd name="connsiteX252" fmla="*/ 3529030 w 8009775"/>
              <a:gd name="connsiteY252" fmla="*/ 1355090 h 6858000"/>
              <a:gd name="connsiteX253" fmla="*/ 3534646 w 8009775"/>
              <a:gd name="connsiteY253" fmla="*/ 1355409 h 6858000"/>
              <a:gd name="connsiteX254" fmla="*/ 3540557 w 8009775"/>
              <a:gd name="connsiteY254" fmla="*/ 1356043 h 6858000"/>
              <a:gd name="connsiteX255" fmla="*/ 3546468 w 8009775"/>
              <a:gd name="connsiteY255" fmla="*/ 1357314 h 6858000"/>
              <a:gd name="connsiteX256" fmla="*/ 3552380 w 8009775"/>
              <a:gd name="connsiteY256" fmla="*/ 1358265 h 6858000"/>
              <a:gd name="connsiteX257" fmla="*/ 3557995 w 8009775"/>
              <a:gd name="connsiteY257" fmla="*/ 1360170 h 6858000"/>
              <a:gd name="connsiteX258" fmla="*/ 3563906 w 8009775"/>
              <a:gd name="connsiteY258" fmla="*/ 1361759 h 6858000"/>
              <a:gd name="connsiteX259" fmla="*/ 3569227 w 8009775"/>
              <a:gd name="connsiteY259" fmla="*/ 1363980 h 6858000"/>
              <a:gd name="connsiteX260" fmla="*/ 3574842 w 8009775"/>
              <a:gd name="connsiteY260" fmla="*/ 1366204 h 6858000"/>
              <a:gd name="connsiteX261" fmla="*/ 3580458 w 8009775"/>
              <a:gd name="connsiteY261" fmla="*/ 1369061 h 6858000"/>
              <a:gd name="connsiteX262" fmla="*/ 3585778 w 8009775"/>
              <a:gd name="connsiteY262" fmla="*/ 1371919 h 6858000"/>
              <a:gd name="connsiteX263" fmla="*/ 3590803 w 8009775"/>
              <a:gd name="connsiteY263" fmla="*/ 1375094 h 6858000"/>
              <a:gd name="connsiteX264" fmla="*/ 3595828 w 8009775"/>
              <a:gd name="connsiteY264" fmla="*/ 1378585 h 6858000"/>
              <a:gd name="connsiteX265" fmla="*/ 3600852 w 8009775"/>
              <a:gd name="connsiteY265" fmla="*/ 1382396 h 6858000"/>
              <a:gd name="connsiteX266" fmla="*/ 3605581 w 8009775"/>
              <a:gd name="connsiteY266" fmla="*/ 1386524 h 6858000"/>
              <a:gd name="connsiteX267" fmla="*/ 3610014 w 8009775"/>
              <a:gd name="connsiteY267" fmla="*/ 1390969 h 6858000"/>
              <a:gd name="connsiteX268" fmla="*/ 3817500 w 8009775"/>
              <a:gd name="connsiteY268" fmla="*/ 1598296 h 6858000"/>
              <a:gd name="connsiteX269" fmla="*/ 3821934 w 8009775"/>
              <a:gd name="connsiteY269" fmla="*/ 1602423 h 6858000"/>
              <a:gd name="connsiteX270" fmla="*/ 3826663 w 8009775"/>
              <a:gd name="connsiteY270" fmla="*/ 1606869 h 6858000"/>
              <a:gd name="connsiteX271" fmla="*/ 3831687 w 8009775"/>
              <a:gd name="connsiteY271" fmla="*/ 1610361 h 6858000"/>
              <a:gd name="connsiteX272" fmla="*/ 3836712 w 8009775"/>
              <a:gd name="connsiteY272" fmla="*/ 1613854 h 6858000"/>
              <a:gd name="connsiteX273" fmla="*/ 3841736 w 8009775"/>
              <a:gd name="connsiteY273" fmla="*/ 1617345 h 6858000"/>
              <a:gd name="connsiteX274" fmla="*/ 3847352 w 8009775"/>
              <a:gd name="connsiteY274" fmla="*/ 1620204 h 6858000"/>
              <a:gd name="connsiteX275" fmla="*/ 3852672 w 8009775"/>
              <a:gd name="connsiteY275" fmla="*/ 1623061 h 6858000"/>
              <a:gd name="connsiteX276" fmla="*/ 3857992 w 8009775"/>
              <a:gd name="connsiteY276" fmla="*/ 1625283 h 6858000"/>
              <a:gd name="connsiteX277" fmla="*/ 3863608 w 8009775"/>
              <a:gd name="connsiteY277" fmla="*/ 1627189 h 6858000"/>
              <a:gd name="connsiteX278" fmla="*/ 3869519 w 8009775"/>
              <a:gd name="connsiteY278" fmla="*/ 1629094 h 6858000"/>
              <a:gd name="connsiteX279" fmla="*/ 3875135 w 8009775"/>
              <a:gd name="connsiteY279" fmla="*/ 1630998 h 6858000"/>
              <a:gd name="connsiteX280" fmla="*/ 3881046 w 8009775"/>
              <a:gd name="connsiteY280" fmla="*/ 1631950 h 6858000"/>
              <a:gd name="connsiteX281" fmla="*/ 3886662 w 8009775"/>
              <a:gd name="connsiteY281" fmla="*/ 1632904 h 6858000"/>
              <a:gd name="connsiteX282" fmla="*/ 3892869 w 8009775"/>
              <a:gd name="connsiteY282" fmla="*/ 1633856 h 6858000"/>
              <a:gd name="connsiteX283" fmla="*/ 3898485 w 8009775"/>
              <a:gd name="connsiteY283" fmla="*/ 1634174 h 6858000"/>
              <a:gd name="connsiteX284" fmla="*/ 3904396 w 8009775"/>
              <a:gd name="connsiteY284" fmla="*/ 1634174 h 6858000"/>
              <a:gd name="connsiteX285" fmla="*/ 3910307 w 8009775"/>
              <a:gd name="connsiteY285" fmla="*/ 1634174 h 6858000"/>
              <a:gd name="connsiteX286" fmla="*/ 3916219 w 8009775"/>
              <a:gd name="connsiteY286" fmla="*/ 1633856 h 6858000"/>
              <a:gd name="connsiteX287" fmla="*/ 3922425 w 8009775"/>
              <a:gd name="connsiteY287" fmla="*/ 1632904 h 6858000"/>
              <a:gd name="connsiteX288" fmla="*/ 3928041 w 8009775"/>
              <a:gd name="connsiteY288" fmla="*/ 1631950 h 6858000"/>
              <a:gd name="connsiteX289" fmla="*/ 3933657 w 8009775"/>
              <a:gd name="connsiteY289" fmla="*/ 1630998 h 6858000"/>
              <a:gd name="connsiteX290" fmla="*/ 3939568 w 8009775"/>
              <a:gd name="connsiteY290" fmla="*/ 1629094 h 6858000"/>
              <a:gd name="connsiteX291" fmla="*/ 3945184 w 8009775"/>
              <a:gd name="connsiteY291" fmla="*/ 1627189 h 6858000"/>
              <a:gd name="connsiteX292" fmla="*/ 3950799 w 8009775"/>
              <a:gd name="connsiteY292" fmla="*/ 1625283 h 6858000"/>
              <a:gd name="connsiteX293" fmla="*/ 3956415 w 8009775"/>
              <a:gd name="connsiteY293" fmla="*/ 1623061 h 6858000"/>
              <a:gd name="connsiteX294" fmla="*/ 3961735 w 8009775"/>
              <a:gd name="connsiteY294" fmla="*/ 1620204 h 6858000"/>
              <a:gd name="connsiteX295" fmla="*/ 3967055 w 8009775"/>
              <a:gd name="connsiteY295" fmla="*/ 1617345 h 6858000"/>
              <a:gd name="connsiteX296" fmla="*/ 3972376 w 8009775"/>
              <a:gd name="connsiteY296" fmla="*/ 1613854 h 6858000"/>
              <a:gd name="connsiteX297" fmla="*/ 3977400 w 8009775"/>
              <a:gd name="connsiteY297" fmla="*/ 1610361 h 6858000"/>
              <a:gd name="connsiteX298" fmla="*/ 3982425 w 8009775"/>
              <a:gd name="connsiteY298" fmla="*/ 1606869 h 6858000"/>
              <a:gd name="connsiteX299" fmla="*/ 3986858 w 8009775"/>
              <a:gd name="connsiteY299" fmla="*/ 1602423 h 6858000"/>
              <a:gd name="connsiteX300" fmla="*/ 3991587 w 8009775"/>
              <a:gd name="connsiteY300" fmla="*/ 1598296 h 6858000"/>
              <a:gd name="connsiteX301" fmla="*/ 3996021 w 8009775"/>
              <a:gd name="connsiteY301" fmla="*/ 1593533 h 6858000"/>
              <a:gd name="connsiteX302" fmla="*/ 4000159 w 8009775"/>
              <a:gd name="connsiteY302" fmla="*/ 1588771 h 6858000"/>
              <a:gd name="connsiteX303" fmla="*/ 4003705 w 8009775"/>
              <a:gd name="connsiteY303" fmla="*/ 1583691 h 6858000"/>
              <a:gd name="connsiteX304" fmla="*/ 4007548 w 8009775"/>
              <a:gd name="connsiteY304" fmla="*/ 1578928 h 6858000"/>
              <a:gd name="connsiteX305" fmla="*/ 4010799 w 8009775"/>
              <a:gd name="connsiteY305" fmla="*/ 1573849 h 6858000"/>
              <a:gd name="connsiteX306" fmla="*/ 4013459 w 8009775"/>
              <a:gd name="connsiteY306" fmla="*/ 1568451 h 6858000"/>
              <a:gd name="connsiteX307" fmla="*/ 4016415 w 8009775"/>
              <a:gd name="connsiteY307" fmla="*/ 1563054 h 6858000"/>
              <a:gd name="connsiteX308" fmla="*/ 4018484 w 8009775"/>
              <a:gd name="connsiteY308" fmla="*/ 1557339 h 6858000"/>
              <a:gd name="connsiteX309" fmla="*/ 4020848 w 8009775"/>
              <a:gd name="connsiteY309" fmla="*/ 1551941 h 6858000"/>
              <a:gd name="connsiteX310" fmla="*/ 4022621 w 8009775"/>
              <a:gd name="connsiteY310" fmla="*/ 1546226 h 6858000"/>
              <a:gd name="connsiteX311" fmla="*/ 4024395 w 8009775"/>
              <a:gd name="connsiteY311" fmla="*/ 1540511 h 6858000"/>
              <a:gd name="connsiteX312" fmla="*/ 4025282 w 8009775"/>
              <a:gd name="connsiteY312" fmla="*/ 1534478 h 6858000"/>
              <a:gd name="connsiteX313" fmla="*/ 4026464 w 8009775"/>
              <a:gd name="connsiteY313" fmla="*/ 1528763 h 6858000"/>
              <a:gd name="connsiteX314" fmla="*/ 4027055 w 8009775"/>
              <a:gd name="connsiteY314" fmla="*/ 1522731 h 6858000"/>
              <a:gd name="connsiteX315" fmla="*/ 4027646 w 8009775"/>
              <a:gd name="connsiteY315" fmla="*/ 1517016 h 6858000"/>
              <a:gd name="connsiteX316" fmla="*/ 4027646 w 8009775"/>
              <a:gd name="connsiteY316" fmla="*/ 1510984 h 6858000"/>
              <a:gd name="connsiteX317" fmla="*/ 4027646 w 8009775"/>
              <a:gd name="connsiteY317" fmla="*/ 1505268 h 6858000"/>
              <a:gd name="connsiteX318" fmla="*/ 4027055 w 8009775"/>
              <a:gd name="connsiteY318" fmla="*/ 1499553 h 6858000"/>
              <a:gd name="connsiteX319" fmla="*/ 4026464 w 8009775"/>
              <a:gd name="connsiteY319" fmla="*/ 1493204 h 6858000"/>
              <a:gd name="connsiteX320" fmla="*/ 4025282 w 8009775"/>
              <a:gd name="connsiteY320" fmla="*/ 1487489 h 6858000"/>
              <a:gd name="connsiteX321" fmla="*/ 4024395 w 8009775"/>
              <a:gd name="connsiteY321" fmla="*/ 1481773 h 6858000"/>
              <a:gd name="connsiteX322" fmla="*/ 4022621 w 8009775"/>
              <a:gd name="connsiteY322" fmla="*/ 1476058 h 6858000"/>
              <a:gd name="connsiteX323" fmla="*/ 4020848 w 8009775"/>
              <a:gd name="connsiteY323" fmla="*/ 1470343 h 6858000"/>
              <a:gd name="connsiteX324" fmla="*/ 4018484 w 8009775"/>
              <a:gd name="connsiteY324" fmla="*/ 1464629 h 6858000"/>
              <a:gd name="connsiteX325" fmla="*/ 4016415 w 8009775"/>
              <a:gd name="connsiteY325" fmla="*/ 1459231 h 6858000"/>
              <a:gd name="connsiteX326" fmla="*/ 4013459 w 8009775"/>
              <a:gd name="connsiteY326" fmla="*/ 1453834 h 6858000"/>
              <a:gd name="connsiteX327" fmla="*/ 4010799 w 8009775"/>
              <a:gd name="connsiteY327" fmla="*/ 1448436 h 6858000"/>
              <a:gd name="connsiteX328" fmla="*/ 4007548 w 8009775"/>
              <a:gd name="connsiteY328" fmla="*/ 1443356 h 6858000"/>
              <a:gd name="connsiteX329" fmla="*/ 4003705 w 8009775"/>
              <a:gd name="connsiteY329" fmla="*/ 1438275 h 6858000"/>
              <a:gd name="connsiteX330" fmla="*/ 4000159 w 8009775"/>
              <a:gd name="connsiteY330" fmla="*/ 1433195 h 6858000"/>
              <a:gd name="connsiteX331" fmla="*/ 3996021 w 8009775"/>
              <a:gd name="connsiteY331" fmla="*/ 1428751 h 6858000"/>
              <a:gd name="connsiteX332" fmla="*/ 3991587 w 8009775"/>
              <a:gd name="connsiteY332" fmla="*/ 1423988 h 6858000"/>
              <a:gd name="connsiteX333" fmla="*/ 3323022 w 8009775"/>
              <a:gd name="connsiteY333" fmla="*/ 755333 h 6858000"/>
              <a:gd name="connsiteX334" fmla="*/ 3316815 w 8009775"/>
              <a:gd name="connsiteY334" fmla="*/ 748348 h 6858000"/>
              <a:gd name="connsiteX335" fmla="*/ 3310904 w 8009775"/>
              <a:gd name="connsiteY335" fmla="*/ 741045 h 6858000"/>
              <a:gd name="connsiteX336" fmla="*/ 3305584 w 8009775"/>
              <a:gd name="connsiteY336" fmla="*/ 733108 h 6858000"/>
              <a:gd name="connsiteX337" fmla="*/ 3300855 w 8009775"/>
              <a:gd name="connsiteY337" fmla="*/ 725170 h 6858000"/>
              <a:gd name="connsiteX338" fmla="*/ 3297308 w 8009775"/>
              <a:gd name="connsiteY338" fmla="*/ 716915 h 6858000"/>
              <a:gd name="connsiteX339" fmla="*/ 3293761 w 8009775"/>
              <a:gd name="connsiteY339" fmla="*/ 708660 h 6858000"/>
              <a:gd name="connsiteX340" fmla="*/ 3291101 w 8009775"/>
              <a:gd name="connsiteY340" fmla="*/ 699770 h 6858000"/>
              <a:gd name="connsiteX341" fmla="*/ 3289328 w 8009775"/>
              <a:gd name="connsiteY341" fmla="*/ 691198 h 6858000"/>
              <a:gd name="connsiteX342" fmla="*/ 2596527 w 8009775"/>
              <a:gd name="connsiteY342" fmla="*/ 0 h 6858000"/>
              <a:gd name="connsiteX0" fmla="*/ 2596527 w 8009775"/>
              <a:gd name="connsiteY0" fmla="*/ 0 h 6858000"/>
              <a:gd name="connsiteX1" fmla="*/ 2165004 w 8009775"/>
              <a:gd name="connsiteY1" fmla="*/ 0 h 6858000"/>
              <a:gd name="connsiteX2" fmla="*/ 3265978 w 8009775"/>
              <a:gd name="connsiteY2" fmla="*/ 1101091 h 6858000"/>
              <a:gd name="connsiteX3" fmla="*/ 3270708 w 8009775"/>
              <a:gd name="connsiteY3" fmla="*/ 1105854 h 6858000"/>
              <a:gd name="connsiteX4" fmla="*/ 3274550 w 8009775"/>
              <a:gd name="connsiteY4" fmla="*/ 1110615 h 6858000"/>
              <a:gd name="connsiteX5" fmla="*/ 3278688 w 8009775"/>
              <a:gd name="connsiteY5" fmla="*/ 1115696 h 6858000"/>
              <a:gd name="connsiteX6" fmla="*/ 3282234 w 8009775"/>
              <a:gd name="connsiteY6" fmla="*/ 1120776 h 6858000"/>
              <a:gd name="connsiteX7" fmla="*/ 3285486 w 8009775"/>
              <a:gd name="connsiteY7" fmla="*/ 1126174 h 6858000"/>
              <a:gd name="connsiteX8" fmla="*/ 3288146 w 8009775"/>
              <a:gd name="connsiteY8" fmla="*/ 1131570 h 6858000"/>
              <a:gd name="connsiteX9" fmla="*/ 3291101 w 8009775"/>
              <a:gd name="connsiteY9" fmla="*/ 1136968 h 6858000"/>
              <a:gd name="connsiteX10" fmla="*/ 3293761 w 8009775"/>
              <a:gd name="connsiteY10" fmla="*/ 1142366 h 6858000"/>
              <a:gd name="connsiteX11" fmla="*/ 3295830 w 8009775"/>
              <a:gd name="connsiteY11" fmla="*/ 1148081 h 6858000"/>
              <a:gd name="connsiteX12" fmla="*/ 3297604 w 8009775"/>
              <a:gd name="connsiteY12" fmla="*/ 1153796 h 6858000"/>
              <a:gd name="connsiteX13" fmla="*/ 3299082 w 8009775"/>
              <a:gd name="connsiteY13" fmla="*/ 1159829 h 6858000"/>
              <a:gd name="connsiteX14" fmla="*/ 3300559 w 8009775"/>
              <a:gd name="connsiteY14" fmla="*/ 1165544 h 6858000"/>
              <a:gd name="connsiteX15" fmla="*/ 3301446 w 8009775"/>
              <a:gd name="connsiteY15" fmla="*/ 1171893 h 6858000"/>
              <a:gd name="connsiteX16" fmla="*/ 3302333 w 8009775"/>
              <a:gd name="connsiteY16" fmla="*/ 1177608 h 6858000"/>
              <a:gd name="connsiteX17" fmla="*/ 3302628 w 8009775"/>
              <a:gd name="connsiteY17" fmla="*/ 1183641 h 6858000"/>
              <a:gd name="connsiteX18" fmla="*/ 3302628 w 8009775"/>
              <a:gd name="connsiteY18" fmla="*/ 1189356 h 6858000"/>
              <a:gd name="connsiteX19" fmla="*/ 3302628 w 8009775"/>
              <a:gd name="connsiteY19" fmla="*/ 1195388 h 6858000"/>
              <a:gd name="connsiteX20" fmla="*/ 3302333 w 8009775"/>
              <a:gd name="connsiteY20" fmla="*/ 1201739 h 6858000"/>
              <a:gd name="connsiteX21" fmla="*/ 3301446 w 8009775"/>
              <a:gd name="connsiteY21" fmla="*/ 1207454 h 6858000"/>
              <a:gd name="connsiteX22" fmla="*/ 3300559 w 8009775"/>
              <a:gd name="connsiteY22" fmla="*/ 1213486 h 6858000"/>
              <a:gd name="connsiteX23" fmla="*/ 3299082 w 8009775"/>
              <a:gd name="connsiteY23" fmla="*/ 1219200 h 6858000"/>
              <a:gd name="connsiteX24" fmla="*/ 3297604 w 8009775"/>
              <a:gd name="connsiteY24" fmla="*/ 1225233 h 6858000"/>
              <a:gd name="connsiteX25" fmla="*/ 3295830 w 8009775"/>
              <a:gd name="connsiteY25" fmla="*/ 1230949 h 6858000"/>
              <a:gd name="connsiteX26" fmla="*/ 3293761 w 8009775"/>
              <a:gd name="connsiteY26" fmla="*/ 1236346 h 6858000"/>
              <a:gd name="connsiteX27" fmla="*/ 3291101 w 8009775"/>
              <a:gd name="connsiteY27" fmla="*/ 1242061 h 6858000"/>
              <a:gd name="connsiteX28" fmla="*/ 3288146 w 8009775"/>
              <a:gd name="connsiteY28" fmla="*/ 1247459 h 6858000"/>
              <a:gd name="connsiteX29" fmla="*/ 3285486 w 8009775"/>
              <a:gd name="connsiteY29" fmla="*/ 1252855 h 6858000"/>
              <a:gd name="connsiteX30" fmla="*/ 3282234 w 8009775"/>
              <a:gd name="connsiteY30" fmla="*/ 1258254 h 6858000"/>
              <a:gd name="connsiteX31" fmla="*/ 3278688 w 8009775"/>
              <a:gd name="connsiteY31" fmla="*/ 1263333 h 6858000"/>
              <a:gd name="connsiteX32" fmla="*/ 3274550 w 8009775"/>
              <a:gd name="connsiteY32" fmla="*/ 1268413 h 6858000"/>
              <a:gd name="connsiteX33" fmla="*/ 3270708 w 8009775"/>
              <a:gd name="connsiteY33" fmla="*/ 1273494 h 6858000"/>
              <a:gd name="connsiteX34" fmla="*/ 3265978 w 8009775"/>
              <a:gd name="connsiteY34" fmla="*/ 1278255 h 6858000"/>
              <a:gd name="connsiteX35" fmla="*/ 3261249 w 8009775"/>
              <a:gd name="connsiteY35" fmla="*/ 1282384 h 6858000"/>
              <a:gd name="connsiteX36" fmla="*/ 3256816 w 8009775"/>
              <a:gd name="connsiteY36" fmla="*/ 1286510 h 6858000"/>
              <a:gd name="connsiteX37" fmla="*/ 3251791 w 8009775"/>
              <a:gd name="connsiteY37" fmla="*/ 1290321 h 6858000"/>
              <a:gd name="connsiteX38" fmla="*/ 3246767 w 8009775"/>
              <a:gd name="connsiteY38" fmla="*/ 1293814 h 6858000"/>
              <a:gd name="connsiteX39" fmla="*/ 3241151 w 8009775"/>
              <a:gd name="connsiteY39" fmla="*/ 1297306 h 6858000"/>
              <a:gd name="connsiteX40" fmla="*/ 3235831 w 8009775"/>
              <a:gd name="connsiteY40" fmla="*/ 1300481 h 6858000"/>
              <a:gd name="connsiteX41" fmla="*/ 3230511 w 8009775"/>
              <a:gd name="connsiteY41" fmla="*/ 1303021 h 6858000"/>
              <a:gd name="connsiteX42" fmla="*/ 3224600 w 8009775"/>
              <a:gd name="connsiteY42" fmla="*/ 1305560 h 6858000"/>
              <a:gd name="connsiteX43" fmla="*/ 3218984 w 8009775"/>
              <a:gd name="connsiteY43" fmla="*/ 1307465 h 6858000"/>
              <a:gd name="connsiteX44" fmla="*/ 3213072 w 8009775"/>
              <a:gd name="connsiteY44" fmla="*/ 1309371 h 6858000"/>
              <a:gd name="connsiteX45" fmla="*/ 3207457 w 8009775"/>
              <a:gd name="connsiteY45" fmla="*/ 1311275 h 6858000"/>
              <a:gd name="connsiteX46" fmla="*/ 3201841 w 8009775"/>
              <a:gd name="connsiteY46" fmla="*/ 1312228 h 6858000"/>
              <a:gd name="connsiteX47" fmla="*/ 3195634 w 8009775"/>
              <a:gd name="connsiteY47" fmla="*/ 1313180 h 6858000"/>
              <a:gd name="connsiteX48" fmla="*/ 3189428 w 8009775"/>
              <a:gd name="connsiteY48" fmla="*/ 1314133 h 6858000"/>
              <a:gd name="connsiteX49" fmla="*/ 3183812 w 8009775"/>
              <a:gd name="connsiteY49" fmla="*/ 1314450 h 6858000"/>
              <a:gd name="connsiteX50" fmla="*/ 3177605 w 8009775"/>
              <a:gd name="connsiteY50" fmla="*/ 1314769 h 6858000"/>
              <a:gd name="connsiteX51" fmla="*/ 3171694 w 8009775"/>
              <a:gd name="connsiteY51" fmla="*/ 1314450 h 6858000"/>
              <a:gd name="connsiteX52" fmla="*/ 3165782 w 8009775"/>
              <a:gd name="connsiteY52" fmla="*/ 1314133 h 6858000"/>
              <a:gd name="connsiteX53" fmla="*/ 3159576 w 8009775"/>
              <a:gd name="connsiteY53" fmla="*/ 1313180 h 6858000"/>
              <a:gd name="connsiteX54" fmla="*/ 3153960 w 8009775"/>
              <a:gd name="connsiteY54" fmla="*/ 1312228 h 6858000"/>
              <a:gd name="connsiteX55" fmla="*/ 3147753 w 8009775"/>
              <a:gd name="connsiteY55" fmla="*/ 1311275 h 6858000"/>
              <a:gd name="connsiteX56" fmla="*/ 3142137 w 8009775"/>
              <a:gd name="connsiteY56" fmla="*/ 1309371 h 6858000"/>
              <a:gd name="connsiteX57" fmla="*/ 3136226 w 8009775"/>
              <a:gd name="connsiteY57" fmla="*/ 1307465 h 6858000"/>
              <a:gd name="connsiteX58" fmla="*/ 3130610 w 8009775"/>
              <a:gd name="connsiteY58" fmla="*/ 1305560 h 6858000"/>
              <a:gd name="connsiteX59" fmla="*/ 3124994 w 8009775"/>
              <a:gd name="connsiteY59" fmla="*/ 1303021 h 6858000"/>
              <a:gd name="connsiteX60" fmla="*/ 3119379 w 8009775"/>
              <a:gd name="connsiteY60" fmla="*/ 1300481 h 6858000"/>
              <a:gd name="connsiteX61" fmla="*/ 3114059 w 8009775"/>
              <a:gd name="connsiteY61" fmla="*/ 1297306 h 6858000"/>
              <a:gd name="connsiteX62" fmla="*/ 3109034 w 8009775"/>
              <a:gd name="connsiteY62" fmla="*/ 1293814 h 6858000"/>
              <a:gd name="connsiteX63" fmla="*/ 3103714 w 8009775"/>
              <a:gd name="connsiteY63" fmla="*/ 1290321 h 6858000"/>
              <a:gd name="connsiteX64" fmla="*/ 3098689 w 8009775"/>
              <a:gd name="connsiteY64" fmla="*/ 1286510 h 6858000"/>
              <a:gd name="connsiteX65" fmla="*/ 3093960 w 8009775"/>
              <a:gd name="connsiteY65" fmla="*/ 1282384 h 6858000"/>
              <a:gd name="connsiteX66" fmla="*/ 3089231 w 8009775"/>
              <a:gd name="connsiteY66" fmla="*/ 1278255 h 6858000"/>
              <a:gd name="connsiteX67" fmla="*/ 1811214 w 8009775"/>
              <a:gd name="connsiteY67" fmla="*/ 0 h 6858000"/>
              <a:gd name="connsiteX68" fmla="*/ 0 w 8009775"/>
              <a:gd name="connsiteY68" fmla="*/ 0 h 6858000"/>
              <a:gd name="connsiteX69" fmla="*/ 0 w 8009775"/>
              <a:gd name="connsiteY69" fmla="*/ 6858000 h 6858000"/>
              <a:gd name="connsiteX70" fmla="*/ 8009775 w 8009775"/>
              <a:gd name="connsiteY70" fmla="*/ 6858000 h 6858000"/>
              <a:gd name="connsiteX71" fmla="*/ 3001744 w 8009775"/>
              <a:gd name="connsiteY71" fmla="*/ 1828166 h 6858000"/>
              <a:gd name="connsiteX72" fmla="*/ 2997311 w 8009775"/>
              <a:gd name="connsiteY72" fmla="*/ 1823404 h 6858000"/>
              <a:gd name="connsiteX73" fmla="*/ 2992878 w 8009775"/>
              <a:gd name="connsiteY73" fmla="*/ 1818640 h 6858000"/>
              <a:gd name="connsiteX74" fmla="*/ 2989331 w 8009775"/>
              <a:gd name="connsiteY74" fmla="*/ 1814195 h 6858000"/>
              <a:gd name="connsiteX75" fmla="*/ 2985784 w 8009775"/>
              <a:gd name="connsiteY75" fmla="*/ 1808799 h 6858000"/>
              <a:gd name="connsiteX76" fmla="*/ 2982533 w 8009775"/>
              <a:gd name="connsiteY76" fmla="*/ 1803718 h 6858000"/>
              <a:gd name="connsiteX77" fmla="*/ 2979873 w 8009775"/>
              <a:gd name="connsiteY77" fmla="*/ 1798321 h 6858000"/>
              <a:gd name="connsiteX78" fmla="*/ 2976917 w 8009775"/>
              <a:gd name="connsiteY78" fmla="*/ 1792924 h 6858000"/>
              <a:gd name="connsiteX79" fmla="*/ 2974552 w 8009775"/>
              <a:gd name="connsiteY79" fmla="*/ 1787526 h 6858000"/>
              <a:gd name="connsiteX80" fmla="*/ 2972484 w 8009775"/>
              <a:gd name="connsiteY80" fmla="*/ 1781811 h 6858000"/>
              <a:gd name="connsiteX81" fmla="*/ 2970710 w 8009775"/>
              <a:gd name="connsiteY81" fmla="*/ 1776095 h 6858000"/>
              <a:gd name="connsiteX82" fmla="*/ 2968937 w 8009775"/>
              <a:gd name="connsiteY82" fmla="*/ 1770380 h 6858000"/>
              <a:gd name="connsiteX83" fmla="*/ 2967755 w 8009775"/>
              <a:gd name="connsiteY83" fmla="*/ 1764665 h 6858000"/>
              <a:gd name="connsiteX84" fmla="*/ 2966868 w 8009775"/>
              <a:gd name="connsiteY84" fmla="*/ 1758634 h 6858000"/>
              <a:gd name="connsiteX85" fmla="*/ 2965981 w 8009775"/>
              <a:gd name="connsiteY85" fmla="*/ 1752919 h 6858000"/>
              <a:gd name="connsiteX86" fmla="*/ 2965686 w 8009775"/>
              <a:gd name="connsiteY86" fmla="*/ 1746885 h 6858000"/>
              <a:gd name="connsiteX87" fmla="*/ 2965686 w 8009775"/>
              <a:gd name="connsiteY87" fmla="*/ 1741170 h 6858000"/>
              <a:gd name="connsiteX88" fmla="*/ 2965686 w 8009775"/>
              <a:gd name="connsiteY88" fmla="*/ 1735139 h 6858000"/>
              <a:gd name="connsiteX89" fmla="*/ 2965981 w 8009775"/>
              <a:gd name="connsiteY89" fmla="*/ 1729424 h 6858000"/>
              <a:gd name="connsiteX90" fmla="*/ 2966868 w 8009775"/>
              <a:gd name="connsiteY90" fmla="*/ 1723074 h 6858000"/>
              <a:gd name="connsiteX91" fmla="*/ 2967755 w 8009775"/>
              <a:gd name="connsiteY91" fmla="*/ 1717358 h 6858000"/>
              <a:gd name="connsiteX92" fmla="*/ 2968937 w 8009775"/>
              <a:gd name="connsiteY92" fmla="*/ 1711643 h 6858000"/>
              <a:gd name="connsiteX93" fmla="*/ 2970710 w 8009775"/>
              <a:gd name="connsiteY93" fmla="*/ 1705929 h 6858000"/>
              <a:gd name="connsiteX94" fmla="*/ 2972484 w 8009775"/>
              <a:gd name="connsiteY94" fmla="*/ 1700214 h 6858000"/>
              <a:gd name="connsiteX95" fmla="*/ 2974552 w 8009775"/>
              <a:gd name="connsiteY95" fmla="*/ 1694816 h 6858000"/>
              <a:gd name="connsiteX96" fmla="*/ 2976917 w 8009775"/>
              <a:gd name="connsiteY96" fmla="*/ 1689101 h 6858000"/>
              <a:gd name="connsiteX97" fmla="*/ 2979873 w 8009775"/>
              <a:gd name="connsiteY97" fmla="*/ 1683703 h 6858000"/>
              <a:gd name="connsiteX98" fmla="*/ 2982533 w 8009775"/>
              <a:gd name="connsiteY98" fmla="*/ 1678305 h 6858000"/>
              <a:gd name="connsiteX99" fmla="*/ 2985784 w 8009775"/>
              <a:gd name="connsiteY99" fmla="*/ 1673226 h 6858000"/>
              <a:gd name="connsiteX100" fmla="*/ 2989331 w 8009775"/>
              <a:gd name="connsiteY100" fmla="*/ 1668145 h 6858000"/>
              <a:gd name="connsiteX101" fmla="*/ 2992878 w 8009775"/>
              <a:gd name="connsiteY101" fmla="*/ 1663066 h 6858000"/>
              <a:gd name="connsiteX102" fmla="*/ 2997311 w 8009775"/>
              <a:gd name="connsiteY102" fmla="*/ 1658621 h 6858000"/>
              <a:gd name="connsiteX103" fmla="*/ 3001744 w 8009775"/>
              <a:gd name="connsiteY103" fmla="*/ 1653859 h 6858000"/>
              <a:gd name="connsiteX104" fmla="*/ 3006178 w 8009775"/>
              <a:gd name="connsiteY104" fmla="*/ 1649414 h 6858000"/>
              <a:gd name="connsiteX105" fmla="*/ 3010907 w 8009775"/>
              <a:gd name="connsiteY105" fmla="*/ 1645603 h 6858000"/>
              <a:gd name="connsiteX106" fmla="*/ 3015932 w 8009775"/>
              <a:gd name="connsiteY106" fmla="*/ 1641794 h 6858000"/>
              <a:gd name="connsiteX107" fmla="*/ 3020956 w 8009775"/>
              <a:gd name="connsiteY107" fmla="*/ 1637984 h 6858000"/>
              <a:gd name="connsiteX108" fmla="*/ 3025981 w 8009775"/>
              <a:gd name="connsiteY108" fmla="*/ 1634809 h 6858000"/>
              <a:gd name="connsiteX109" fmla="*/ 3031596 w 8009775"/>
              <a:gd name="connsiteY109" fmla="*/ 1631950 h 6858000"/>
              <a:gd name="connsiteX110" fmla="*/ 3036916 w 8009775"/>
              <a:gd name="connsiteY110" fmla="*/ 1629094 h 6858000"/>
              <a:gd name="connsiteX111" fmla="*/ 3042532 w 8009775"/>
              <a:gd name="connsiteY111" fmla="*/ 1626871 h 6858000"/>
              <a:gd name="connsiteX112" fmla="*/ 3047852 w 8009775"/>
              <a:gd name="connsiteY112" fmla="*/ 1624649 h 6858000"/>
              <a:gd name="connsiteX113" fmla="*/ 3053764 w 8009775"/>
              <a:gd name="connsiteY113" fmla="*/ 1623061 h 6858000"/>
              <a:gd name="connsiteX114" fmla="*/ 3059379 w 8009775"/>
              <a:gd name="connsiteY114" fmla="*/ 1621155 h 6858000"/>
              <a:gd name="connsiteX115" fmla="*/ 3065291 w 8009775"/>
              <a:gd name="connsiteY115" fmla="*/ 1620204 h 6858000"/>
              <a:gd name="connsiteX116" fmla="*/ 3070906 w 8009775"/>
              <a:gd name="connsiteY116" fmla="*/ 1618934 h 6858000"/>
              <a:gd name="connsiteX117" fmla="*/ 3077113 w 8009775"/>
              <a:gd name="connsiteY117" fmla="*/ 1618299 h 6858000"/>
              <a:gd name="connsiteX118" fmla="*/ 3082729 w 8009775"/>
              <a:gd name="connsiteY118" fmla="*/ 1617981 h 6858000"/>
              <a:gd name="connsiteX119" fmla="*/ 3088936 w 8009775"/>
              <a:gd name="connsiteY119" fmla="*/ 1617981 h 6858000"/>
              <a:gd name="connsiteX120" fmla="*/ 3094552 w 8009775"/>
              <a:gd name="connsiteY120" fmla="*/ 1617981 h 6858000"/>
              <a:gd name="connsiteX121" fmla="*/ 3100758 w 8009775"/>
              <a:gd name="connsiteY121" fmla="*/ 1618299 h 6858000"/>
              <a:gd name="connsiteX122" fmla="*/ 3106670 w 8009775"/>
              <a:gd name="connsiteY122" fmla="*/ 1618934 h 6858000"/>
              <a:gd name="connsiteX123" fmla="*/ 3112285 w 8009775"/>
              <a:gd name="connsiteY123" fmla="*/ 1620204 h 6858000"/>
              <a:gd name="connsiteX124" fmla="*/ 3117901 w 8009775"/>
              <a:gd name="connsiteY124" fmla="*/ 1621155 h 6858000"/>
              <a:gd name="connsiteX125" fmla="*/ 3123812 w 8009775"/>
              <a:gd name="connsiteY125" fmla="*/ 1623061 h 6858000"/>
              <a:gd name="connsiteX126" fmla="*/ 3129428 w 8009775"/>
              <a:gd name="connsiteY126" fmla="*/ 1624649 h 6858000"/>
              <a:gd name="connsiteX127" fmla="*/ 3135339 w 8009775"/>
              <a:gd name="connsiteY127" fmla="*/ 1626871 h 6858000"/>
              <a:gd name="connsiteX128" fmla="*/ 3140660 w 8009775"/>
              <a:gd name="connsiteY128" fmla="*/ 1629094 h 6858000"/>
              <a:gd name="connsiteX129" fmla="*/ 3145980 w 8009775"/>
              <a:gd name="connsiteY129" fmla="*/ 1631950 h 6858000"/>
              <a:gd name="connsiteX130" fmla="*/ 3151300 w 8009775"/>
              <a:gd name="connsiteY130" fmla="*/ 1634809 h 6858000"/>
              <a:gd name="connsiteX131" fmla="*/ 3156324 w 8009775"/>
              <a:gd name="connsiteY131" fmla="*/ 1637984 h 6858000"/>
              <a:gd name="connsiteX132" fmla="*/ 3161349 w 8009775"/>
              <a:gd name="connsiteY132" fmla="*/ 1641794 h 6858000"/>
              <a:gd name="connsiteX133" fmla="*/ 3166374 w 8009775"/>
              <a:gd name="connsiteY133" fmla="*/ 1645603 h 6858000"/>
              <a:gd name="connsiteX134" fmla="*/ 3171102 w 8009775"/>
              <a:gd name="connsiteY134" fmla="*/ 1649414 h 6858000"/>
              <a:gd name="connsiteX135" fmla="*/ 3175832 w 8009775"/>
              <a:gd name="connsiteY135" fmla="*/ 1653859 h 6858000"/>
              <a:gd name="connsiteX136" fmla="*/ 3844692 w 8009775"/>
              <a:gd name="connsiteY136" fmla="*/ 2322830 h 6858000"/>
              <a:gd name="connsiteX137" fmla="*/ 3849421 w 8009775"/>
              <a:gd name="connsiteY137" fmla="*/ 2326958 h 6858000"/>
              <a:gd name="connsiteX138" fmla="*/ 3854150 w 8009775"/>
              <a:gd name="connsiteY138" fmla="*/ 2331085 h 6858000"/>
              <a:gd name="connsiteX139" fmla="*/ 3859175 w 8009775"/>
              <a:gd name="connsiteY139" fmla="*/ 2334895 h 6858000"/>
              <a:gd name="connsiteX140" fmla="*/ 3864199 w 8009775"/>
              <a:gd name="connsiteY140" fmla="*/ 2338705 h 6858000"/>
              <a:gd name="connsiteX141" fmla="*/ 3869224 w 8009775"/>
              <a:gd name="connsiteY141" fmla="*/ 2341880 h 6858000"/>
              <a:gd name="connsiteX142" fmla="*/ 3874544 w 8009775"/>
              <a:gd name="connsiteY142" fmla="*/ 2344738 h 6858000"/>
              <a:gd name="connsiteX143" fmla="*/ 3879864 w 8009775"/>
              <a:gd name="connsiteY143" fmla="*/ 2347595 h 6858000"/>
              <a:gd name="connsiteX144" fmla="*/ 3885775 w 8009775"/>
              <a:gd name="connsiteY144" fmla="*/ 2349818 h 6858000"/>
              <a:gd name="connsiteX145" fmla="*/ 3891096 w 8009775"/>
              <a:gd name="connsiteY145" fmla="*/ 2351723 h 6858000"/>
              <a:gd name="connsiteX146" fmla="*/ 3896711 w 8009775"/>
              <a:gd name="connsiteY146" fmla="*/ 2353628 h 6858000"/>
              <a:gd name="connsiteX147" fmla="*/ 3902623 w 8009775"/>
              <a:gd name="connsiteY147" fmla="*/ 2355534 h 6858000"/>
              <a:gd name="connsiteX148" fmla="*/ 3908238 w 8009775"/>
              <a:gd name="connsiteY148" fmla="*/ 2356485 h 6858000"/>
              <a:gd name="connsiteX149" fmla="*/ 3914150 w 8009775"/>
              <a:gd name="connsiteY149" fmla="*/ 2357755 h 6858000"/>
              <a:gd name="connsiteX150" fmla="*/ 3920061 w 8009775"/>
              <a:gd name="connsiteY150" fmla="*/ 2358391 h 6858000"/>
              <a:gd name="connsiteX151" fmla="*/ 3925972 w 8009775"/>
              <a:gd name="connsiteY151" fmla="*/ 2358708 h 6858000"/>
              <a:gd name="connsiteX152" fmla="*/ 3931883 w 8009775"/>
              <a:gd name="connsiteY152" fmla="*/ 2358708 h 6858000"/>
              <a:gd name="connsiteX153" fmla="*/ 3937795 w 8009775"/>
              <a:gd name="connsiteY153" fmla="*/ 2358708 h 6858000"/>
              <a:gd name="connsiteX154" fmla="*/ 3943706 w 8009775"/>
              <a:gd name="connsiteY154" fmla="*/ 2358391 h 6858000"/>
              <a:gd name="connsiteX155" fmla="*/ 3949617 w 8009775"/>
              <a:gd name="connsiteY155" fmla="*/ 2357755 h 6858000"/>
              <a:gd name="connsiteX156" fmla="*/ 3955233 w 8009775"/>
              <a:gd name="connsiteY156" fmla="*/ 2356485 h 6858000"/>
              <a:gd name="connsiteX157" fmla="*/ 3961144 w 8009775"/>
              <a:gd name="connsiteY157" fmla="*/ 2355534 h 6858000"/>
              <a:gd name="connsiteX158" fmla="*/ 3966760 w 8009775"/>
              <a:gd name="connsiteY158" fmla="*/ 2353628 h 6858000"/>
              <a:gd name="connsiteX159" fmla="*/ 3972671 w 8009775"/>
              <a:gd name="connsiteY159" fmla="*/ 2351723 h 6858000"/>
              <a:gd name="connsiteX160" fmla="*/ 3978287 w 8009775"/>
              <a:gd name="connsiteY160" fmla="*/ 2349818 h 6858000"/>
              <a:gd name="connsiteX161" fmla="*/ 3983607 w 8009775"/>
              <a:gd name="connsiteY161" fmla="*/ 2347595 h 6858000"/>
              <a:gd name="connsiteX162" fmla="*/ 3989223 w 8009775"/>
              <a:gd name="connsiteY162" fmla="*/ 2344738 h 6858000"/>
              <a:gd name="connsiteX163" fmla="*/ 3994543 w 8009775"/>
              <a:gd name="connsiteY163" fmla="*/ 2341880 h 6858000"/>
              <a:gd name="connsiteX164" fmla="*/ 3999567 w 8009775"/>
              <a:gd name="connsiteY164" fmla="*/ 2338705 h 6858000"/>
              <a:gd name="connsiteX165" fmla="*/ 4004888 w 8009775"/>
              <a:gd name="connsiteY165" fmla="*/ 2334895 h 6858000"/>
              <a:gd name="connsiteX166" fmla="*/ 4009617 w 8009775"/>
              <a:gd name="connsiteY166" fmla="*/ 2331085 h 6858000"/>
              <a:gd name="connsiteX167" fmla="*/ 4014346 w 8009775"/>
              <a:gd name="connsiteY167" fmla="*/ 2326958 h 6858000"/>
              <a:gd name="connsiteX168" fmla="*/ 4018779 w 8009775"/>
              <a:gd name="connsiteY168" fmla="*/ 2322830 h 6858000"/>
              <a:gd name="connsiteX169" fmla="*/ 4023213 w 8009775"/>
              <a:gd name="connsiteY169" fmla="*/ 2318068 h 6858000"/>
              <a:gd name="connsiteX170" fmla="*/ 4027646 w 8009775"/>
              <a:gd name="connsiteY170" fmla="*/ 2313306 h 6858000"/>
              <a:gd name="connsiteX171" fmla="*/ 4031193 w 8009775"/>
              <a:gd name="connsiteY171" fmla="*/ 2308544 h 6858000"/>
              <a:gd name="connsiteX172" fmla="*/ 4034740 w 8009775"/>
              <a:gd name="connsiteY172" fmla="*/ 2303463 h 6858000"/>
              <a:gd name="connsiteX173" fmla="*/ 4037991 w 8009775"/>
              <a:gd name="connsiteY173" fmla="*/ 2298384 h 6858000"/>
              <a:gd name="connsiteX174" fmla="*/ 4040946 w 8009775"/>
              <a:gd name="connsiteY174" fmla="*/ 2292985 h 6858000"/>
              <a:gd name="connsiteX175" fmla="*/ 4043606 w 8009775"/>
              <a:gd name="connsiteY175" fmla="*/ 2287588 h 6858000"/>
              <a:gd name="connsiteX176" fmla="*/ 4046267 w 8009775"/>
              <a:gd name="connsiteY176" fmla="*/ 2281873 h 6858000"/>
              <a:gd name="connsiteX177" fmla="*/ 4048040 w 8009775"/>
              <a:gd name="connsiteY177" fmla="*/ 2276476 h 6858000"/>
              <a:gd name="connsiteX178" fmla="*/ 4050109 w 8009775"/>
              <a:gd name="connsiteY178" fmla="*/ 2270761 h 6858000"/>
              <a:gd name="connsiteX179" fmla="*/ 4051587 w 8009775"/>
              <a:gd name="connsiteY179" fmla="*/ 2265046 h 6858000"/>
              <a:gd name="connsiteX180" fmla="*/ 4052769 w 8009775"/>
              <a:gd name="connsiteY180" fmla="*/ 2259331 h 6858000"/>
              <a:gd name="connsiteX181" fmla="*/ 4053656 w 8009775"/>
              <a:gd name="connsiteY181" fmla="*/ 2253298 h 6858000"/>
              <a:gd name="connsiteX182" fmla="*/ 4054542 w 8009775"/>
              <a:gd name="connsiteY182" fmla="*/ 2247266 h 6858000"/>
              <a:gd name="connsiteX183" fmla="*/ 4054838 w 8009775"/>
              <a:gd name="connsiteY183" fmla="*/ 2241551 h 6858000"/>
              <a:gd name="connsiteX184" fmla="*/ 4055133 w 8009775"/>
              <a:gd name="connsiteY184" fmla="*/ 2235519 h 6858000"/>
              <a:gd name="connsiteX185" fmla="*/ 4054838 w 8009775"/>
              <a:gd name="connsiteY185" fmla="*/ 2229804 h 6858000"/>
              <a:gd name="connsiteX186" fmla="*/ 4054542 w 8009775"/>
              <a:gd name="connsiteY186" fmla="*/ 2223770 h 6858000"/>
              <a:gd name="connsiteX187" fmla="*/ 4053656 w 8009775"/>
              <a:gd name="connsiteY187" fmla="*/ 2217739 h 6858000"/>
              <a:gd name="connsiteX188" fmla="*/ 4052769 w 8009775"/>
              <a:gd name="connsiteY188" fmla="*/ 2212024 h 6858000"/>
              <a:gd name="connsiteX189" fmla="*/ 4051587 w 8009775"/>
              <a:gd name="connsiteY189" fmla="*/ 2206309 h 6858000"/>
              <a:gd name="connsiteX190" fmla="*/ 4050109 w 8009775"/>
              <a:gd name="connsiteY190" fmla="*/ 2200593 h 6858000"/>
              <a:gd name="connsiteX191" fmla="*/ 4048040 w 8009775"/>
              <a:gd name="connsiteY191" fmla="*/ 2194878 h 6858000"/>
              <a:gd name="connsiteX192" fmla="*/ 4046267 w 8009775"/>
              <a:gd name="connsiteY192" fmla="*/ 2189163 h 6858000"/>
              <a:gd name="connsiteX193" fmla="*/ 4043606 w 8009775"/>
              <a:gd name="connsiteY193" fmla="*/ 2183765 h 6858000"/>
              <a:gd name="connsiteX194" fmla="*/ 4040946 w 8009775"/>
              <a:gd name="connsiteY194" fmla="*/ 2178368 h 6858000"/>
              <a:gd name="connsiteX195" fmla="*/ 4037991 w 8009775"/>
              <a:gd name="connsiteY195" fmla="*/ 2172970 h 6858000"/>
              <a:gd name="connsiteX196" fmla="*/ 4034740 w 8009775"/>
              <a:gd name="connsiteY196" fmla="*/ 2167890 h 6858000"/>
              <a:gd name="connsiteX197" fmla="*/ 4031193 w 8009775"/>
              <a:gd name="connsiteY197" fmla="*/ 2162494 h 6858000"/>
              <a:gd name="connsiteX198" fmla="*/ 4027646 w 8009775"/>
              <a:gd name="connsiteY198" fmla="*/ 2157730 h 6858000"/>
              <a:gd name="connsiteX199" fmla="*/ 4023213 w 8009775"/>
              <a:gd name="connsiteY199" fmla="*/ 2153285 h 6858000"/>
              <a:gd name="connsiteX200" fmla="*/ 4018779 w 8009775"/>
              <a:gd name="connsiteY200" fmla="*/ 2148523 h 6858000"/>
              <a:gd name="connsiteX201" fmla="*/ 3632182 w 8009775"/>
              <a:gd name="connsiteY201" fmla="*/ 1761490 h 6858000"/>
              <a:gd name="connsiteX202" fmla="*/ 3435928 w 8009775"/>
              <a:gd name="connsiteY202" fmla="*/ 1565276 h 6858000"/>
              <a:gd name="connsiteX203" fmla="*/ 3431198 w 8009775"/>
              <a:gd name="connsiteY203" fmla="*/ 1560514 h 6858000"/>
              <a:gd name="connsiteX204" fmla="*/ 3427356 w 8009775"/>
              <a:gd name="connsiteY204" fmla="*/ 1555751 h 6858000"/>
              <a:gd name="connsiteX205" fmla="*/ 3423218 w 8009775"/>
              <a:gd name="connsiteY205" fmla="*/ 1550671 h 6858000"/>
              <a:gd name="connsiteX206" fmla="*/ 3420262 w 8009775"/>
              <a:gd name="connsiteY206" fmla="*/ 1545909 h 6858000"/>
              <a:gd name="connsiteX207" fmla="*/ 3417012 w 8009775"/>
              <a:gd name="connsiteY207" fmla="*/ 1540829 h 6858000"/>
              <a:gd name="connsiteX208" fmla="*/ 3413760 w 8009775"/>
              <a:gd name="connsiteY208" fmla="*/ 1535430 h 6858000"/>
              <a:gd name="connsiteX209" fmla="*/ 3411100 w 8009775"/>
              <a:gd name="connsiteY209" fmla="*/ 1530034 h 6858000"/>
              <a:gd name="connsiteX210" fmla="*/ 3408736 w 8009775"/>
              <a:gd name="connsiteY210" fmla="*/ 1524635 h 6858000"/>
              <a:gd name="connsiteX211" fmla="*/ 3406371 w 8009775"/>
              <a:gd name="connsiteY211" fmla="*/ 1518920 h 6858000"/>
              <a:gd name="connsiteX212" fmla="*/ 3404598 w 8009775"/>
              <a:gd name="connsiteY212" fmla="*/ 1513205 h 6858000"/>
              <a:gd name="connsiteX213" fmla="*/ 3403120 w 8009775"/>
              <a:gd name="connsiteY213" fmla="*/ 1507174 h 6858000"/>
              <a:gd name="connsiteX214" fmla="*/ 3401938 w 8009775"/>
              <a:gd name="connsiteY214" fmla="*/ 1501459 h 6858000"/>
              <a:gd name="connsiteX215" fmla="*/ 3401051 w 8009775"/>
              <a:gd name="connsiteY215" fmla="*/ 1495744 h 6858000"/>
              <a:gd name="connsiteX216" fmla="*/ 3400460 w 8009775"/>
              <a:gd name="connsiteY216" fmla="*/ 1489710 h 6858000"/>
              <a:gd name="connsiteX217" fmla="*/ 3399869 w 8009775"/>
              <a:gd name="connsiteY217" fmla="*/ 1483995 h 6858000"/>
              <a:gd name="connsiteX218" fmla="*/ 3399573 w 8009775"/>
              <a:gd name="connsiteY218" fmla="*/ 1478281 h 6858000"/>
              <a:gd name="connsiteX219" fmla="*/ 3399869 w 8009775"/>
              <a:gd name="connsiteY219" fmla="*/ 1472249 h 6858000"/>
              <a:gd name="connsiteX220" fmla="*/ 3400460 w 8009775"/>
              <a:gd name="connsiteY220" fmla="*/ 1466215 h 6858000"/>
              <a:gd name="connsiteX221" fmla="*/ 3401051 w 8009775"/>
              <a:gd name="connsiteY221" fmla="*/ 1460183 h 6858000"/>
              <a:gd name="connsiteX222" fmla="*/ 3401938 w 8009775"/>
              <a:gd name="connsiteY222" fmla="*/ 1454468 h 6858000"/>
              <a:gd name="connsiteX223" fmla="*/ 3403120 w 8009775"/>
              <a:gd name="connsiteY223" fmla="*/ 1448754 h 6858000"/>
              <a:gd name="connsiteX224" fmla="*/ 3404598 w 8009775"/>
              <a:gd name="connsiteY224" fmla="*/ 1443039 h 6858000"/>
              <a:gd name="connsiteX225" fmla="*/ 3406371 w 8009775"/>
              <a:gd name="connsiteY225" fmla="*/ 1437324 h 6858000"/>
              <a:gd name="connsiteX226" fmla="*/ 3408736 w 8009775"/>
              <a:gd name="connsiteY226" fmla="*/ 1431609 h 6858000"/>
              <a:gd name="connsiteX227" fmla="*/ 3411100 w 8009775"/>
              <a:gd name="connsiteY227" fmla="*/ 1426211 h 6858000"/>
              <a:gd name="connsiteX228" fmla="*/ 3413760 w 8009775"/>
              <a:gd name="connsiteY228" fmla="*/ 1420814 h 6858000"/>
              <a:gd name="connsiteX229" fmla="*/ 3417012 w 8009775"/>
              <a:gd name="connsiteY229" fmla="*/ 1415416 h 6858000"/>
              <a:gd name="connsiteX230" fmla="*/ 3420262 w 8009775"/>
              <a:gd name="connsiteY230" fmla="*/ 1410336 h 6858000"/>
              <a:gd name="connsiteX231" fmla="*/ 3423218 w 8009775"/>
              <a:gd name="connsiteY231" fmla="*/ 1405256 h 6858000"/>
              <a:gd name="connsiteX232" fmla="*/ 3427356 w 8009775"/>
              <a:gd name="connsiteY232" fmla="*/ 1400175 h 6858000"/>
              <a:gd name="connsiteX233" fmla="*/ 3431198 w 8009775"/>
              <a:gd name="connsiteY233" fmla="*/ 1395731 h 6858000"/>
              <a:gd name="connsiteX234" fmla="*/ 3435928 w 8009775"/>
              <a:gd name="connsiteY234" fmla="*/ 1390969 h 6858000"/>
              <a:gd name="connsiteX235" fmla="*/ 3440361 w 8009775"/>
              <a:gd name="connsiteY235" fmla="*/ 1386524 h 6858000"/>
              <a:gd name="connsiteX236" fmla="*/ 3445386 w 8009775"/>
              <a:gd name="connsiteY236" fmla="*/ 1382396 h 6858000"/>
              <a:gd name="connsiteX237" fmla="*/ 3449819 w 8009775"/>
              <a:gd name="connsiteY237" fmla="*/ 1378585 h 6858000"/>
              <a:gd name="connsiteX238" fmla="*/ 3454844 w 8009775"/>
              <a:gd name="connsiteY238" fmla="*/ 1375094 h 6858000"/>
              <a:gd name="connsiteX239" fmla="*/ 3460459 w 8009775"/>
              <a:gd name="connsiteY239" fmla="*/ 1371919 h 6858000"/>
              <a:gd name="connsiteX240" fmla="*/ 3465780 w 8009775"/>
              <a:gd name="connsiteY240" fmla="*/ 1369061 h 6858000"/>
              <a:gd name="connsiteX241" fmla="*/ 3471100 w 8009775"/>
              <a:gd name="connsiteY241" fmla="*/ 1366204 h 6858000"/>
              <a:gd name="connsiteX242" fmla="*/ 3476420 w 8009775"/>
              <a:gd name="connsiteY242" fmla="*/ 1363980 h 6858000"/>
              <a:gd name="connsiteX243" fmla="*/ 3482331 w 8009775"/>
              <a:gd name="connsiteY243" fmla="*/ 1361759 h 6858000"/>
              <a:gd name="connsiteX244" fmla="*/ 3487947 w 8009775"/>
              <a:gd name="connsiteY244" fmla="*/ 1360170 h 6858000"/>
              <a:gd name="connsiteX245" fmla="*/ 3493858 w 8009775"/>
              <a:gd name="connsiteY245" fmla="*/ 1358265 h 6858000"/>
              <a:gd name="connsiteX246" fmla="*/ 3499474 w 8009775"/>
              <a:gd name="connsiteY246" fmla="*/ 1357314 h 6858000"/>
              <a:gd name="connsiteX247" fmla="*/ 3505385 w 8009775"/>
              <a:gd name="connsiteY247" fmla="*/ 1356043 h 6858000"/>
              <a:gd name="connsiteX248" fmla="*/ 3511001 w 8009775"/>
              <a:gd name="connsiteY248" fmla="*/ 1355409 h 6858000"/>
              <a:gd name="connsiteX249" fmla="*/ 3517208 w 8009775"/>
              <a:gd name="connsiteY249" fmla="*/ 1355090 h 6858000"/>
              <a:gd name="connsiteX250" fmla="*/ 3522823 w 8009775"/>
              <a:gd name="connsiteY250" fmla="*/ 1354773 h 6858000"/>
              <a:gd name="connsiteX251" fmla="*/ 3529030 w 8009775"/>
              <a:gd name="connsiteY251" fmla="*/ 1355090 h 6858000"/>
              <a:gd name="connsiteX252" fmla="*/ 3534646 w 8009775"/>
              <a:gd name="connsiteY252" fmla="*/ 1355409 h 6858000"/>
              <a:gd name="connsiteX253" fmla="*/ 3540557 w 8009775"/>
              <a:gd name="connsiteY253" fmla="*/ 1356043 h 6858000"/>
              <a:gd name="connsiteX254" fmla="*/ 3546468 w 8009775"/>
              <a:gd name="connsiteY254" fmla="*/ 1357314 h 6858000"/>
              <a:gd name="connsiteX255" fmla="*/ 3552380 w 8009775"/>
              <a:gd name="connsiteY255" fmla="*/ 1358265 h 6858000"/>
              <a:gd name="connsiteX256" fmla="*/ 3557995 w 8009775"/>
              <a:gd name="connsiteY256" fmla="*/ 1360170 h 6858000"/>
              <a:gd name="connsiteX257" fmla="*/ 3563906 w 8009775"/>
              <a:gd name="connsiteY257" fmla="*/ 1361759 h 6858000"/>
              <a:gd name="connsiteX258" fmla="*/ 3569227 w 8009775"/>
              <a:gd name="connsiteY258" fmla="*/ 1363980 h 6858000"/>
              <a:gd name="connsiteX259" fmla="*/ 3574842 w 8009775"/>
              <a:gd name="connsiteY259" fmla="*/ 1366204 h 6858000"/>
              <a:gd name="connsiteX260" fmla="*/ 3580458 w 8009775"/>
              <a:gd name="connsiteY260" fmla="*/ 1369061 h 6858000"/>
              <a:gd name="connsiteX261" fmla="*/ 3585778 w 8009775"/>
              <a:gd name="connsiteY261" fmla="*/ 1371919 h 6858000"/>
              <a:gd name="connsiteX262" fmla="*/ 3590803 w 8009775"/>
              <a:gd name="connsiteY262" fmla="*/ 1375094 h 6858000"/>
              <a:gd name="connsiteX263" fmla="*/ 3595828 w 8009775"/>
              <a:gd name="connsiteY263" fmla="*/ 1378585 h 6858000"/>
              <a:gd name="connsiteX264" fmla="*/ 3600852 w 8009775"/>
              <a:gd name="connsiteY264" fmla="*/ 1382396 h 6858000"/>
              <a:gd name="connsiteX265" fmla="*/ 3605581 w 8009775"/>
              <a:gd name="connsiteY265" fmla="*/ 1386524 h 6858000"/>
              <a:gd name="connsiteX266" fmla="*/ 3610014 w 8009775"/>
              <a:gd name="connsiteY266" fmla="*/ 1390969 h 6858000"/>
              <a:gd name="connsiteX267" fmla="*/ 3817500 w 8009775"/>
              <a:gd name="connsiteY267" fmla="*/ 1598296 h 6858000"/>
              <a:gd name="connsiteX268" fmla="*/ 3821934 w 8009775"/>
              <a:gd name="connsiteY268" fmla="*/ 1602423 h 6858000"/>
              <a:gd name="connsiteX269" fmla="*/ 3826663 w 8009775"/>
              <a:gd name="connsiteY269" fmla="*/ 1606869 h 6858000"/>
              <a:gd name="connsiteX270" fmla="*/ 3831687 w 8009775"/>
              <a:gd name="connsiteY270" fmla="*/ 1610361 h 6858000"/>
              <a:gd name="connsiteX271" fmla="*/ 3836712 w 8009775"/>
              <a:gd name="connsiteY271" fmla="*/ 1613854 h 6858000"/>
              <a:gd name="connsiteX272" fmla="*/ 3841736 w 8009775"/>
              <a:gd name="connsiteY272" fmla="*/ 1617345 h 6858000"/>
              <a:gd name="connsiteX273" fmla="*/ 3847352 w 8009775"/>
              <a:gd name="connsiteY273" fmla="*/ 1620204 h 6858000"/>
              <a:gd name="connsiteX274" fmla="*/ 3852672 w 8009775"/>
              <a:gd name="connsiteY274" fmla="*/ 1623061 h 6858000"/>
              <a:gd name="connsiteX275" fmla="*/ 3857992 w 8009775"/>
              <a:gd name="connsiteY275" fmla="*/ 1625283 h 6858000"/>
              <a:gd name="connsiteX276" fmla="*/ 3863608 w 8009775"/>
              <a:gd name="connsiteY276" fmla="*/ 1627189 h 6858000"/>
              <a:gd name="connsiteX277" fmla="*/ 3869519 w 8009775"/>
              <a:gd name="connsiteY277" fmla="*/ 1629094 h 6858000"/>
              <a:gd name="connsiteX278" fmla="*/ 3875135 w 8009775"/>
              <a:gd name="connsiteY278" fmla="*/ 1630998 h 6858000"/>
              <a:gd name="connsiteX279" fmla="*/ 3881046 w 8009775"/>
              <a:gd name="connsiteY279" fmla="*/ 1631950 h 6858000"/>
              <a:gd name="connsiteX280" fmla="*/ 3886662 w 8009775"/>
              <a:gd name="connsiteY280" fmla="*/ 1632904 h 6858000"/>
              <a:gd name="connsiteX281" fmla="*/ 3892869 w 8009775"/>
              <a:gd name="connsiteY281" fmla="*/ 1633856 h 6858000"/>
              <a:gd name="connsiteX282" fmla="*/ 3898485 w 8009775"/>
              <a:gd name="connsiteY282" fmla="*/ 1634174 h 6858000"/>
              <a:gd name="connsiteX283" fmla="*/ 3904396 w 8009775"/>
              <a:gd name="connsiteY283" fmla="*/ 1634174 h 6858000"/>
              <a:gd name="connsiteX284" fmla="*/ 3910307 w 8009775"/>
              <a:gd name="connsiteY284" fmla="*/ 1634174 h 6858000"/>
              <a:gd name="connsiteX285" fmla="*/ 3916219 w 8009775"/>
              <a:gd name="connsiteY285" fmla="*/ 1633856 h 6858000"/>
              <a:gd name="connsiteX286" fmla="*/ 3922425 w 8009775"/>
              <a:gd name="connsiteY286" fmla="*/ 1632904 h 6858000"/>
              <a:gd name="connsiteX287" fmla="*/ 3928041 w 8009775"/>
              <a:gd name="connsiteY287" fmla="*/ 1631950 h 6858000"/>
              <a:gd name="connsiteX288" fmla="*/ 3933657 w 8009775"/>
              <a:gd name="connsiteY288" fmla="*/ 1630998 h 6858000"/>
              <a:gd name="connsiteX289" fmla="*/ 3939568 w 8009775"/>
              <a:gd name="connsiteY289" fmla="*/ 1629094 h 6858000"/>
              <a:gd name="connsiteX290" fmla="*/ 3945184 w 8009775"/>
              <a:gd name="connsiteY290" fmla="*/ 1627189 h 6858000"/>
              <a:gd name="connsiteX291" fmla="*/ 3950799 w 8009775"/>
              <a:gd name="connsiteY291" fmla="*/ 1625283 h 6858000"/>
              <a:gd name="connsiteX292" fmla="*/ 3956415 w 8009775"/>
              <a:gd name="connsiteY292" fmla="*/ 1623061 h 6858000"/>
              <a:gd name="connsiteX293" fmla="*/ 3961735 w 8009775"/>
              <a:gd name="connsiteY293" fmla="*/ 1620204 h 6858000"/>
              <a:gd name="connsiteX294" fmla="*/ 3967055 w 8009775"/>
              <a:gd name="connsiteY294" fmla="*/ 1617345 h 6858000"/>
              <a:gd name="connsiteX295" fmla="*/ 3972376 w 8009775"/>
              <a:gd name="connsiteY295" fmla="*/ 1613854 h 6858000"/>
              <a:gd name="connsiteX296" fmla="*/ 3977400 w 8009775"/>
              <a:gd name="connsiteY296" fmla="*/ 1610361 h 6858000"/>
              <a:gd name="connsiteX297" fmla="*/ 3982425 w 8009775"/>
              <a:gd name="connsiteY297" fmla="*/ 1606869 h 6858000"/>
              <a:gd name="connsiteX298" fmla="*/ 3986858 w 8009775"/>
              <a:gd name="connsiteY298" fmla="*/ 1602423 h 6858000"/>
              <a:gd name="connsiteX299" fmla="*/ 3991587 w 8009775"/>
              <a:gd name="connsiteY299" fmla="*/ 1598296 h 6858000"/>
              <a:gd name="connsiteX300" fmla="*/ 3996021 w 8009775"/>
              <a:gd name="connsiteY300" fmla="*/ 1593533 h 6858000"/>
              <a:gd name="connsiteX301" fmla="*/ 4000159 w 8009775"/>
              <a:gd name="connsiteY301" fmla="*/ 1588771 h 6858000"/>
              <a:gd name="connsiteX302" fmla="*/ 4003705 w 8009775"/>
              <a:gd name="connsiteY302" fmla="*/ 1583691 h 6858000"/>
              <a:gd name="connsiteX303" fmla="*/ 4007548 w 8009775"/>
              <a:gd name="connsiteY303" fmla="*/ 1578928 h 6858000"/>
              <a:gd name="connsiteX304" fmla="*/ 4010799 w 8009775"/>
              <a:gd name="connsiteY304" fmla="*/ 1573849 h 6858000"/>
              <a:gd name="connsiteX305" fmla="*/ 4013459 w 8009775"/>
              <a:gd name="connsiteY305" fmla="*/ 1568451 h 6858000"/>
              <a:gd name="connsiteX306" fmla="*/ 4016415 w 8009775"/>
              <a:gd name="connsiteY306" fmla="*/ 1563054 h 6858000"/>
              <a:gd name="connsiteX307" fmla="*/ 4018484 w 8009775"/>
              <a:gd name="connsiteY307" fmla="*/ 1557339 h 6858000"/>
              <a:gd name="connsiteX308" fmla="*/ 4020848 w 8009775"/>
              <a:gd name="connsiteY308" fmla="*/ 1551941 h 6858000"/>
              <a:gd name="connsiteX309" fmla="*/ 4022621 w 8009775"/>
              <a:gd name="connsiteY309" fmla="*/ 1546226 h 6858000"/>
              <a:gd name="connsiteX310" fmla="*/ 4024395 w 8009775"/>
              <a:gd name="connsiteY310" fmla="*/ 1540511 h 6858000"/>
              <a:gd name="connsiteX311" fmla="*/ 4025282 w 8009775"/>
              <a:gd name="connsiteY311" fmla="*/ 1534478 h 6858000"/>
              <a:gd name="connsiteX312" fmla="*/ 4026464 w 8009775"/>
              <a:gd name="connsiteY312" fmla="*/ 1528763 h 6858000"/>
              <a:gd name="connsiteX313" fmla="*/ 4027055 w 8009775"/>
              <a:gd name="connsiteY313" fmla="*/ 1522731 h 6858000"/>
              <a:gd name="connsiteX314" fmla="*/ 4027646 w 8009775"/>
              <a:gd name="connsiteY314" fmla="*/ 1517016 h 6858000"/>
              <a:gd name="connsiteX315" fmla="*/ 4027646 w 8009775"/>
              <a:gd name="connsiteY315" fmla="*/ 1510984 h 6858000"/>
              <a:gd name="connsiteX316" fmla="*/ 4027646 w 8009775"/>
              <a:gd name="connsiteY316" fmla="*/ 1505268 h 6858000"/>
              <a:gd name="connsiteX317" fmla="*/ 4027055 w 8009775"/>
              <a:gd name="connsiteY317" fmla="*/ 1499553 h 6858000"/>
              <a:gd name="connsiteX318" fmla="*/ 4026464 w 8009775"/>
              <a:gd name="connsiteY318" fmla="*/ 1493204 h 6858000"/>
              <a:gd name="connsiteX319" fmla="*/ 4025282 w 8009775"/>
              <a:gd name="connsiteY319" fmla="*/ 1487489 h 6858000"/>
              <a:gd name="connsiteX320" fmla="*/ 4024395 w 8009775"/>
              <a:gd name="connsiteY320" fmla="*/ 1481773 h 6858000"/>
              <a:gd name="connsiteX321" fmla="*/ 4022621 w 8009775"/>
              <a:gd name="connsiteY321" fmla="*/ 1476058 h 6858000"/>
              <a:gd name="connsiteX322" fmla="*/ 4020848 w 8009775"/>
              <a:gd name="connsiteY322" fmla="*/ 1470343 h 6858000"/>
              <a:gd name="connsiteX323" fmla="*/ 4018484 w 8009775"/>
              <a:gd name="connsiteY323" fmla="*/ 1464629 h 6858000"/>
              <a:gd name="connsiteX324" fmla="*/ 4016415 w 8009775"/>
              <a:gd name="connsiteY324" fmla="*/ 1459231 h 6858000"/>
              <a:gd name="connsiteX325" fmla="*/ 4013459 w 8009775"/>
              <a:gd name="connsiteY325" fmla="*/ 1453834 h 6858000"/>
              <a:gd name="connsiteX326" fmla="*/ 4010799 w 8009775"/>
              <a:gd name="connsiteY326" fmla="*/ 1448436 h 6858000"/>
              <a:gd name="connsiteX327" fmla="*/ 4007548 w 8009775"/>
              <a:gd name="connsiteY327" fmla="*/ 1443356 h 6858000"/>
              <a:gd name="connsiteX328" fmla="*/ 4003705 w 8009775"/>
              <a:gd name="connsiteY328" fmla="*/ 1438275 h 6858000"/>
              <a:gd name="connsiteX329" fmla="*/ 4000159 w 8009775"/>
              <a:gd name="connsiteY329" fmla="*/ 1433195 h 6858000"/>
              <a:gd name="connsiteX330" fmla="*/ 3996021 w 8009775"/>
              <a:gd name="connsiteY330" fmla="*/ 1428751 h 6858000"/>
              <a:gd name="connsiteX331" fmla="*/ 3991587 w 8009775"/>
              <a:gd name="connsiteY331" fmla="*/ 1423988 h 6858000"/>
              <a:gd name="connsiteX332" fmla="*/ 3323022 w 8009775"/>
              <a:gd name="connsiteY332" fmla="*/ 755333 h 6858000"/>
              <a:gd name="connsiteX333" fmla="*/ 3316815 w 8009775"/>
              <a:gd name="connsiteY333" fmla="*/ 748348 h 6858000"/>
              <a:gd name="connsiteX334" fmla="*/ 3310904 w 8009775"/>
              <a:gd name="connsiteY334" fmla="*/ 741045 h 6858000"/>
              <a:gd name="connsiteX335" fmla="*/ 3305584 w 8009775"/>
              <a:gd name="connsiteY335" fmla="*/ 733108 h 6858000"/>
              <a:gd name="connsiteX336" fmla="*/ 3300855 w 8009775"/>
              <a:gd name="connsiteY336" fmla="*/ 725170 h 6858000"/>
              <a:gd name="connsiteX337" fmla="*/ 3297308 w 8009775"/>
              <a:gd name="connsiteY337" fmla="*/ 716915 h 6858000"/>
              <a:gd name="connsiteX338" fmla="*/ 3293761 w 8009775"/>
              <a:gd name="connsiteY338" fmla="*/ 708660 h 6858000"/>
              <a:gd name="connsiteX339" fmla="*/ 3291101 w 8009775"/>
              <a:gd name="connsiteY339" fmla="*/ 699770 h 6858000"/>
              <a:gd name="connsiteX340" fmla="*/ 3289328 w 8009775"/>
              <a:gd name="connsiteY340" fmla="*/ 691198 h 6858000"/>
              <a:gd name="connsiteX341" fmla="*/ 2596527 w 8009775"/>
              <a:gd name="connsiteY34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8009775" h="6858000">
                <a:moveTo>
                  <a:pt x="2596527" y="0"/>
                </a:moveTo>
                <a:lnTo>
                  <a:pt x="2165004" y="0"/>
                </a:lnTo>
                <a:lnTo>
                  <a:pt x="3265978" y="1101091"/>
                </a:lnTo>
                <a:lnTo>
                  <a:pt x="3270708" y="1105854"/>
                </a:lnTo>
                <a:lnTo>
                  <a:pt x="3274550" y="1110615"/>
                </a:lnTo>
                <a:lnTo>
                  <a:pt x="3278688" y="1115696"/>
                </a:lnTo>
                <a:lnTo>
                  <a:pt x="3282234" y="1120776"/>
                </a:lnTo>
                <a:lnTo>
                  <a:pt x="3285486" y="1126174"/>
                </a:lnTo>
                <a:lnTo>
                  <a:pt x="3288146" y="1131570"/>
                </a:lnTo>
                <a:lnTo>
                  <a:pt x="3291101" y="1136968"/>
                </a:lnTo>
                <a:lnTo>
                  <a:pt x="3293761" y="1142366"/>
                </a:lnTo>
                <a:lnTo>
                  <a:pt x="3295830" y="1148081"/>
                </a:lnTo>
                <a:lnTo>
                  <a:pt x="3297604" y="1153796"/>
                </a:lnTo>
                <a:lnTo>
                  <a:pt x="3299082" y="1159829"/>
                </a:lnTo>
                <a:lnTo>
                  <a:pt x="3300559" y="1165544"/>
                </a:lnTo>
                <a:lnTo>
                  <a:pt x="3301446" y="1171893"/>
                </a:lnTo>
                <a:lnTo>
                  <a:pt x="3302333" y="1177608"/>
                </a:lnTo>
                <a:cubicBezTo>
                  <a:pt x="3302431" y="1179619"/>
                  <a:pt x="3302530" y="1181630"/>
                  <a:pt x="3302628" y="1183641"/>
                </a:cubicBezTo>
                <a:lnTo>
                  <a:pt x="3302628" y="1189356"/>
                </a:lnTo>
                <a:lnTo>
                  <a:pt x="3302628" y="1195388"/>
                </a:lnTo>
                <a:cubicBezTo>
                  <a:pt x="3302530" y="1197505"/>
                  <a:pt x="3302431" y="1199622"/>
                  <a:pt x="3302333" y="1201739"/>
                </a:cubicBezTo>
                <a:lnTo>
                  <a:pt x="3301446" y="1207454"/>
                </a:lnTo>
                <a:lnTo>
                  <a:pt x="3300559" y="1213486"/>
                </a:lnTo>
                <a:lnTo>
                  <a:pt x="3299082" y="1219200"/>
                </a:lnTo>
                <a:lnTo>
                  <a:pt x="3297604" y="1225233"/>
                </a:lnTo>
                <a:lnTo>
                  <a:pt x="3295830" y="1230949"/>
                </a:lnTo>
                <a:lnTo>
                  <a:pt x="3293761" y="1236346"/>
                </a:lnTo>
                <a:lnTo>
                  <a:pt x="3291101" y="1242061"/>
                </a:lnTo>
                <a:lnTo>
                  <a:pt x="3288146" y="1247459"/>
                </a:lnTo>
                <a:lnTo>
                  <a:pt x="3285486" y="1252855"/>
                </a:lnTo>
                <a:lnTo>
                  <a:pt x="3282234" y="1258254"/>
                </a:lnTo>
                <a:lnTo>
                  <a:pt x="3278688" y="1263333"/>
                </a:lnTo>
                <a:lnTo>
                  <a:pt x="3274550" y="1268413"/>
                </a:lnTo>
                <a:lnTo>
                  <a:pt x="3270708" y="1273494"/>
                </a:lnTo>
                <a:lnTo>
                  <a:pt x="3265978" y="1278255"/>
                </a:lnTo>
                <a:lnTo>
                  <a:pt x="3261249" y="1282384"/>
                </a:lnTo>
                <a:lnTo>
                  <a:pt x="3256816" y="1286510"/>
                </a:lnTo>
                <a:lnTo>
                  <a:pt x="3251791" y="1290321"/>
                </a:lnTo>
                <a:lnTo>
                  <a:pt x="3246767" y="1293814"/>
                </a:lnTo>
                <a:lnTo>
                  <a:pt x="3241151" y="1297306"/>
                </a:lnTo>
                <a:lnTo>
                  <a:pt x="3235831" y="1300481"/>
                </a:lnTo>
                <a:lnTo>
                  <a:pt x="3230511" y="1303021"/>
                </a:lnTo>
                <a:lnTo>
                  <a:pt x="3224600" y="1305560"/>
                </a:lnTo>
                <a:lnTo>
                  <a:pt x="3218984" y="1307465"/>
                </a:lnTo>
                <a:lnTo>
                  <a:pt x="3213072" y="1309371"/>
                </a:lnTo>
                <a:lnTo>
                  <a:pt x="3207457" y="1311275"/>
                </a:lnTo>
                <a:lnTo>
                  <a:pt x="3201841" y="1312228"/>
                </a:lnTo>
                <a:lnTo>
                  <a:pt x="3195634" y="1313180"/>
                </a:lnTo>
                <a:lnTo>
                  <a:pt x="3189428" y="1314133"/>
                </a:lnTo>
                <a:lnTo>
                  <a:pt x="3183812" y="1314450"/>
                </a:lnTo>
                <a:lnTo>
                  <a:pt x="3177605" y="1314769"/>
                </a:lnTo>
                <a:lnTo>
                  <a:pt x="3171694" y="1314450"/>
                </a:lnTo>
                <a:lnTo>
                  <a:pt x="3165782" y="1314133"/>
                </a:lnTo>
                <a:lnTo>
                  <a:pt x="3159576" y="1313180"/>
                </a:lnTo>
                <a:lnTo>
                  <a:pt x="3153960" y="1312228"/>
                </a:lnTo>
                <a:lnTo>
                  <a:pt x="3147753" y="1311275"/>
                </a:lnTo>
                <a:lnTo>
                  <a:pt x="3142137" y="1309371"/>
                </a:lnTo>
                <a:lnTo>
                  <a:pt x="3136226" y="1307465"/>
                </a:lnTo>
                <a:lnTo>
                  <a:pt x="3130610" y="1305560"/>
                </a:lnTo>
                <a:lnTo>
                  <a:pt x="3124994" y="1303021"/>
                </a:lnTo>
                <a:lnTo>
                  <a:pt x="3119379" y="1300481"/>
                </a:lnTo>
                <a:lnTo>
                  <a:pt x="3114059" y="1297306"/>
                </a:lnTo>
                <a:lnTo>
                  <a:pt x="3109034" y="1293814"/>
                </a:lnTo>
                <a:lnTo>
                  <a:pt x="3103714" y="1290321"/>
                </a:lnTo>
                <a:lnTo>
                  <a:pt x="3098689" y="1286510"/>
                </a:lnTo>
                <a:lnTo>
                  <a:pt x="3093960" y="1282384"/>
                </a:lnTo>
                <a:lnTo>
                  <a:pt x="3089231" y="1278255"/>
                </a:lnTo>
                <a:lnTo>
                  <a:pt x="1811214" y="0"/>
                </a:lnTo>
                <a:lnTo>
                  <a:pt x="0" y="0"/>
                </a:lnTo>
                <a:lnTo>
                  <a:pt x="0" y="6858000"/>
                </a:lnTo>
                <a:lnTo>
                  <a:pt x="8009775" y="6858000"/>
                </a:lnTo>
                <a:lnTo>
                  <a:pt x="3001744" y="1828166"/>
                </a:lnTo>
                <a:lnTo>
                  <a:pt x="2997311" y="1823404"/>
                </a:lnTo>
                <a:lnTo>
                  <a:pt x="2992878" y="1818640"/>
                </a:lnTo>
                <a:lnTo>
                  <a:pt x="2989331" y="1814195"/>
                </a:lnTo>
                <a:lnTo>
                  <a:pt x="2985784" y="1808799"/>
                </a:lnTo>
                <a:lnTo>
                  <a:pt x="2982533" y="1803718"/>
                </a:lnTo>
                <a:lnTo>
                  <a:pt x="2979873" y="1798321"/>
                </a:lnTo>
                <a:lnTo>
                  <a:pt x="2976917" y="1792924"/>
                </a:lnTo>
                <a:lnTo>
                  <a:pt x="2974552" y="1787526"/>
                </a:lnTo>
                <a:lnTo>
                  <a:pt x="2972484" y="1781811"/>
                </a:lnTo>
                <a:lnTo>
                  <a:pt x="2970710" y="1776095"/>
                </a:lnTo>
                <a:lnTo>
                  <a:pt x="2968937" y="1770380"/>
                </a:lnTo>
                <a:lnTo>
                  <a:pt x="2967755" y="1764665"/>
                </a:lnTo>
                <a:lnTo>
                  <a:pt x="2966868" y="1758634"/>
                </a:lnTo>
                <a:lnTo>
                  <a:pt x="2965981" y="1752919"/>
                </a:lnTo>
                <a:cubicBezTo>
                  <a:pt x="2965883" y="1750908"/>
                  <a:pt x="2965784" y="1748896"/>
                  <a:pt x="2965686" y="1746885"/>
                </a:cubicBezTo>
                <a:lnTo>
                  <a:pt x="2965686" y="1741170"/>
                </a:lnTo>
                <a:lnTo>
                  <a:pt x="2965686" y="1735139"/>
                </a:lnTo>
                <a:cubicBezTo>
                  <a:pt x="2965784" y="1733234"/>
                  <a:pt x="2965883" y="1731329"/>
                  <a:pt x="2965981" y="1729424"/>
                </a:cubicBezTo>
                <a:lnTo>
                  <a:pt x="2966868" y="1723074"/>
                </a:lnTo>
                <a:lnTo>
                  <a:pt x="2967755" y="1717358"/>
                </a:lnTo>
                <a:lnTo>
                  <a:pt x="2968937" y="1711643"/>
                </a:lnTo>
                <a:lnTo>
                  <a:pt x="2970710" y="1705929"/>
                </a:lnTo>
                <a:lnTo>
                  <a:pt x="2972484" y="1700214"/>
                </a:lnTo>
                <a:lnTo>
                  <a:pt x="2974552" y="1694816"/>
                </a:lnTo>
                <a:lnTo>
                  <a:pt x="2976917" y="1689101"/>
                </a:lnTo>
                <a:lnTo>
                  <a:pt x="2979873" y="1683703"/>
                </a:lnTo>
                <a:lnTo>
                  <a:pt x="2982533" y="1678305"/>
                </a:lnTo>
                <a:lnTo>
                  <a:pt x="2985784" y="1673226"/>
                </a:lnTo>
                <a:lnTo>
                  <a:pt x="2989331" y="1668145"/>
                </a:lnTo>
                <a:lnTo>
                  <a:pt x="2992878" y="1663066"/>
                </a:lnTo>
                <a:lnTo>
                  <a:pt x="2997311" y="1658621"/>
                </a:lnTo>
                <a:lnTo>
                  <a:pt x="3001744" y="1653859"/>
                </a:lnTo>
                <a:lnTo>
                  <a:pt x="3006178" y="1649414"/>
                </a:lnTo>
                <a:lnTo>
                  <a:pt x="3010907" y="1645603"/>
                </a:lnTo>
                <a:lnTo>
                  <a:pt x="3015932" y="1641794"/>
                </a:lnTo>
                <a:lnTo>
                  <a:pt x="3020956" y="1637984"/>
                </a:lnTo>
                <a:lnTo>
                  <a:pt x="3025981" y="1634809"/>
                </a:lnTo>
                <a:lnTo>
                  <a:pt x="3031596" y="1631950"/>
                </a:lnTo>
                <a:lnTo>
                  <a:pt x="3036916" y="1629094"/>
                </a:lnTo>
                <a:lnTo>
                  <a:pt x="3042532" y="1626871"/>
                </a:lnTo>
                <a:lnTo>
                  <a:pt x="3047852" y="1624649"/>
                </a:lnTo>
                <a:lnTo>
                  <a:pt x="3053764" y="1623061"/>
                </a:lnTo>
                <a:lnTo>
                  <a:pt x="3059379" y="1621155"/>
                </a:lnTo>
                <a:lnTo>
                  <a:pt x="3065291" y="1620204"/>
                </a:lnTo>
                <a:lnTo>
                  <a:pt x="3070906" y="1618934"/>
                </a:lnTo>
                <a:lnTo>
                  <a:pt x="3077113" y="1618299"/>
                </a:lnTo>
                <a:lnTo>
                  <a:pt x="3082729" y="1617981"/>
                </a:lnTo>
                <a:lnTo>
                  <a:pt x="3088936" y="1617981"/>
                </a:lnTo>
                <a:lnTo>
                  <a:pt x="3094552" y="1617981"/>
                </a:lnTo>
                <a:lnTo>
                  <a:pt x="3100758" y="1618299"/>
                </a:lnTo>
                <a:lnTo>
                  <a:pt x="3106670" y="1618934"/>
                </a:lnTo>
                <a:lnTo>
                  <a:pt x="3112285" y="1620204"/>
                </a:lnTo>
                <a:lnTo>
                  <a:pt x="3117901" y="1621155"/>
                </a:lnTo>
                <a:lnTo>
                  <a:pt x="3123812" y="1623061"/>
                </a:lnTo>
                <a:lnTo>
                  <a:pt x="3129428" y="1624649"/>
                </a:lnTo>
                <a:lnTo>
                  <a:pt x="3135339" y="1626871"/>
                </a:lnTo>
                <a:lnTo>
                  <a:pt x="3140660" y="1629094"/>
                </a:lnTo>
                <a:lnTo>
                  <a:pt x="3145980" y="1631950"/>
                </a:lnTo>
                <a:lnTo>
                  <a:pt x="3151300" y="1634809"/>
                </a:lnTo>
                <a:lnTo>
                  <a:pt x="3156324" y="1637984"/>
                </a:lnTo>
                <a:lnTo>
                  <a:pt x="3161349" y="1641794"/>
                </a:lnTo>
                <a:lnTo>
                  <a:pt x="3166374" y="1645603"/>
                </a:lnTo>
                <a:lnTo>
                  <a:pt x="3171102" y="1649414"/>
                </a:lnTo>
                <a:lnTo>
                  <a:pt x="3175832" y="1653859"/>
                </a:lnTo>
                <a:lnTo>
                  <a:pt x="3844692" y="2322830"/>
                </a:lnTo>
                <a:lnTo>
                  <a:pt x="3849421" y="2326958"/>
                </a:lnTo>
                <a:lnTo>
                  <a:pt x="3854150" y="2331085"/>
                </a:lnTo>
                <a:lnTo>
                  <a:pt x="3859175" y="2334895"/>
                </a:lnTo>
                <a:lnTo>
                  <a:pt x="3864199" y="2338705"/>
                </a:lnTo>
                <a:lnTo>
                  <a:pt x="3869224" y="2341880"/>
                </a:lnTo>
                <a:lnTo>
                  <a:pt x="3874544" y="2344738"/>
                </a:lnTo>
                <a:lnTo>
                  <a:pt x="3879864" y="2347595"/>
                </a:lnTo>
                <a:lnTo>
                  <a:pt x="3885775" y="2349818"/>
                </a:lnTo>
                <a:lnTo>
                  <a:pt x="3891096" y="2351723"/>
                </a:lnTo>
                <a:lnTo>
                  <a:pt x="3896711" y="2353628"/>
                </a:lnTo>
                <a:lnTo>
                  <a:pt x="3902623" y="2355534"/>
                </a:lnTo>
                <a:lnTo>
                  <a:pt x="3908238" y="2356485"/>
                </a:lnTo>
                <a:lnTo>
                  <a:pt x="3914150" y="2357755"/>
                </a:lnTo>
                <a:lnTo>
                  <a:pt x="3920061" y="2358391"/>
                </a:lnTo>
                <a:lnTo>
                  <a:pt x="3925972" y="2358708"/>
                </a:lnTo>
                <a:lnTo>
                  <a:pt x="3931883" y="2358708"/>
                </a:lnTo>
                <a:lnTo>
                  <a:pt x="3937795" y="2358708"/>
                </a:lnTo>
                <a:lnTo>
                  <a:pt x="3943706" y="2358391"/>
                </a:lnTo>
                <a:lnTo>
                  <a:pt x="3949617" y="2357755"/>
                </a:lnTo>
                <a:lnTo>
                  <a:pt x="3955233" y="2356485"/>
                </a:lnTo>
                <a:lnTo>
                  <a:pt x="3961144" y="2355534"/>
                </a:lnTo>
                <a:lnTo>
                  <a:pt x="3966760" y="2353628"/>
                </a:lnTo>
                <a:lnTo>
                  <a:pt x="3972671" y="2351723"/>
                </a:lnTo>
                <a:lnTo>
                  <a:pt x="3978287" y="2349818"/>
                </a:lnTo>
                <a:lnTo>
                  <a:pt x="3983607" y="2347595"/>
                </a:lnTo>
                <a:lnTo>
                  <a:pt x="3989223" y="2344738"/>
                </a:lnTo>
                <a:lnTo>
                  <a:pt x="3994543" y="2341880"/>
                </a:lnTo>
                <a:lnTo>
                  <a:pt x="3999567" y="2338705"/>
                </a:lnTo>
                <a:lnTo>
                  <a:pt x="4004888" y="2334895"/>
                </a:lnTo>
                <a:lnTo>
                  <a:pt x="4009617" y="2331085"/>
                </a:lnTo>
                <a:lnTo>
                  <a:pt x="4014346" y="2326958"/>
                </a:lnTo>
                <a:lnTo>
                  <a:pt x="4018779" y="2322830"/>
                </a:lnTo>
                <a:lnTo>
                  <a:pt x="4023213" y="2318068"/>
                </a:lnTo>
                <a:lnTo>
                  <a:pt x="4027646" y="2313306"/>
                </a:lnTo>
                <a:lnTo>
                  <a:pt x="4031193" y="2308544"/>
                </a:lnTo>
                <a:lnTo>
                  <a:pt x="4034740" y="2303463"/>
                </a:lnTo>
                <a:lnTo>
                  <a:pt x="4037991" y="2298384"/>
                </a:lnTo>
                <a:lnTo>
                  <a:pt x="4040946" y="2292985"/>
                </a:lnTo>
                <a:lnTo>
                  <a:pt x="4043606" y="2287588"/>
                </a:lnTo>
                <a:lnTo>
                  <a:pt x="4046267" y="2281873"/>
                </a:lnTo>
                <a:lnTo>
                  <a:pt x="4048040" y="2276476"/>
                </a:lnTo>
                <a:lnTo>
                  <a:pt x="4050109" y="2270761"/>
                </a:lnTo>
                <a:lnTo>
                  <a:pt x="4051587" y="2265046"/>
                </a:lnTo>
                <a:lnTo>
                  <a:pt x="4052769" y="2259331"/>
                </a:lnTo>
                <a:lnTo>
                  <a:pt x="4053656" y="2253298"/>
                </a:lnTo>
                <a:lnTo>
                  <a:pt x="4054542" y="2247266"/>
                </a:lnTo>
                <a:cubicBezTo>
                  <a:pt x="4054641" y="2245362"/>
                  <a:pt x="4054739" y="2243456"/>
                  <a:pt x="4054838" y="2241551"/>
                </a:cubicBezTo>
                <a:cubicBezTo>
                  <a:pt x="4054936" y="2239540"/>
                  <a:pt x="4055035" y="2237530"/>
                  <a:pt x="4055133" y="2235519"/>
                </a:cubicBezTo>
                <a:cubicBezTo>
                  <a:pt x="4055035" y="2233614"/>
                  <a:pt x="4054936" y="2231709"/>
                  <a:pt x="4054838" y="2229804"/>
                </a:cubicBezTo>
                <a:cubicBezTo>
                  <a:pt x="4054739" y="2227793"/>
                  <a:pt x="4054641" y="2225781"/>
                  <a:pt x="4054542" y="2223770"/>
                </a:cubicBezTo>
                <a:lnTo>
                  <a:pt x="4053656" y="2217739"/>
                </a:lnTo>
                <a:lnTo>
                  <a:pt x="4052769" y="2212024"/>
                </a:lnTo>
                <a:lnTo>
                  <a:pt x="4051587" y="2206309"/>
                </a:lnTo>
                <a:lnTo>
                  <a:pt x="4050109" y="2200593"/>
                </a:lnTo>
                <a:lnTo>
                  <a:pt x="4048040" y="2194878"/>
                </a:lnTo>
                <a:lnTo>
                  <a:pt x="4046267" y="2189163"/>
                </a:lnTo>
                <a:lnTo>
                  <a:pt x="4043606" y="2183765"/>
                </a:lnTo>
                <a:lnTo>
                  <a:pt x="4040946" y="2178368"/>
                </a:lnTo>
                <a:lnTo>
                  <a:pt x="4037991" y="2172970"/>
                </a:lnTo>
                <a:lnTo>
                  <a:pt x="4034740" y="2167890"/>
                </a:lnTo>
                <a:lnTo>
                  <a:pt x="4031193" y="2162494"/>
                </a:lnTo>
                <a:lnTo>
                  <a:pt x="4027646" y="2157730"/>
                </a:lnTo>
                <a:lnTo>
                  <a:pt x="4023213" y="2153285"/>
                </a:lnTo>
                <a:lnTo>
                  <a:pt x="4018779" y="2148523"/>
                </a:lnTo>
                <a:lnTo>
                  <a:pt x="3632182" y="1761490"/>
                </a:lnTo>
                <a:lnTo>
                  <a:pt x="3435928" y="1565276"/>
                </a:lnTo>
                <a:lnTo>
                  <a:pt x="3431198" y="1560514"/>
                </a:lnTo>
                <a:lnTo>
                  <a:pt x="3427356" y="1555751"/>
                </a:lnTo>
                <a:lnTo>
                  <a:pt x="3423218" y="1550671"/>
                </a:lnTo>
                <a:lnTo>
                  <a:pt x="3420262" y="1545909"/>
                </a:lnTo>
                <a:lnTo>
                  <a:pt x="3417012" y="1540829"/>
                </a:lnTo>
                <a:lnTo>
                  <a:pt x="3413760" y="1535430"/>
                </a:lnTo>
                <a:lnTo>
                  <a:pt x="3411100" y="1530034"/>
                </a:lnTo>
                <a:lnTo>
                  <a:pt x="3408736" y="1524635"/>
                </a:lnTo>
                <a:lnTo>
                  <a:pt x="3406371" y="1518920"/>
                </a:lnTo>
                <a:lnTo>
                  <a:pt x="3404598" y="1513205"/>
                </a:lnTo>
                <a:lnTo>
                  <a:pt x="3403120" y="1507174"/>
                </a:lnTo>
                <a:lnTo>
                  <a:pt x="3401938" y="1501459"/>
                </a:lnTo>
                <a:lnTo>
                  <a:pt x="3401051" y="1495744"/>
                </a:lnTo>
                <a:lnTo>
                  <a:pt x="3400460" y="1489710"/>
                </a:lnTo>
                <a:lnTo>
                  <a:pt x="3399869" y="1483995"/>
                </a:lnTo>
                <a:cubicBezTo>
                  <a:pt x="3399770" y="1482090"/>
                  <a:pt x="3399672" y="1480186"/>
                  <a:pt x="3399573" y="1478281"/>
                </a:cubicBezTo>
                <a:cubicBezTo>
                  <a:pt x="3399672" y="1476270"/>
                  <a:pt x="3399770" y="1474260"/>
                  <a:pt x="3399869" y="1472249"/>
                </a:cubicBezTo>
                <a:lnTo>
                  <a:pt x="3400460" y="1466215"/>
                </a:lnTo>
                <a:lnTo>
                  <a:pt x="3401051" y="1460183"/>
                </a:lnTo>
                <a:lnTo>
                  <a:pt x="3401938" y="1454468"/>
                </a:lnTo>
                <a:lnTo>
                  <a:pt x="3403120" y="1448754"/>
                </a:lnTo>
                <a:lnTo>
                  <a:pt x="3404598" y="1443039"/>
                </a:lnTo>
                <a:lnTo>
                  <a:pt x="3406371" y="1437324"/>
                </a:lnTo>
                <a:lnTo>
                  <a:pt x="3408736" y="1431609"/>
                </a:lnTo>
                <a:lnTo>
                  <a:pt x="3411100" y="1426211"/>
                </a:lnTo>
                <a:lnTo>
                  <a:pt x="3413760" y="1420814"/>
                </a:lnTo>
                <a:lnTo>
                  <a:pt x="3417012" y="1415416"/>
                </a:lnTo>
                <a:lnTo>
                  <a:pt x="3420262" y="1410336"/>
                </a:lnTo>
                <a:lnTo>
                  <a:pt x="3423218" y="1405256"/>
                </a:lnTo>
                <a:lnTo>
                  <a:pt x="3427356" y="1400175"/>
                </a:lnTo>
                <a:lnTo>
                  <a:pt x="3431198" y="1395731"/>
                </a:lnTo>
                <a:lnTo>
                  <a:pt x="3435928" y="1390969"/>
                </a:lnTo>
                <a:lnTo>
                  <a:pt x="3440361" y="1386524"/>
                </a:lnTo>
                <a:lnTo>
                  <a:pt x="3445386" y="1382396"/>
                </a:lnTo>
                <a:lnTo>
                  <a:pt x="3449819" y="1378585"/>
                </a:lnTo>
                <a:lnTo>
                  <a:pt x="3454844" y="1375094"/>
                </a:lnTo>
                <a:lnTo>
                  <a:pt x="3460459" y="1371919"/>
                </a:lnTo>
                <a:lnTo>
                  <a:pt x="3465780" y="1369061"/>
                </a:lnTo>
                <a:lnTo>
                  <a:pt x="3471100" y="1366204"/>
                </a:lnTo>
                <a:lnTo>
                  <a:pt x="3476420" y="1363980"/>
                </a:lnTo>
                <a:lnTo>
                  <a:pt x="3482331" y="1361759"/>
                </a:lnTo>
                <a:lnTo>
                  <a:pt x="3487947" y="1360170"/>
                </a:lnTo>
                <a:lnTo>
                  <a:pt x="3493858" y="1358265"/>
                </a:lnTo>
                <a:lnTo>
                  <a:pt x="3499474" y="1357314"/>
                </a:lnTo>
                <a:lnTo>
                  <a:pt x="3505385" y="1356043"/>
                </a:lnTo>
                <a:lnTo>
                  <a:pt x="3511001" y="1355409"/>
                </a:lnTo>
                <a:lnTo>
                  <a:pt x="3517208" y="1355090"/>
                </a:lnTo>
                <a:lnTo>
                  <a:pt x="3522823" y="1354773"/>
                </a:lnTo>
                <a:lnTo>
                  <a:pt x="3529030" y="1355090"/>
                </a:lnTo>
                <a:lnTo>
                  <a:pt x="3534646" y="1355409"/>
                </a:lnTo>
                <a:lnTo>
                  <a:pt x="3540557" y="1356043"/>
                </a:lnTo>
                <a:lnTo>
                  <a:pt x="3546468" y="1357314"/>
                </a:lnTo>
                <a:lnTo>
                  <a:pt x="3552380" y="1358265"/>
                </a:lnTo>
                <a:lnTo>
                  <a:pt x="3557995" y="1360170"/>
                </a:lnTo>
                <a:lnTo>
                  <a:pt x="3563906" y="1361759"/>
                </a:lnTo>
                <a:lnTo>
                  <a:pt x="3569227" y="1363980"/>
                </a:lnTo>
                <a:lnTo>
                  <a:pt x="3574842" y="1366204"/>
                </a:lnTo>
                <a:lnTo>
                  <a:pt x="3580458" y="1369061"/>
                </a:lnTo>
                <a:lnTo>
                  <a:pt x="3585778" y="1371919"/>
                </a:lnTo>
                <a:lnTo>
                  <a:pt x="3590803" y="1375094"/>
                </a:lnTo>
                <a:lnTo>
                  <a:pt x="3595828" y="1378585"/>
                </a:lnTo>
                <a:lnTo>
                  <a:pt x="3600852" y="1382396"/>
                </a:lnTo>
                <a:lnTo>
                  <a:pt x="3605581" y="1386524"/>
                </a:lnTo>
                <a:lnTo>
                  <a:pt x="3610014" y="1390969"/>
                </a:lnTo>
                <a:lnTo>
                  <a:pt x="3817500" y="1598296"/>
                </a:lnTo>
                <a:lnTo>
                  <a:pt x="3821934" y="1602423"/>
                </a:lnTo>
                <a:lnTo>
                  <a:pt x="3826663" y="1606869"/>
                </a:lnTo>
                <a:lnTo>
                  <a:pt x="3831687" y="1610361"/>
                </a:lnTo>
                <a:lnTo>
                  <a:pt x="3836712" y="1613854"/>
                </a:lnTo>
                <a:lnTo>
                  <a:pt x="3841736" y="1617345"/>
                </a:lnTo>
                <a:lnTo>
                  <a:pt x="3847352" y="1620204"/>
                </a:lnTo>
                <a:lnTo>
                  <a:pt x="3852672" y="1623061"/>
                </a:lnTo>
                <a:lnTo>
                  <a:pt x="3857992" y="1625283"/>
                </a:lnTo>
                <a:lnTo>
                  <a:pt x="3863608" y="1627189"/>
                </a:lnTo>
                <a:lnTo>
                  <a:pt x="3869519" y="1629094"/>
                </a:lnTo>
                <a:lnTo>
                  <a:pt x="3875135" y="1630998"/>
                </a:lnTo>
                <a:lnTo>
                  <a:pt x="3881046" y="1631950"/>
                </a:lnTo>
                <a:lnTo>
                  <a:pt x="3886662" y="1632904"/>
                </a:lnTo>
                <a:lnTo>
                  <a:pt x="3892869" y="1633856"/>
                </a:lnTo>
                <a:lnTo>
                  <a:pt x="3898485" y="1634174"/>
                </a:lnTo>
                <a:lnTo>
                  <a:pt x="3904396" y="1634174"/>
                </a:lnTo>
                <a:lnTo>
                  <a:pt x="3910307" y="1634174"/>
                </a:lnTo>
                <a:lnTo>
                  <a:pt x="3916219" y="1633856"/>
                </a:lnTo>
                <a:lnTo>
                  <a:pt x="3922425" y="1632904"/>
                </a:lnTo>
                <a:lnTo>
                  <a:pt x="3928041" y="1631950"/>
                </a:lnTo>
                <a:lnTo>
                  <a:pt x="3933657" y="1630998"/>
                </a:lnTo>
                <a:lnTo>
                  <a:pt x="3939568" y="1629094"/>
                </a:lnTo>
                <a:lnTo>
                  <a:pt x="3945184" y="1627189"/>
                </a:lnTo>
                <a:lnTo>
                  <a:pt x="3950799" y="1625283"/>
                </a:lnTo>
                <a:lnTo>
                  <a:pt x="3956415" y="1623061"/>
                </a:lnTo>
                <a:lnTo>
                  <a:pt x="3961735" y="1620204"/>
                </a:lnTo>
                <a:lnTo>
                  <a:pt x="3967055" y="1617345"/>
                </a:lnTo>
                <a:lnTo>
                  <a:pt x="3972376" y="1613854"/>
                </a:lnTo>
                <a:lnTo>
                  <a:pt x="3977400" y="1610361"/>
                </a:lnTo>
                <a:lnTo>
                  <a:pt x="3982425" y="1606869"/>
                </a:lnTo>
                <a:lnTo>
                  <a:pt x="3986858" y="1602423"/>
                </a:lnTo>
                <a:lnTo>
                  <a:pt x="3991587" y="1598296"/>
                </a:lnTo>
                <a:lnTo>
                  <a:pt x="3996021" y="1593533"/>
                </a:lnTo>
                <a:lnTo>
                  <a:pt x="4000159" y="1588771"/>
                </a:lnTo>
                <a:lnTo>
                  <a:pt x="4003705" y="1583691"/>
                </a:lnTo>
                <a:lnTo>
                  <a:pt x="4007548" y="1578928"/>
                </a:lnTo>
                <a:lnTo>
                  <a:pt x="4010799" y="1573849"/>
                </a:lnTo>
                <a:lnTo>
                  <a:pt x="4013459" y="1568451"/>
                </a:lnTo>
                <a:lnTo>
                  <a:pt x="4016415" y="1563054"/>
                </a:lnTo>
                <a:lnTo>
                  <a:pt x="4018484" y="1557339"/>
                </a:lnTo>
                <a:lnTo>
                  <a:pt x="4020848" y="1551941"/>
                </a:lnTo>
                <a:lnTo>
                  <a:pt x="4022621" y="1546226"/>
                </a:lnTo>
                <a:lnTo>
                  <a:pt x="4024395" y="1540511"/>
                </a:lnTo>
                <a:lnTo>
                  <a:pt x="4025282" y="1534478"/>
                </a:lnTo>
                <a:lnTo>
                  <a:pt x="4026464" y="1528763"/>
                </a:lnTo>
                <a:lnTo>
                  <a:pt x="4027055" y="1522731"/>
                </a:lnTo>
                <a:lnTo>
                  <a:pt x="4027646" y="1517016"/>
                </a:lnTo>
                <a:lnTo>
                  <a:pt x="4027646" y="1510984"/>
                </a:lnTo>
                <a:lnTo>
                  <a:pt x="4027646" y="1505268"/>
                </a:lnTo>
                <a:lnTo>
                  <a:pt x="4027055" y="1499553"/>
                </a:lnTo>
                <a:lnTo>
                  <a:pt x="4026464" y="1493204"/>
                </a:lnTo>
                <a:lnTo>
                  <a:pt x="4025282" y="1487489"/>
                </a:lnTo>
                <a:lnTo>
                  <a:pt x="4024395" y="1481773"/>
                </a:lnTo>
                <a:lnTo>
                  <a:pt x="4022621" y="1476058"/>
                </a:lnTo>
                <a:lnTo>
                  <a:pt x="4020848" y="1470343"/>
                </a:lnTo>
                <a:lnTo>
                  <a:pt x="4018484" y="1464629"/>
                </a:lnTo>
                <a:lnTo>
                  <a:pt x="4016415" y="1459231"/>
                </a:lnTo>
                <a:lnTo>
                  <a:pt x="4013459" y="1453834"/>
                </a:lnTo>
                <a:lnTo>
                  <a:pt x="4010799" y="1448436"/>
                </a:lnTo>
                <a:lnTo>
                  <a:pt x="4007548" y="1443356"/>
                </a:lnTo>
                <a:lnTo>
                  <a:pt x="4003705" y="1438275"/>
                </a:lnTo>
                <a:lnTo>
                  <a:pt x="4000159" y="1433195"/>
                </a:lnTo>
                <a:lnTo>
                  <a:pt x="3996021" y="1428751"/>
                </a:lnTo>
                <a:lnTo>
                  <a:pt x="3991587" y="1423988"/>
                </a:lnTo>
                <a:lnTo>
                  <a:pt x="3323022" y="755333"/>
                </a:lnTo>
                <a:lnTo>
                  <a:pt x="3316815" y="748348"/>
                </a:lnTo>
                <a:lnTo>
                  <a:pt x="3310904" y="741045"/>
                </a:lnTo>
                <a:lnTo>
                  <a:pt x="3305584" y="733108"/>
                </a:lnTo>
                <a:lnTo>
                  <a:pt x="3300855" y="725170"/>
                </a:lnTo>
                <a:lnTo>
                  <a:pt x="3297308" y="716915"/>
                </a:lnTo>
                <a:lnTo>
                  <a:pt x="3293761" y="708660"/>
                </a:lnTo>
                <a:lnTo>
                  <a:pt x="3291101" y="699770"/>
                </a:lnTo>
                <a:lnTo>
                  <a:pt x="3289328" y="691198"/>
                </a:lnTo>
                <a:lnTo>
                  <a:pt x="2596527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  <a:noAutofit/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5FFD27D7-FEE3-4A38-ADDC-B39156DF7F4D}"/>
              </a:ext>
            </a:extLst>
          </p:cNvPr>
          <p:cNvSpPr>
            <a:spLocks/>
          </p:cNvSpPr>
          <p:nvPr userDrawn="1"/>
        </p:nvSpPr>
        <p:spPr bwMode="auto">
          <a:xfrm flipH="1">
            <a:off x="3810998" y="6716396"/>
            <a:ext cx="3560656" cy="2884805"/>
          </a:xfrm>
          <a:custGeom>
            <a:avLst/>
            <a:gdLst>
              <a:gd name="T0" fmla="*/ 156 w 8608"/>
              <a:gd name="T1" fmla="*/ 1515 h 6490"/>
              <a:gd name="T2" fmla="*/ 226 w 8608"/>
              <a:gd name="T3" fmla="*/ 1472 h 6490"/>
              <a:gd name="T4" fmla="*/ 303 w 8608"/>
              <a:gd name="T5" fmla="*/ 1444 h 6490"/>
              <a:gd name="T6" fmla="*/ 382 w 8608"/>
              <a:gd name="T7" fmla="*/ 1429 h 6490"/>
              <a:gd name="T8" fmla="*/ 463 w 8608"/>
              <a:gd name="T9" fmla="*/ 1429 h 6490"/>
              <a:gd name="T10" fmla="*/ 542 w 8608"/>
              <a:gd name="T11" fmla="*/ 1444 h 6490"/>
              <a:gd name="T12" fmla="*/ 619 w 8608"/>
              <a:gd name="T13" fmla="*/ 1472 h 6490"/>
              <a:gd name="T14" fmla="*/ 689 w 8608"/>
              <a:gd name="T15" fmla="*/ 1515 h 6490"/>
              <a:gd name="T16" fmla="*/ 3176 w 8608"/>
              <a:gd name="T17" fmla="*/ 3828 h 6490"/>
              <a:gd name="T18" fmla="*/ 3243 w 8608"/>
              <a:gd name="T19" fmla="*/ 3879 h 6490"/>
              <a:gd name="T20" fmla="*/ 3316 w 8608"/>
              <a:gd name="T21" fmla="*/ 3915 h 6490"/>
              <a:gd name="T22" fmla="*/ 3393 w 8608"/>
              <a:gd name="T23" fmla="*/ 3936 h 6490"/>
              <a:gd name="T24" fmla="*/ 3475 w 8608"/>
              <a:gd name="T25" fmla="*/ 3943 h 6490"/>
              <a:gd name="T26" fmla="*/ 3555 w 8608"/>
              <a:gd name="T27" fmla="*/ 3936 h 6490"/>
              <a:gd name="T28" fmla="*/ 3633 w 8608"/>
              <a:gd name="T29" fmla="*/ 3915 h 6490"/>
              <a:gd name="T30" fmla="*/ 3706 w 8608"/>
              <a:gd name="T31" fmla="*/ 3879 h 6490"/>
              <a:gd name="T32" fmla="*/ 3772 w 8608"/>
              <a:gd name="T33" fmla="*/ 3828 h 6490"/>
              <a:gd name="T34" fmla="*/ 3814 w 8608"/>
              <a:gd name="T35" fmla="*/ 3783 h 6490"/>
              <a:gd name="T36" fmla="*/ 3856 w 8608"/>
              <a:gd name="T37" fmla="*/ 3716 h 6490"/>
              <a:gd name="T38" fmla="*/ 3884 w 8608"/>
              <a:gd name="T39" fmla="*/ 3644 h 6490"/>
              <a:gd name="T40" fmla="*/ 3895 w 8608"/>
              <a:gd name="T41" fmla="*/ 3570 h 6490"/>
              <a:gd name="T42" fmla="*/ 3892 w 8608"/>
              <a:gd name="T43" fmla="*/ 3494 h 6490"/>
              <a:gd name="T44" fmla="*/ 3872 w 8608"/>
              <a:gd name="T45" fmla="*/ 3420 h 6490"/>
              <a:gd name="T46" fmla="*/ 3838 w 8608"/>
              <a:gd name="T47" fmla="*/ 3351 h 6490"/>
              <a:gd name="T48" fmla="*/ 3787 w 8608"/>
              <a:gd name="T49" fmla="*/ 3288 h 6490"/>
              <a:gd name="T50" fmla="*/ 963 w 8608"/>
              <a:gd name="T51" fmla="*/ 656 h 6490"/>
              <a:gd name="T52" fmla="*/ 913 w 8608"/>
              <a:gd name="T53" fmla="*/ 593 h 6490"/>
              <a:gd name="T54" fmla="*/ 878 w 8608"/>
              <a:gd name="T55" fmla="*/ 523 h 6490"/>
              <a:gd name="T56" fmla="*/ 858 w 8608"/>
              <a:gd name="T57" fmla="*/ 449 h 6490"/>
              <a:gd name="T58" fmla="*/ 854 w 8608"/>
              <a:gd name="T59" fmla="*/ 375 h 6490"/>
              <a:gd name="T60" fmla="*/ 865 w 8608"/>
              <a:gd name="T61" fmla="*/ 300 h 6490"/>
              <a:gd name="T62" fmla="*/ 893 w 8608"/>
              <a:gd name="T63" fmla="*/ 228 h 6490"/>
              <a:gd name="T64" fmla="*/ 936 w 8608"/>
              <a:gd name="T65" fmla="*/ 161 h 6490"/>
              <a:gd name="T66" fmla="*/ 977 w 8608"/>
              <a:gd name="T67" fmla="*/ 116 h 6490"/>
              <a:gd name="T68" fmla="*/ 1044 w 8608"/>
              <a:gd name="T69" fmla="*/ 66 h 6490"/>
              <a:gd name="T70" fmla="*/ 1117 w 8608"/>
              <a:gd name="T71" fmla="*/ 30 h 6490"/>
              <a:gd name="T72" fmla="*/ 1195 w 8608"/>
              <a:gd name="T73" fmla="*/ 8 h 6490"/>
              <a:gd name="T74" fmla="*/ 1276 w 8608"/>
              <a:gd name="T75" fmla="*/ 0 h 6490"/>
              <a:gd name="T76" fmla="*/ 1356 w 8608"/>
              <a:gd name="T77" fmla="*/ 8 h 6490"/>
              <a:gd name="T78" fmla="*/ 1434 w 8608"/>
              <a:gd name="T79" fmla="*/ 30 h 6490"/>
              <a:gd name="T80" fmla="*/ 1508 w 8608"/>
              <a:gd name="T81" fmla="*/ 66 h 6490"/>
              <a:gd name="T82" fmla="*/ 1574 w 8608"/>
              <a:gd name="T83" fmla="*/ 116 h 6490"/>
              <a:gd name="T84" fmla="*/ 3679 w 8608"/>
              <a:gd name="T85" fmla="*/ 2073 h 6490"/>
              <a:gd name="T86" fmla="*/ 3749 w 8608"/>
              <a:gd name="T87" fmla="*/ 2116 h 6490"/>
              <a:gd name="T88" fmla="*/ 3826 w 8608"/>
              <a:gd name="T89" fmla="*/ 2145 h 6490"/>
              <a:gd name="T90" fmla="*/ 3906 w 8608"/>
              <a:gd name="T91" fmla="*/ 2159 h 6490"/>
              <a:gd name="T92" fmla="*/ 4842 w 8608"/>
              <a:gd name="T93" fmla="*/ 6490 h 6490"/>
              <a:gd name="T94" fmla="*/ 95 w 8608"/>
              <a:gd name="T95" fmla="*/ 2068 h 6490"/>
              <a:gd name="T96" fmla="*/ 49 w 8608"/>
              <a:gd name="T97" fmla="*/ 2003 h 6490"/>
              <a:gd name="T98" fmla="*/ 18 w 8608"/>
              <a:gd name="T99" fmla="*/ 1931 h 6490"/>
              <a:gd name="T100" fmla="*/ 2 w 8608"/>
              <a:gd name="T101" fmla="*/ 1858 h 6490"/>
              <a:gd name="T102" fmla="*/ 2 w 8608"/>
              <a:gd name="T103" fmla="*/ 1782 h 6490"/>
              <a:gd name="T104" fmla="*/ 18 w 8608"/>
              <a:gd name="T105" fmla="*/ 1709 h 6490"/>
              <a:gd name="T106" fmla="*/ 49 w 8608"/>
              <a:gd name="T107" fmla="*/ 1637 h 6490"/>
              <a:gd name="T108" fmla="*/ 95 w 8608"/>
              <a:gd name="T109" fmla="*/ 1572 h 6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608" h="6490">
                <a:moveTo>
                  <a:pt x="124" y="1542"/>
                </a:moveTo>
                <a:lnTo>
                  <a:pt x="124" y="1542"/>
                </a:lnTo>
                <a:lnTo>
                  <a:pt x="140" y="1529"/>
                </a:lnTo>
                <a:lnTo>
                  <a:pt x="156" y="1515"/>
                </a:lnTo>
                <a:lnTo>
                  <a:pt x="173" y="1504"/>
                </a:lnTo>
                <a:lnTo>
                  <a:pt x="191" y="1493"/>
                </a:lnTo>
                <a:lnTo>
                  <a:pt x="208" y="1482"/>
                </a:lnTo>
                <a:lnTo>
                  <a:pt x="226" y="1472"/>
                </a:lnTo>
                <a:lnTo>
                  <a:pt x="244" y="1464"/>
                </a:lnTo>
                <a:lnTo>
                  <a:pt x="264" y="1456"/>
                </a:lnTo>
                <a:lnTo>
                  <a:pt x="283" y="1450"/>
                </a:lnTo>
                <a:lnTo>
                  <a:pt x="303" y="1444"/>
                </a:lnTo>
                <a:lnTo>
                  <a:pt x="322" y="1438"/>
                </a:lnTo>
                <a:lnTo>
                  <a:pt x="342" y="1435"/>
                </a:lnTo>
                <a:lnTo>
                  <a:pt x="362" y="1431"/>
                </a:lnTo>
                <a:lnTo>
                  <a:pt x="382" y="1429"/>
                </a:lnTo>
                <a:lnTo>
                  <a:pt x="402" y="1428"/>
                </a:lnTo>
                <a:lnTo>
                  <a:pt x="422" y="1427"/>
                </a:lnTo>
                <a:lnTo>
                  <a:pt x="442" y="1428"/>
                </a:lnTo>
                <a:lnTo>
                  <a:pt x="463" y="1429"/>
                </a:lnTo>
                <a:lnTo>
                  <a:pt x="483" y="1431"/>
                </a:lnTo>
                <a:lnTo>
                  <a:pt x="503" y="1435"/>
                </a:lnTo>
                <a:lnTo>
                  <a:pt x="523" y="1438"/>
                </a:lnTo>
                <a:lnTo>
                  <a:pt x="542" y="1444"/>
                </a:lnTo>
                <a:lnTo>
                  <a:pt x="562" y="1450"/>
                </a:lnTo>
                <a:lnTo>
                  <a:pt x="581" y="1456"/>
                </a:lnTo>
                <a:lnTo>
                  <a:pt x="600" y="1464"/>
                </a:lnTo>
                <a:lnTo>
                  <a:pt x="619" y="1472"/>
                </a:lnTo>
                <a:lnTo>
                  <a:pt x="637" y="1482"/>
                </a:lnTo>
                <a:lnTo>
                  <a:pt x="654" y="1493"/>
                </a:lnTo>
                <a:lnTo>
                  <a:pt x="672" y="1504"/>
                </a:lnTo>
                <a:lnTo>
                  <a:pt x="689" y="1515"/>
                </a:lnTo>
                <a:lnTo>
                  <a:pt x="705" y="1529"/>
                </a:lnTo>
                <a:lnTo>
                  <a:pt x="721" y="1542"/>
                </a:lnTo>
                <a:lnTo>
                  <a:pt x="3176" y="3828"/>
                </a:lnTo>
                <a:lnTo>
                  <a:pt x="3176" y="3828"/>
                </a:lnTo>
                <a:lnTo>
                  <a:pt x="3192" y="3842"/>
                </a:lnTo>
                <a:lnTo>
                  <a:pt x="3209" y="3855"/>
                </a:lnTo>
                <a:lnTo>
                  <a:pt x="3224" y="3867"/>
                </a:lnTo>
                <a:lnTo>
                  <a:pt x="3243" y="3879"/>
                </a:lnTo>
                <a:lnTo>
                  <a:pt x="3260" y="3889"/>
                </a:lnTo>
                <a:lnTo>
                  <a:pt x="3278" y="3898"/>
                </a:lnTo>
                <a:lnTo>
                  <a:pt x="3296" y="3907"/>
                </a:lnTo>
                <a:lnTo>
                  <a:pt x="3316" y="3915"/>
                </a:lnTo>
                <a:lnTo>
                  <a:pt x="3335" y="3922"/>
                </a:lnTo>
                <a:lnTo>
                  <a:pt x="3354" y="3927"/>
                </a:lnTo>
                <a:lnTo>
                  <a:pt x="3374" y="3932"/>
                </a:lnTo>
                <a:lnTo>
                  <a:pt x="3393" y="3936"/>
                </a:lnTo>
                <a:lnTo>
                  <a:pt x="3414" y="3939"/>
                </a:lnTo>
                <a:lnTo>
                  <a:pt x="3433" y="3941"/>
                </a:lnTo>
                <a:lnTo>
                  <a:pt x="3454" y="3943"/>
                </a:lnTo>
                <a:lnTo>
                  <a:pt x="3475" y="3943"/>
                </a:lnTo>
                <a:lnTo>
                  <a:pt x="3494" y="3943"/>
                </a:lnTo>
                <a:lnTo>
                  <a:pt x="3515" y="3941"/>
                </a:lnTo>
                <a:lnTo>
                  <a:pt x="3534" y="3939"/>
                </a:lnTo>
                <a:lnTo>
                  <a:pt x="3555" y="3936"/>
                </a:lnTo>
                <a:lnTo>
                  <a:pt x="3574" y="3932"/>
                </a:lnTo>
                <a:lnTo>
                  <a:pt x="3594" y="3927"/>
                </a:lnTo>
                <a:lnTo>
                  <a:pt x="3613" y="3922"/>
                </a:lnTo>
                <a:lnTo>
                  <a:pt x="3633" y="3915"/>
                </a:lnTo>
                <a:lnTo>
                  <a:pt x="3652" y="3907"/>
                </a:lnTo>
                <a:lnTo>
                  <a:pt x="3670" y="3898"/>
                </a:lnTo>
                <a:lnTo>
                  <a:pt x="3689" y="3889"/>
                </a:lnTo>
                <a:lnTo>
                  <a:pt x="3706" y="3879"/>
                </a:lnTo>
                <a:lnTo>
                  <a:pt x="3724" y="3867"/>
                </a:lnTo>
                <a:lnTo>
                  <a:pt x="3741" y="3855"/>
                </a:lnTo>
                <a:lnTo>
                  <a:pt x="3757" y="3842"/>
                </a:lnTo>
                <a:lnTo>
                  <a:pt x="3772" y="3828"/>
                </a:lnTo>
                <a:lnTo>
                  <a:pt x="3772" y="3828"/>
                </a:lnTo>
                <a:lnTo>
                  <a:pt x="3787" y="3813"/>
                </a:lnTo>
                <a:lnTo>
                  <a:pt x="3802" y="3798"/>
                </a:lnTo>
                <a:lnTo>
                  <a:pt x="3814" y="3783"/>
                </a:lnTo>
                <a:lnTo>
                  <a:pt x="3826" y="3767"/>
                </a:lnTo>
                <a:lnTo>
                  <a:pt x="3838" y="3750"/>
                </a:lnTo>
                <a:lnTo>
                  <a:pt x="3848" y="3733"/>
                </a:lnTo>
                <a:lnTo>
                  <a:pt x="3856" y="3716"/>
                </a:lnTo>
                <a:lnTo>
                  <a:pt x="3865" y="3699"/>
                </a:lnTo>
                <a:lnTo>
                  <a:pt x="3872" y="3681"/>
                </a:lnTo>
                <a:lnTo>
                  <a:pt x="3878" y="3663"/>
                </a:lnTo>
                <a:lnTo>
                  <a:pt x="3884" y="3644"/>
                </a:lnTo>
                <a:lnTo>
                  <a:pt x="3888" y="3625"/>
                </a:lnTo>
                <a:lnTo>
                  <a:pt x="3892" y="3607"/>
                </a:lnTo>
                <a:lnTo>
                  <a:pt x="3894" y="3588"/>
                </a:lnTo>
                <a:lnTo>
                  <a:pt x="3895" y="3570"/>
                </a:lnTo>
                <a:lnTo>
                  <a:pt x="3896" y="3551"/>
                </a:lnTo>
                <a:lnTo>
                  <a:pt x="3895" y="3531"/>
                </a:lnTo>
                <a:lnTo>
                  <a:pt x="3894" y="3513"/>
                </a:lnTo>
                <a:lnTo>
                  <a:pt x="3892" y="3494"/>
                </a:lnTo>
                <a:lnTo>
                  <a:pt x="3888" y="3476"/>
                </a:lnTo>
                <a:lnTo>
                  <a:pt x="3884" y="3457"/>
                </a:lnTo>
                <a:lnTo>
                  <a:pt x="3878" y="3439"/>
                </a:lnTo>
                <a:lnTo>
                  <a:pt x="3872" y="3420"/>
                </a:lnTo>
                <a:lnTo>
                  <a:pt x="3865" y="3402"/>
                </a:lnTo>
                <a:lnTo>
                  <a:pt x="3856" y="3385"/>
                </a:lnTo>
                <a:lnTo>
                  <a:pt x="3848" y="3368"/>
                </a:lnTo>
                <a:lnTo>
                  <a:pt x="3838" y="3351"/>
                </a:lnTo>
                <a:lnTo>
                  <a:pt x="3826" y="3334"/>
                </a:lnTo>
                <a:lnTo>
                  <a:pt x="3814" y="3319"/>
                </a:lnTo>
                <a:lnTo>
                  <a:pt x="3802" y="3303"/>
                </a:lnTo>
                <a:lnTo>
                  <a:pt x="3787" y="3288"/>
                </a:lnTo>
                <a:lnTo>
                  <a:pt x="3772" y="3273"/>
                </a:lnTo>
                <a:lnTo>
                  <a:pt x="977" y="671"/>
                </a:lnTo>
                <a:lnTo>
                  <a:pt x="977" y="671"/>
                </a:lnTo>
                <a:lnTo>
                  <a:pt x="963" y="656"/>
                </a:lnTo>
                <a:lnTo>
                  <a:pt x="948" y="642"/>
                </a:lnTo>
                <a:lnTo>
                  <a:pt x="936" y="626"/>
                </a:lnTo>
                <a:lnTo>
                  <a:pt x="924" y="609"/>
                </a:lnTo>
                <a:lnTo>
                  <a:pt x="913" y="593"/>
                </a:lnTo>
                <a:lnTo>
                  <a:pt x="902" y="576"/>
                </a:lnTo>
                <a:lnTo>
                  <a:pt x="893" y="559"/>
                </a:lnTo>
                <a:lnTo>
                  <a:pt x="885" y="541"/>
                </a:lnTo>
                <a:lnTo>
                  <a:pt x="878" y="523"/>
                </a:lnTo>
                <a:lnTo>
                  <a:pt x="871" y="505"/>
                </a:lnTo>
                <a:lnTo>
                  <a:pt x="865" y="487"/>
                </a:lnTo>
                <a:lnTo>
                  <a:pt x="862" y="469"/>
                </a:lnTo>
                <a:lnTo>
                  <a:pt x="858" y="449"/>
                </a:lnTo>
                <a:lnTo>
                  <a:pt x="856" y="431"/>
                </a:lnTo>
                <a:lnTo>
                  <a:pt x="854" y="412"/>
                </a:lnTo>
                <a:lnTo>
                  <a:pt x="854" y="393"/>
                </a:lnTo>
                <a:lnTo>
                  <a:pt x="854" y="375"/>
                </a:lnTo>
                <a:lnTo>
                  <a:pt x="856" y="355"/>
                </a:lnTo>
                <a:lnTo>
                  <a:pt x="858" y="337"/>
                </a:lnTo>
                <a:lnTo>
                  <a:pt x="862" y="318"/>
                </a:lnTo>
                <a:lnTo>
                  <a:pt x="865" y="300"/>
                </a:lnTo>
                <a:lnTo>
                  <a:pt x="871" y="282"/>
                </a:lnTo>
                <a:lnTo>
                  <a:pt x="878" y="264"/>
                </a:lnTo>
                <a:lnTo>
                  <a:pt x="885" y="246"/>
                </a:lnTo>
                <a:lnTo>
                  <a:pt x="893" y="228"/>
                </a:lnTo>
                <a:lnTo>
                  <a:pt x="902" y="211"/>
                </a:lnTo>
                <a:lnTo>
                  <a:pt x="913" y="194"/>
                </a:lnTo>
                <a:lnTo>
                  <a:pt x="924" y="178"/>
                </a:lnTo>
                <a:lnTo>
                  <a:pt x="936" y="161"/>
                </a:lnTo>
                <a:lnTo>
                  <a:pt x="948" y="145"/>
                </a:lnTo>
                <a:lnTo>
                  <a:pt x="963" y="130"/>
                </a:lnTo>
                <a:lnTo>
                  <a:pt x="977" y="116"/>
                </a:lnTo>
                <a:lnTo>
                  <a:pt x="977" y="116"/>
                </a:lnTo>
                <a:lnTo>
                  <a:pt x="993" y="102"/>
                </a:lnTo>
                <a:lnTo>
                  <a:pt x="1010" y="88"/>
                </a:lnTo>
                <a:lnTo>
                  <a:pt x="1026" y="77"/>
                </a:lnTo>
                <a:lnTo>
                  <a:pt x="1044" y="66"/>
                </a:lnTo>
                <a:lnTo>
                  <a:pt x="1061" y="54"/>
                </a:lnTo>
                <a:lnTo>
                  <a:pt x="1079" y="45"/>
                </a:lnTo>
                <a:lnTo>
                  <a:pt x="1098" y="37"/>
                </a:lnTo>
                <a:lnTo>
                  <a:pt x="1117" y="30"/>
                </a:lnTo>
                <a:lnTo>
                  <a:pt x="1136" y="23"/>
                </a:lnTo>
                <a:lnTo>
                  <a:pt x="1156" y="17"/>
                </a:lnTo>
                <a:lnTo>
                  <a:pt x="1175" y="11"/>
                </a:lnTo>
                <a:lnTo>
                  <a:pt x="1195" y="8"/>
                </a:lnTo>
                <a:lnTo>
                  <a:pt x="1215" y="5"/>
                </a:lnTo>
                <a:lnTo>
                  <a:pt x="1235" y="2"/>
                </a:lnTo>
                <a:lnTo>
                  <a:pt x="1256" y="1"/>
                </a:lnTo>
                <a:lnTo>
                  <a:pt x="1276" y="0"/>
                </a:lnTo>
                <a:lnTo>
                  <a:pt x="1296" y="1"/>
                </a:lnTo>
                <a:lnTo>
                  <a:pt x="1316" y="2"/>
                </a:lnTo>
                <a:lnTo>
                  <a:pt x="1336" y="5"/>
                </a:lnTo>
                <a:lnTo>
                  <a:pt x="1356" y="8"/>
                </a:lnTo>
                <a:lnTo>
                  <a:pt x="1376" y="11"/>
                </a:lnTo>
                <a:lnTo>
                  <a:pt x="1395" y="17"/>
                </a:lnTo>
                <a:lnTo>
                  <a:pt x="1415" y="23"/>
                </a:lnTo>
                <a:lnTo>
                  <a:pt x="1434" y="30"/>
                </a:lnTo>
                <a:lnTo>
                  <a:pt x="1454" y="37"/>
                </a:lnTo>
                <a:lnTo>
                  <a:pt x="1472" y="45"/>
                </a:lnTo>
                <a:lnTo>
                  <a:pt x="1490" y="54"/>
                </a:lnTo>
                <a:lnTo>
                  <a:pt x="1508" y="66"/>
                </a:lnTo>
                <a:lnTo>
                  <a:pt x="1525" y="77"/>
                </a:lnTo>
                <a:lnTo>
                  <a:pt x="1542" y="88"/>
                </a:lnTo>
                <a:lnTo>
                  <a:pt x="1558" y="102"/>
                </a:lnTo>
                <a:lnTo>
                  <a:pt x="1574" y="116"/>
                </a:lnTo>
                <a:lnTo>
                  <a:pt x="3647" y="2046"/>
                </a:lnTo>
                <a:lnTo>
                  <a:pt x="3647" y="2046"/>
                </a:lnTo>
                <a:lnTo>
                  <a:pt x="3663" y="2059"/>
                </a:lnTo>
                <a:lnTo>
                  <a:pt x="3679" y="2073"/>
                </a:lnTo>
                <a:lnTo>
                  <a:pt x="3696" y="2085"/>
                </a:lnTo>
                <a:lnTo>
                  <a:pt x="3714" y="2097"/>
                </a:lnTo>
                <a:lnTo>
                  <a:pt x="3731" y="2107"/>
                </a:lnTo>
                <a:lnTo>
                  <a:pt x="3749" y="2116"/>
                </a:lnTo>
                <a:lnTo>
                  <a:pt x="3769" y="2125"/>
                </a:lnTo>
                <a:lnTo>
                  <a:pt x="3787" y="2132"/>
                </a:lnTo>
                <a:lnTo>
                  <a:pt x="3807" y="2139"/>
                </a:lnTo>
                <a:lnTo>
                  <a:pt x="3826" y="2145"/>
                </a:lnTo>
                <a:lnTo>
                  <a:pt x="3845" y="2150"/>
                </a:lnTo>
                <a:lnTo>
                  <a:pt x="3866" y="2153"/>
                </a:lnTo>
                <a:lnTo>
                  <a:pt x="3886" y="2157"/>
                </a:lnTo>
                <a:lnTo>
                  <a:pt x="3906" y="2159"/>
                </a:lnTo>
                <a:lnTo>
                  <a:pt x="3927" y="2160"/>
                </a:lnTo>
                <a:lnTo>
                  <a:pt x="3946" y="2161"/>
                </a:lnTo>
                <a:lnTo>
                  <a:pt x="8608" y="6490"/>
                </a:lnTo>
                <a:lnTo>
                  <a:pt x="4842" y="6490"/>
                </a:lnTo>
                <a:lnTo>
                  <a:pt x="124" y="2098"/>
                </a:lnTo>
                <a:lnTo>
                  <a:pt x="124" y="2098"/>
                </a:lnTo>
                <a:lnTo>
                  <a:pt x="109" y="2083"/>
                </a:lnTo>
                <a:lnTo>
                  <a:pt x="95" y="2068"/>
                </a:lnTo>
                <a:lnTo>
                  <a:pt x="83" y="2053"/>
                </a:lnTo>
                <a:lnTo>
                  <a:pt x="71" y="2036"/>
                </a:lnTo>
                <a:lnTo>
                  <a:pt x="60" y="2020"/>
                </a:lnTo>
                <a:lnTo>
                  <a:pt x="49" y="2003"/>
                </a:lnTo>
                <a:lnTo>
                  <a:pt x="40" y="1986"/>
                </a:lnTo>
                <a:lnTo>
                  <a:pt x="32" y="1968"/>
                </a:lnTo>
                <a:lnTo>
                  <a:pt x="24" y="1950"/>
                </a:lnTo>
                <a:lnTo>
                  <a:pt x="18" y="1931"/>
                </a:lnTo>
                <a:lnTo>
                  <a:pt x="12" y="1913"/>
                </a:lnTo>
                <a:lnTo>
                  <a:pt x="9" y="1895"/>
                </a:lnTo>
                <a:lnTo>
                  <a:pt x="5" y="1876"/>
                </a:lnTo>
                <a:lnTo>
                  <a:pt x="2" y="1858"/>
                </a:lnTo>
                <a:lnTo>
                  <a:pt x="1" y="1839"/>
                </a:lnTo>
                <a:lnTo>
                  <a:pt x="0" y="1821"/>
                </a:lnTo>
                <a:lnTo>
                  <a:pt x="1" y="1801"/>
                </a:lnTo>
                <a:lnTo>
                  <a:pt x="2" y="1782"/>
                </a:lnTo>
                <a:lnTo>
                  <a:pt x="5" y="1764"/>
                </a:lnTo>
                <a:lnTo>
                  <a:pt x="9" y="1745"/>
                </a:lnTo>
                <a:lnTo>
                  <a:pt x="12" y="1727"/>
                </a:lnTo>
                <a:lnTo>
                  <a:pt x="18" y="1709"/>
                </a:lnTo>
                <a:lnTo>
                  <a:pt x="24" y="1691"/>
                </a:lnTo>
                <a:lnTo>
                  <a:pt x="32" y="1672"/>
                </a:lnTo>
                <a:lnTo>
                  <a:pt x="40" y="1654"/>
                </a:lnTo>
                <a:lnTo>
                  <a:pt x="49" y="1637"/>
                </a:lnTo>
                <a:lnTo>
                  <a:pt x="60" y="1620"/>
                </a:lnTo>
                <a:lnTo>
                  <a:pt x="71" y="1605"/>
                </a:lnTo>
                <a:lnTo>
                  <a:pt x="83" y="1588"/>
                </a:lnTo>
                <a:lnTo>
                  <a:pt x="95" y="1572"/>
                </a:lnTo>
                <a:lnTo>
                  <a:pt x="109" y="1557"/>
                </a:lnTo>
                <a:lnTo>
                  <a:pt x="124" y="1542"/>
                </a:lnTo>
                <a:lnTo>
                  <a:pt x="124" y="154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1C5BE35B-92F2-4840-B88A-906665E6F936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2444707" y="0"/>
            <a:ext cx="2087567" cy="1840230"/>
          </a:xfrm>
          <a:custGeom>
            <a:avLst/>
            <a:gdLst>
              <a:gd name="T0" fmla="*/ 4922 w 5046"/>
              <a:gd name="T1" fmla="*/ 3468 h 4141"/>
              <a:gd name="T2" fmla="*/ 4951 w 5046"/>
              <a:gd name="T3" fmla="*/ 3498 h 4141"/>
              <a:gd name="T4" fmla="*/ 4977 w 5046"/>
              <a:gd name="T5" fmla="*/ 3530 h 4141"/>
              <a:gd name="T6" fmla="*/ 4997 w 5046"/>
              <a:gd name="T7" fmla="*/ 3564 h 4141"/>
              <a:gd name="T8" fmla="*/ 5016 w 5046"/>
              <a:gd name="T9" fmla="*/ 3598 h 4141"/>
              <a:gd name="T10" fmla="*/ 5029 w 5046"/>
              <a:gd name="T11" fmla="*/ 3634 h 4141"/>
              <a:gd name="T12" fmla="*/ 5039 w 5046"/>
              <a:gd name="T13" fmla="*/ 3671 h 4141"/>
              <a:gd name="T14" fmla="*/ 5045 w 5046"/>
              <a:gd name="T15" fmla="*/ 3709 h 4141"/>
              <a:gd name="T16" fmla="*/ 5046 w 5046"/>
              <a:gd name="T17" fmla="*/ 3746 h 4141"/>
              <a:gd name="T18" fmla="*/ 5045 w 5046"/>
              <a:gd name="T19" fmla="*/ 3785 h 4141"/>
              <a:gd name="T20" fmla="*/ 5039 w 5046"/>
              <a:gd name="T21" fmla="*/ 3822 h 4141"/>
              <a:gd name="T22" fmla="*/ 5029 w 5046"/>
              <a:gd name="T23" fmla="*/ 3859 h 4141"/>
              <a:gd name="T24" fmla="*/ 5016 w 5046"/>
              <a:gd name="T25" fmla="*/ 3894 h 4141"/>
              <a:gd name="T26" fmla="*/ 4997 w 5046"/>
              <a:gd name="T27" fmla="*/ 3929 h 4141"/>
              <a:gd name="T28" fmla="*/ 4977 w 5046"/>
              <a:gd name="T29" fmla="*/ 3963 h 4141"/>
              <a:gd name="T30" fmla="*/ 4951 w 5046"/>
              <a:gd name="T31" fmla="*/ 3995 h 4141"/>
              <a:gd name="T32" fmla="*/ 4922 w 5046"/>
              <a:gd name="T33" fmla="*/ 4026 h 4141"/>
              <a:gd name="T34" fmla="*/ 4922 w 5046"/>
              <a:gd name="T35" fmla="*/ 4026 h 4141"/>
              <a:gd name="T36" fmla="*/ 4891 w 5046"/>
              <a:gd name="T37" fmla="*/ 4052 h 4141"/>
              <a:gd name="T38" fmla="*/ 4857 w 5046"/>
              <a:gd name="T39" fmla="*/ 4075 h 4141"/>
              <a:gd name="T40" fmla="*/ 4820 w 5046"/>
              <a:gd name="T41" fmla="*/ 4096 h 4141"/>
              <a:gd name="T42" fmla="*/ 4782 w 5046"/>
              <a:gd name="T43" fmla="*/ 4112 h 4141"/>
              <a:gd name="T44" fmla="*/ 4743 w 5046"/>
              <a:gd name="T45" fmla="*/ 4124 h 4141"/>
              <a:gd name="T46" fmla="*/ 4705 w 5046"/>
              <a:gd name="T47" fmla="*/ 4133 h 4141"/>
              <a:gd name="T48" fmla="*/ 4663 w 5046"/>
              <a:gd name="T49" fmla="*/ 4139 h 4141"/>
              <a:gd name="T50" fmla="*/ 4623 w 5046"/>
              <a:gd name="T51" fmla="*/ 4141 h 4141"/>
              <a:gd name="T52" fmla="*/ 4583 w 5046"/>
              <a:gd name="T53" fmla="*/ 4139 h 4141"/>
              <a:gd name="T54" fmla="*/ 4543 w 5046"/>
              <a:gd name="T55" fmla="*/ 4133 h 4141"/>
              <a:gd name="T56" fmla="*/ 4503 w 5046"/>
              <a:gd name="T57" fmla="*/ 4124 h 4141"/>
              <a:gd name="T58" fmla="*/ 4464 w 5046"/>
              <a:gd name="T59" fmla="*/ 4112 h 4141"/>
              <a:gd name="T60" fmla="*/ 4426 w 5046"/>
              <a:gd name="T61" fmla="*/ 4096 h 4141"/>
              <a:gd name="T62" fmla="*/ 4391 w 5046"/>
              <a:gd name="T63" fmla="*/ 4075 h 4141"/>
              <a:gd name="T64" fmla="*/ 4356 w 5046"/>
              <a:gd name="T65" fmla="*/ 4052 h 4141"/>
              <a:gd name="T66" fmla="*/ 4324 w 5046"/>
              <a:gd name="T67" fmla="*/ 4026 h 4141"/>
              <a:gd name="T68" fmla="*/ 1197 w 5046"/>
              <a:gd name="T69" fmla="*/ 0 h 4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046" h="4141">
                <a:moveTo>
                  <a:pt x="4922" y="3468"/>
                </a:moveTo>
                <a:lnTo>
                  <a:pt x="4922" y="3468"/>
                </a:lnTo>
                <a:lnTo>
                  <a:pt x="4938" y="3483"/>
                </a:lnTo>
                <a:lnTo>
                  <a:pt x="4951" y="3498"/>
                </a:lnTo>
                <a:lnTo>
                  <a:pt x="4965" y="3514"/>
                </a:lnTo>
                <a:lnTo>
                  <a:pt x="4977" y="3530"/>
                </a:lnTo>
                <a:lnTo>
                  <a:pt x="4988" y="3547"/>
                </a:lnTo>
                <a:lnTo>
                  <a:pt x="4997" y="3564"/>
                </a:lnTo>
                <a:lnTo>
                  <a:pt x="5007" y="3581"/>
                </a:lnTo>
                <a:lnTo>
                  <a:pt x="5016" y="3598"/>
                </a:lnTo>
                <a:lnTo>
                  <a:pt x="5023" y="3616"/>
                </a:lnTo>
                <a:lnTo>
                  <a:pt x="5029" y="3634"/>
                </a:lnTo>
                <a:lnTo>
                  <a:pt x="5034" y="3653"/>
                </a:lnTo>
                <a:lnTo>
                  <a:pt x="5039" y="3671"/>
                </a:lnTo>
                <a:lnTo>
                  <a:pt x="5042" y="3691"/>
                </a:lnTo>
                <a:lnTo>
                  <a:pt x="5045" y="3709"/>
                </a:lnTo>
                <a:lnTo>
                  <a:pt x="5046" y="3728"/>
                </a:lnTo>
                <a:lnTo>
                  <a:pt x="5046" y="3746"/>
                </a:lnTo>
                <a:lnTo>
                  <a:pt x="5046" y="3765"/>
                </a:lnTo>
                <a:lnTo>
                  <a:pt x="5045" y="3785"/>
                </a:lnTo>
                <a:lnTo>
                  <a:pt x="5042" y="3803"/>
                </a:lnTo>
                <a:lnTo>
                  <a:pt x="5039" y="3822"/>
                </a:lnTo>
                <a:lnTo>
                  <a:pt x="5034" y="3840"/>
                </a:lnTo>
                <a:lnTo>
                  <a:pt x="5029" y="3859"/>
                </a:lnTo>
                <a:lnTo>
                  <a:pt x="5023" y="3877"/>
                </a:lnTo>
                <a:lnTo>
                  <a:pt x="5016" y="3894"/>
                </a:lnTo>
                <a:lnTo>
                  <a:pt x="5007" y="3912"/>
                </a:lnTo>
                <a:lnTo>
                  <a:pt x="4997" y="3929"/>
                </a:lnTo>
                <a:lnTo>
                  <a:pt x="4988" y="3946"/>
                </a:lnTo>
                <a:lnTo>
                  <a:pt x="4977" y="3963"/>
                </a:lnTo>
                <a:lnTo>
                  <a:pt x="4965" y="3979"/>
                </a:lnTo>
                <a:lnTo>
                  <a:pt x="4951" y="3995"/>
                </a:lnTo>
                <a:lnTo>
                  <a:pt x="4938" y="4011"/>
                </a:lnTo>
                <a:lnTo>
                  <a:pt x="4922" y="4026"/>
                </a:lnTo>
                <a:lnTo>
                  <a:pt x="4922" y="4026"/>
                </a:lnTo>
                <a:lnTo>
                  <a:pt x="4922" y="4026"/>
                </a:lnTo>
                <a:lnTo>
                  <a:pt x="4906" y="4039"/>
                </a:lnTo>
                <a:lnTo>
                  <a:pt x="4891" y="4052"/>
                </a:lnTo>
                <a:lnTo>
                  <a:pt x="4874" y="4064"/>
                </a:lnTo>
                <a:lnTo>
                  <a:pt x="4857" y="4075"/>
                </a:lnTo>
                <a:lnTo>
                  <a:pt x="4838" y="4086"/>
                </a:lnTo>
                <a:lnTo>
                  <a:pt x="4820" y="4096"/>
                </a:lnTo>
                <a:lnTo>
                  <a:pt x="4802" y="4104"/>
                </a:lnTo>
                <a:lnTo>
                  <a:pt x="4782" y="4112"/>
                </a:lnTo>
                <a:lnTo>
                  <a:pt x="4763" y="4118"/>
                </a:lnTo>
                <a:lnTo>
                  <a:pt x="4743" y="4124"/>
                </a:lnTo>
                <a:lnTo>
                  <a:pt x="4724" y="4130"/>
                </a:lnTo>
                <a:lnTo>
                  <a:pt x="4705" y="4133"/>
                </a:lnTo>
                <a:lnTo>
                  <a:pt x="4684" y="4136"/>
                </a:lnTo>
                <a:lnTo>
                  <a:pt x="4663" y="4139"/>
                </a:lnTo>
                <a:lnTo>
                  <a:pt x="4644" y="4140"/>
                </a:lnTo>
                <a:lnTo>
                  <a:pt x="4623" y="4141"/>
                </a:lnTo>
                <a:lnTo>
                  <a:pt x="4603" y="4140"/>
                </a:lnTo>
                <a:lnTo>
                  <a:pt x="4583" y="4139"/>
                </a:lnTo>
                <a:lnTo>
                  <a:pt x="4562" y="4136"/>
                </a:lnTo>
                <a:lnTo>
                  <a:pt x="4543" y="4133"/>
                </a:lnTo>
                <a:lnTo>
                  <a:pt x="4522" y="4130"/>
                </a:lnTo>
                <a:lnTo>
                  <a:pt x="4503" y="4124"/>
                </a:lnTo>
                <a:lnTo>
                  <a:pt x="4483" y="4118"/>
                </a:lnTo>
                <a:lnTo>
                  <a:pt x="4464" y="4112"/>
                </a:lnTo>
                <a:lnTo>
                  <a:pt x="4445" y="4104"/>
                </a:lnTo>
                <a:lnTo>
                  <a:pt x="4426" y="4096"/>
                </a:lnTo>
                <a:lnTo>
                  <a:pt x="4408" y="4086"/>
                </a:lnTo>
                <a:lnTo>
                  <a:pt x="4391" y="4075"/>
                </a:lnTo>
                <a:lnTo>
                  <a:pt x="4373" y="4064"/>
                </a:lnTo>
                <a:lnTo>
                  <a:pt x="4356" y="4052"/>
                </a:lnTo>
                <a:lnTo>
                  <a:pt x="4340" y="4039"/>
                </a:lnTo>
                <a:lnTo>
                  <a:pt x="4324" y="4026"/>
                </a:lnTo>
                <a:lnTo>
                  <a:pt x="0" y="0"/>
                </a:lnTo>
                <a:lnTo>
                  <a:pt x="1197" y="0"/>
                </a:lnTo>
                <a:lnTo>
                  <a:pt x="4922" y="346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EC8B37-AF59-4E96-B36D-87B4BAA786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576" y="8898891"/>
            <a:ext cx="3840480" cy="511175"/>
          </a:xfrm>
        </p:spPr>
        <p:txBody>
          <a:bodyPr/>
          <a:lstStyle/>
          <a:p>
            <a:fld id="{F4D91338-6B04-4C28-808B-46093CD79BA6}" type="datetime1">
              <a:rPr lang="ru-RU" smtClean="0">
                <a:solidFill>
                  <a:srgbClr val="CBCBCA">
                    <a:lumMod val="75000"/>
                  </a:srgbClr>
                </a:solidFill>
              </a:rPr>
              <a:pPr/>
              <a:t>08.09.2023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1B75BA-DEDF-49E5-BC2F-916385CD69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4528" y="8898891"/>
            <a:ext cx="3840480" cy="511175"/>
          </a:xfrm>
        </p:spPr>
        <p:txBody>
          <a:bodyPr/>
          <a:lstStyle/>
          <a:p>
            <a:fld id="{1513E0AC-52E7-4010-9D37-41BE99808841}" type="slidenum">
              <a:rPr lang="en-US" smtClean="0">
                <a:solidFill>
                  <a:srgbClr val="CBCBCA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17" name="Freeform 9">
            <a:extLst>
              <a:ext uri="{FF2B5EF4-FFF2-40B4-BE49-F238E27FC236}">
                <a16:creationId xmlns:a16="http://schemas.microsoft.com/office/drawing/2014/main" id="{F34219B5-DFA3-43F2-8C08-FC13A0B1282E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0938514" y="0"/>
            <a:ext cx="5919253" cy="5671820"/>
          </a:xfrm>
          <a:custGeom>
            <a:avLst/>
            <a:gdLst>
              <a:gd name="T0" fmla="*/ 6294 w 14307"/>
              <a:gd name="T1" fmla="*/ 4745 h 12762"/>
              <a:gd name="T2" fmla="*/ 14184 w 14307"/>
              <a:gd name="T3" fmla="*/ 12090 h 12762"/>
              <a:gd name="T4" fmla="*/ 14213 w 14307"/>
              <a:gd name="T5" fmla="*/ 12121 h 12762"/>
              <a:gd name="T6" fmla="*/ 14238 w 14307"/>
              <a:gd name="T7" fmla="*/ 12153 h 12762"/>
              <a:gd name="T8" fmla="*/ 14259 w 14307"/>
              <a:gd name="T9" fmla="*/ 12185 h 12762"/>
              <a:gd name="T10" fmla="*/ 14277 w 14307"/>
              <a:gd name="T11" fmla="*/ 12221 h 12762"/>
              <a:gd name="T12" fmla="*/ 14290 w 14307"/>
              <a:gd name="T13" fmla="*/ 12257 h 12762"/>
              <a:gd name="T14" fmla="*/ 14300 w 14307"/>
              <a:gd name="T15" fmla="*/ 12294 h 12762"/>
              <a:gd name="T16" fmla="*/ 14306 w 14307"/>
              <a:gd name="T17" fmla="*/ 12331 h 12762"/>
              <a:gd name="T18" fmla="*/ 14307 w 14307"/>
              <a:gd name="T19" fmla="*/ 12369 h 12762"/>
              <a:gd name="T20" fmla="*/ 14306 w 14307"/>
              <a:gd name="T21" fmla="*/ 12407 h 12762"/>
              <a:gd name="T22" fmla="*/ 14300 w 14307"/>
              <a:gd name="T23" fmla="*/ 12445 h 12762"/>
              <a:gd name="T24" fmla="*/ 14290 w 14307"/>
              <a:gd name="T25" fmla="*/ 12481 h 12762"/>
              <a:gd name="T26" fmla="*/ 14277 w 14307"/>
              <a:gd name="T27" fmla="*/ 12517 h 12762"/>
              <a:gd name="T28" fmla="*/ 14259 w 14307"/>
              <a:gd name="T29" fmla="*/ 12552 h 12762"/>
              <a:gd name="T30" fmla="*/ 14238 w 14307"/>
              <a:gd name="T31" fmla="*/ 12586 h 12762"/>
              <a:gd name="T32" fmla="*/ 14213 w 14307"/>
              <a:gd name="T33" fmla="*/ 12618 h 12762"/>
              <a:gd name="T34" fmla="*/ 14184 w 14307"/>
              <a:gd name="T35" fmla="*/ 12647 h 12762"/>
              <a:gd name="T36" fmla="*/ 14168 w 14307"/>
              <a:gd name="T37" fmla="*/ 12662 h 12762"/>
              <a:gd name="T38" fmla="*/ 14135 w 14307"/>
              <a:gd name="T39" fmla="*/ 12687 h 12762"/>
              <a:gd name="T40" fmla="*/ 14100 w 14307"/>
              <a:gd name="T41" fmla="*/ 12708 h 12762"/>
              <a:gd name="T42" fmla="*/ 14063 w 14307"/>
              <a:gd name="T43" fmla="*/ 12726 h 12762"/>
              <a:gd name="T44" fmla="*/ 14024 w 14307"/>
              <a:gd name="T45" fmla="*/ 12741 h 12762"/>
              <a:gd name="T46" fmla="*/ 13985 w 14307"/>
              <a:gd name="T47" fmla="*/ 12751 h 12762"/>
              <a:gd name="T48" fmla="*/ 13945 w 14307"/>
              <a:gd name="T49" fmla="*/ 12759 h 12762"/>
              <a:gd name="T50" fmla="*/ 13905 w 14307"/>
              <a:gd name="T51" fmla="*/ 12762 h 12762"/>
              <a:gd name="T52" fmla="*/ 13864 w 14307"/>
              <a:gd name="T53" fmla="*/ 12762 h 12762"/>
              <a:gd name="T54" fmla="*/ 13824 w 14307"/>
              <a:gd name="T55" fmla="*/ 12759 h 12762"/>
              <a:gd name="T56" fmla="*/ 13784 w 14307"/>
              <a:gd name="T57" fmla="*/ 12751 h 12762"/>
              <a:gd name="T58" fmla="*/ 13745 w 14307"/>
              <a:gd name="T59" fmla="*/ 12741 h 12762"/>
              <a:gd name="T60" fmla="*/ 13707 w 14307"/>
              <a:gd name="T61" fmla="*/ 12726 h 12762"/>
              <a:gd name="T62" fmla="*/ 13669 w 14307"/>
              <a:gd name="T63" fmla="*/ 12708 h 12762"/>
              <a:gd name="T64" fmla="*/ 13634 w 14307"/>
              <a:gd name="T65" fmla="*/ 12687 h 12762"/>
              <a:gd name="T66" fmla="*/ 13601 w 14307"/>
              <a:gd name="T67" fmla="*/ 12662 h 12762"/>
              <a:gd name="T68" fmla="*/ 6294 w 14307"/>
              <a:gd name="T69" fmla="*/ 5860 h 12762"/>
              <a:gd name="T70" fmla="*/ 0 w 14307"/>
              <a:gd name="T71" fmla="*/ 0 h 12762"/>
              <a:gd name="T72" fmla="*/ 6294 w 14307"/>
              <a:gd name="T73" fmla="*/ 4745 h 12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4307" h="12762">
                <a:moveTo>
                  <a:pt x="6294" y="4745"/>
                </a:moveTo>
                <a:lnTo>
                  <a:pt x="6294" y="4745"/>
                </a:lnTo>
                <a:lnTo>
                  <a:pt x="14184" y="12090"/>
                </a:lnTo>
                <a:lnTo>
                  <a:pt x="14184" y="12090"/>
                </a:lnTo>
                <a:lnTo>
                  <a:pt x="14199" y="12105"/>
                </a:lnTo>
                <a:lnTo>
                  <a:pt x="14213" y="12121"/>
                </a:lnTo>
                <a:lnTo>
                  <a:pt x="14226" y="12136"/>
                </a:lnTo>
                <a:lnTo>
                  <a:pt x="14238" y="12153"/>
                </a:lnTo>
                <a:lnTo>
                  <a:pt x="14249" y="12168"/>
                </a:lnTo>
                <a:lnTo>
                  <a:pt x="14259" y="12185"/>
                </a:lnTo>
                <a:lnTo>
                  <a:pt x="14269" y="12204"/>
                </a:lnTo>
                <a:lnTo>
                  <a:pt x="14277" y="12221"/>
                </a:lnTo>
                <a:lnTo>
                  <a:pt x="14284" y="12239"/>
                </a:lnTo>
                <a:lnTo>
                  <a:pt x="14290" y="12257"/>
                </a:lnTo>
                <a:lnTo>
                  <a:pt x="14295" y="12275"/>
                </a:lnTo>
                <a:lnTo>
                  <a:pt x="14300" y="12294"/>
                </a:lnTo>
                <a:lnTo>
                  <a:pt x="14304" y="12312"/>
                </a:lnTo>
                <a:lnTo>
                  <a:pt x="14306" y="12331"/>
                </a:lnTo>
                <a:lnTo>
                  <a:pt x="14307" y="12349"/>
                </a:lnTo>
                <a:lnTo>
                  <a:pt x="14307" y="12369"/>
                </a:lnTo>
                <a:lnTo>
                  <a:pt x="14307" y="12388"/>
                </a:lnTo>
                <a:lnTo>
                  <a:pt x="14306" y="12407"/>
                </a:lnTo>
                <a:lnTo>
                  <a:pt x="14304" y="12425"/>
                </a:lnTo>
                <a:lnTo>
                  <a:pt x="14300" y="12445"/>
                </a:lnTo>
                <a:lnTo>
                  <a:pt x="14295" y="12463"/>
                </a:lnTo>
                <a:lnTo>
                  <a:pt x="14290" y="12481"/>
                </a:lnTo>
                <a:lnTo>
                  <a:pt x="14284" y="12499"/>
                </a:lnTo>
                <a:lnTo>
                  <a:pt x="14277" y="12517"/>
                </a:lnTo>
                <a:lnTo>
                  <a:pt x="14269" y="12535"/>
                </a:lnTo>
                <a:lnTo>
                  <a:pt x="14259" y="12552"/>
                </a:lnTo>
                <a:lnTo>
                  <a:pt x="14249" y="12569"/>
                </a:lnTo>
                <a:lnTo>
                  <a:pt x="14238" y="12586"/>
                </a:lnTo>
                <a:lnTo>
                  <a:pt x="14226" y="12602"/>
                </a:lnTo>
                <a:lnTo>
                  <a:pt x="14213" y="12618"/>
                </a:lnTo>
                <a:lnTo>
                  <a:pt x="14199" y="12632"/>
                </a:lnTo>
                <a:lnTo>
                  <a:pt x="14184" y="12647"/>
                </a:lnTo>
                <a:lnTo>
                  <a:pt x="14184" y="12647"/>
                </a:lnTo>
                <a:lnTo>
                  <a:pt x="14168" y="12662"/>
                </a:lnTo>
                <a:lnTo>
                  <a:pt x="14152" y="12674"/>
                </a:lnTo>
                <a:lnTo>
                  <a:pt x="14135" y="12687"/>
                </a:lnTo>
                <a:lnTo>
                  <a:pt x="14118" y="12698"/>
                </a:lnTo>
                <a:lnTo>
                  <a:pt x="14100" y="12708"/>
                </a:lnTo>
                <a:lnTo>
                  <a:pt x="14081" y="12717"/>
                </a:lnTo>
                <a:lnTo>
                  <a:pt x="14063" y="12726"/>
                </a:lnTo>
                <a:lnTo>
                  <a:pt x="14044" y="12734"/>
                </a:lnTo>
                <a:lnTo>
                  <a:pt x="14024" y="12741"/>
                </a:lnTo>
                <a:lnTo>
                  <a:pt x="14005" y="12747"/>
                </a:lnTo>
                <a:lnTo>
                  <a:pt x="13985" y="12751"/>
                </a:lnTo>
                <a:lnTo>
                  <a:pt x="13966" y="12756"/>
                </a:lnTo>
                <a:lnTo>
                  <a:pt x="13945" y="12759"/>
                </a:lnTo>
                <a:lnTo>
                  <a:pt x="13926" y="12761"/>
                </a:lnTo>
                <a:lnTo>
                  <a:pt x="13905" y="12762"/>
                </a:lnTo>
                <a:lnTo>
                  <a:pt x="13885" y="12762"/>
                </a:lnTo>
                <a:lnTo>
                  <a:pt x="13864" y="12762"/>
                </a:lnTo>
                <a:lnTo>
                  <a:pt x="13844" y="12761"/>
                </a:lnTo>
                <a:lnTo>
                  <a:pt x="13824" y="12759"/>
                </a:lnTo>
                <a:lnTo>
                  <a:pt x="13804" y="12756"/>
                </a:lnTo>
                <a:lnTo>
                  <a:pt x="13784" y="12751"/>
                </a:lnTo>
                <a:lnTo>
                  <a:pt x="13764" y="12747"/>
                </a:lnTo>
                <a:lnTo>
                  <a:pt x="13745" y="12741"/>
                </a:lnTo>
                <a:lnTo>
                  <a:pt x="13725" y="12734"/>
                </a:lnTo>
                <a:lnTo>
                  <a:pt x="13707" y="12726"/>
                </a:lnTo>
                <a:lnTo>
                  <a:pt x="13688" y="12717"/>
                </a:lnTo>
                <a:lnTo>
                  <a:pt x="13669" y="12708"/>
                </a:lnTo>
                <a:lnTo>
                  <a:pt x="13652" y="12698"/>
                </a:lnTo>
                <a:lnTo>
                  <a:pt x="13634" y="12687"/>
                </a:lnTo>
                <a:lnTo>
                  <a:pt x="13617" y="12674"/>
                </a:lnTo>
                <a:lnTo>
                  <a:pt x="13601" y="12662"/>
                </a:lnTo>
                <a:lnTo>
                  <a:pt x="13586" y="12647"/>
                </a:lnTo>
                <a:lnTo>
                  <a:pt x="6294" y="5860"/>
                </a:lnTo>
                <a:lnTo>
                  <a:pt x="6294" y="5860"/>
                </a:lnTo>
                <a:lnTo>
                  <a:pt x="0" y="0"/>
                </a:lnTo>
                <a:lnTo>
                  <a:pt x="1196" y="0"/>
                </a:lnTo>
                <a:lnTo>
                  <a:pt x="6294" y="474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18" name="Freeform 13">
            <a:extLst>
              <a:ext uri="{FF2B5EF4-FFF2-40B4-BE49-F238E27FC236}">
                <a16:creationId xmlns:a16="http://schemas.microsoft.com/office/drawing/2014/main" id="{06F6042F-C838-41FA-937E-9A918923DB1B}"/>
              </a:ext>
            </a:extLst>
          </p:cNvPr>
          <p:cNvSpPr>
            <a:spLocks/>
          </p:cNvSpPr>
          <p:nvPr userDrawn="1"/>
        </p:nvSpPr>
        <p:spPr bwMode="auto">
          <a:xfrm flipH="1">
            <a:off x="6624764" y="8172134"/>
            <a:ext cx="1690329" cy="1429068"/>
          </a:xfrm>
          <a:custGeom>
            <a:avLst/>
            <a:gdLst>
              <a:gd name="T0" fmla="*/ 121 w 4084"/>
              <a:gd name="T1" fmla="*/ 115 h 3217"/>
              <a:gd name="T2" fmla="*/ 153 w 4084"/>
              <a:gd name="T3" fmla="*/ 87 h 3217"/>
              <a:gd name="T4" fmla="*/ 187 w 4084"/>
              <a:gd name="T5" fmla="*/ 65 h 3217"/>
              <a:gd name="T6" fmla="*/ 222 w 4084"/>
              <a:gd name="T7" fmla="*/ 44 h 3217"/>
              <a:gd name="T8" fmla="*/ 260 w 4084"/>
              <a:gd name="T9" fmla="*/ 29 h 3217"/>
              <a:gd name="T10" fmla="*/ 297 w 4084"/>
              <a:gd name="T11" fmla="*/ 16 h 3217"/>
              <a:gd name="T12" fmla="*/ 336 w 4084"/>
              <a:gd name="T13" fmla="*/ 7 h 3217"/>
              <a:gd name="T14" fmla="*/ 376 w 4084"/>
              <a:gd name="T15" fmla="*/ 3 h 3217"/>
              <a:gd name="T16" fmla="*/ 416 w 4084"/>
              <a:gd name="T17" fmla="*/ 0 h 3217"/>
              <a:gd name="T18" fmla="*/ 456 w 4084"/>
              <a:gd name="T19" fmla="*/ 3 h 3217"/>
              <a:gd name="T20" fmla="*/ 495 w 4084"/>
              <a:gd name="T21" fmla="*/ 7 h 3217"/>
              <a:gd name="T22" fmla="*/ 534 w 4084"/>
              <a:gd name="T23" fmla="*/ 16 h 3217"/>
              <a:gd name="T24" fmla="*/ 573 w 4084"/>
              <a:gd name="T25" fmla="*/ 29 h 3217"/>
              <a:gd name="T26" fmla="*/ 610 w 4084"/>
              <a:gd name="T27" fmla="*/ 44 h 3217"/>
              <a:gd name="T28" fmla="*/ 646 w 4084"/>
              <a:gd name="T29" fmla="*/ 65 h 3217"/>
              <a:gd name="T30" fmla="*/ 679 w 4084"/>
              <a:gd name="T31" fmla="*/ 87 h 3217"/>
              <a:gd name="T32" fmla="*/ 710 w 4084"/>
              <a:gd name="T33" fmla="*/ 115 h 3217"/>
              <a:gd name="T34" fmla="*/ 2865 w 4084"/>
              <a:gd name="T35" fmla="*/ 3217 h 3217"/>
              <a:gd name="T36" fmla="*/ 121 w 4084"/>
              <a:gd name="T37" fmla="*/ 663 h 3217"/>
              <a:gd name="T38" fmla="*/ 93 w 4084"/>
              <a:gd name="T39" fmla="*/ 634 h 3217"/>
              <a:gd name="T40" fmla="*/ 68 w 4084"/>
              <a:gd name="T41" fmla="*/ 602 h 3217"/>
              <a:gd name="T42" fmla="*/ 47 w 4084"/>
              <a:gd name="T43" fmla="*/ 569 h 3217"/>
              <a:gd name="T44" fmla="*/ 30 w 4084"/>
              <a:gd name="T45" fmla="*/ 534 h 3217"/>
              <a:gd name="T46" fmla="*/ 17 w 4084"/>
              <a:gd name="T47" fmla="*/ 499 h 3217"/>
              <a:gd name="T48" fmla="*/ 7 w 4084"/>
              <a:gd name="T49" fmla="*/ 463 h 3217"/>
              <a:gd name="T50" fmla="*/ 1 w 4084"/>
              <a:gd name="T51" fmla="*/ 426 h 3217"/>
              <a:gd name="T52" fmla="*/ 0 w 4084"/>
              <a:gd name="T53" fmla="*/ 388 h 3217"/>
              <a:gd name="T54" fmla="*/ 1 w 4084"/>
              <a:gd name="T55" fmla="*/ 351 h 3217"/>
              <a:gd name="T56" fmla="*/ 7 w 4084"/>
              <a:gd name="T57" fmla="*/ 315 h 3217"/>
              <a:gd name="T58" fmla="*/ 17 w 4084"/>
              <a:gd name="T59" fmla="*/ 279 h 3217"/>
              <a:gd name="T60" fmla="*/ 30 w 4084"/>
              <a:gd name="T61" fmla="*/ 242 h 3217"/>
              <a:gd name="T62" fmla="*/ 47 w 4084"/>
              <a:gd name="T63" fmla="*/ 209 h 3217"/>
              <a:gd name="T64" fmla="*/ 68 w 4084"/>
              <a:gd name="T65" fmla="*/ 175 h 3217"/>
              <a:gd name="T66" fmla="*/ 93 w 4084"/>
              <a:gd name="T67" fmla="*/ 144 h 3217"/>
              <a:gd name="T68" fmla="*/ 121 w 4084"/>
              <a:gd name="T69" fmla="*/ 115 h 3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084" h="3217">
                <a:moveTo>
                  <a:pt x="121" y="115"/>
                </a:moveTo>
                <a:lnTo>
                  <a:pt x="121" y="115"/>
                </a:lnTo>
                <a:lnTo>
                  <a:pt x="137" y="100"/>
                </a:lnTo>
                <a:lnTo>
                  <a:pt x="153" y="87"/>
                </a:lnTo>
                <a:lnTo>
                  <a:pt x="170" y="76"/>
                </a:lnTo>
                <a:lnTo>
                  <a:pt x="187" y="65"/>
                </a:lnTo>
                <a:lnTo>
                  <a:pt x="204" y="55"/>
                </a:lnTo>
                <a:lnTo>
                  <a:pt x="222" y="44"/>
                </a:lnTo>
                <a:lnTo>
                  <a:pt x="240" y="37"/>
                </a:lnTo>
                <a:lnTo>
                  <a:pt x="260" y="29"/>
                </a:lnTo>
                <a:lnTo>
                  <a:pt x="278" y="22"/>
                </a:lnTo>
                <a:lnTo>
                  <a:pt x="297" y="16"/>
                </a:lnTo>
                <a:lnTo>
                  <a:pt x="317" y="12"/>
                </a:lnTo>
                <a:lnTo>
                  <a:pt x="336" y="7"/>
                </a:lnTo>
                <a:lnTo>
                  <a:pt x="357" y="5"/>
                </a:lnTo>
                <a:lnTo>
                  <a:pt x="376" y="3"/>
                </a:lnTo>
                <a:lnTo>
                  <a:pt x="396" y="1"/>
                </a:lnTo>
                <a:lnTo>
                  <a:pt x="416" y="0"/>
                </a:lnTo>
                <a:lnTo>
                  <a:pt x="436" y="1"/>
                </a:lnTo>
                <a:lnTo>
                  <a:pt x="456" y="3"/>
                </a:lnTo>
                <a:lnTo>
                  <a:pt x="476" y="5"/>
                </a:lnTo>
                <a:lnTo>
                  <a:pt x="495" y="7"/>
                </a:lnTo>
                <a:lnTo>
                  <a:pt x="515" y="12"/>
                </a:lnTo>
                <a:lnTo>
                  <a:pt x="534" y="16"/>
                </a:lnTo>
                <a:lnTo>
                  <a:pt x="554" y="22"/>
                </a:lnTo>
                <a:lnTo>
                  <a:pt x="573" y="29"/>
                </a:lnTo>
                <a:lnTo>
                  <a:pt x="591" y="37"/>
                </a:lnTo>
                <a:lnTo>
                  <a:pt x="610" y="44"/>
                </a:lnTo>
                <a:lnTo>
                  <a:pt x="628" y="55"/>
                </a:lnTo>
                <a:lnTo>
                  <a:pt x="646" y="65"/>
                </a:lnTo>
                <a:lnTo>
                  <a:pt x="663" y="76"/>
                </a:lnTo>
                <a:lnTo>
                  <a:pt x="679" y="87"/>
                </a:lnTo>
                <a:lnTo>
                  <a:pt x="696" y="100"/>
                </a:lnTo>
                <a:lnTo>
                  <a:pt x="710" y="115"/>
                </a:lnTo>
                <a:lnTo>
                  <a:pt x="4084" y="3217"/>
                </a:lnTo>
                <a:lnTo>
                  <a:pt x="2865" y="3217"/>
                </a:lnTo>
                <a:lnTo>
                  <a:pt x="121" y="663"/>
                </a:lnTo>
                <a:lnTo>
                  <a:pt x="121" y="663"/>
                </a:lnTo>
                <a:lnTo>
                  <a:pt x="106" y="649"/>
                </a:lnTo>
                <a:lnTo>
                  <a:pt x="93" y="634"/>
                </a:lnTo>
                <a:lnTo>
                  <a:pt x="80" y="618"/>
                </a:lnTo>
                <a:lnTo>
                  <a:pt x="68" y="602"/>
                </a:lnTo>
                <a:lnTo>
                  <a:pt x="57" y="586"/>
                </a:lnTo>
                <a:lnTo>
                  <a:pt x="47" y="569"/>
                </a:lnTo>
                <a:lnTo>
                  <a:pt x="37" y="552"/>
                </a:lnTo>
                <a:lnTo>
                  <a:pt x="30" y="534"/>
                </a:lnTo>
                <a:lnTo>
                  <a:pt x="23" y="517"/>
                </a:lnTo>
                <a:lnTo>
                  <a:pt x="17" y="499"/>
                </a:lnTo>
                <a:lnTo>
                  <a:pt x="12" y="481"/>
                </a:lnTo>
                <a:lnTo>
                  <a:pt x="7" y="463"/>
                </a:lnTo>
                <a:lnTo>
                  <a:pt x="3" y="445"/>
                </a:lnTo>
                <a:lnTo>
                  <a:pt x="1" y="426"/>
                </a:lnTo>
                <a:lnTo>
                  <a:pt x="0" y="408"/>
                </a:lnTo>
                <a:lnTo>
                  <a:pt x="0" y="388"/>
                </a:lnTo>
                <a:lnTo>
                  <a:pt x="0" y="370"/>
                </a:lnTo>
                <a:lnTo>
                  <a:pt x="1" y="351"/>
                </a:lnTo>
                <a:lnTo>
                  <a:pt x="3" y="333"/>
                </a:lnTo>
                <a:lnTo>
                  <a:pt x="7" y="315"/>
                </a:lnTo>
                <a:lnTo>
                  <a:pt x="12" y="297"/>
                </a:lnTo>
                <a:lnTo>
                  <a:pt x="17" y="279"/>
                </a:lnTo>
                <a:lnTo>
                  <a:pt x="23" y="261"/>
                </a:lnTo>
                <a:lnTo>
                  <a:pt x="30" y="242"/>
                </a:lnTo>
                <a:lnTo>
                  <a:pt x="37" y="226"/>
                </a:lnTo>
                <a:lnTo>
                  <a:pt x="47" y="209"/>
                </a:lnTo>
                <a:lnTo>
                  <a:pt x="57" y="192"/>
                </a:lnTo>
                <a:lnTo>
                  <a:pt x="68" y="175"/>
                </a:lnTo>
                <a:lnTo>
                  <a:pt x="80" y="159"/>
                </a:lnTo>
                <a:lnTo>
                  <a:pt x="93" y="144"/>
                </a:lnTo>
                <a:lnTo>
                  <a:pt x="106" y="128"/>
                </a:lnTo>
                <a:lnTo>
                  <a:pt x="121" y="115"/>
                </a:lnTo>
                <a:lnTo>
                  <a:pt x="121" y="11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85A81A-1E89-48A3-B9FE-0A671F3D4F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69075" y="4287202"/>
            <a:ext cx="5795933" cy="3342640"/>
          </a:xfrm>
        </p:spPr>
        <p:txBody>
          <a:bodyPr anchor="b">
            <a:normAutofit/>
          </a:bodyPr>
          <a:lstStyle>
            <a:lvl1pPr algn="ctr">
              <a:defRPr sz="6160" b="1" cap="all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24D900-431F-491D-97C0-C35C95FD11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69075" y="7758748"/>
            <a:ext cx="5795933" cy="1651318"/>
          </a:xfrm>
        </p:spPr>
        <p:txBody>
          <a:bodyPr/>
          <a:lstStyle>
            <a:lvl1pPr marL="0" indent="0" algn="ctr">
              <a:buNone/>
              <a:defRPr sz="3360">
                <a:solidFill>
                  <a:schemeClr val="accent3">
                    <a:lumMod val="75000"/>
                  </a:schemeClr>
                </a:solidFill>
              </a:defRPr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606D5F-434D-4332-8327-E038BF507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20" name="Freeform 12">
            <a:extLst>
              <a:ext uri="{FF2B5EF4-FFF2-40B4-BE49-F238E27FC236}">
                <a16:creationId xmlns:a16="http://schemas.microsoft.com/office/drawing/2014/main" id="{B84787CE-0F06-4333-A55B-CA1886ED566A}"/>
              </a:ext>
            </a:extLst>
          </p:cNvPr>
          <p:cNvSpPr>
            <a:spLocks/>
          </p:cNvSpPr>
          <p:nvPr userDrawn="1"/>
        </p:nvSpPr>
        <p:spPr bwMode="auto">
          <a:xfrm flipH="1">
            <a:off x="6210975" y="960121"/>
            <a:ext cx="3153073" cy="3151505"/>
          </a:xfrm>
          <a:custGeom>
            <a:avLst/>
            <a:gdLst>
              <a:gd name="T0" fmla="*/ 124 w 7620"/>
              <a:gd name="T1" fmla="*/ 673 h 7094"/>
              <a:gd name="T2" fmla="*/ 81 w 7620"/>
              <a:gd name="T3" fmla="*/ 626 h 7094"/>
              <a:gd name="T4" fmla="*/ 48 w 7620"/>
              <a:gd name="T5" fmla="*/ 577 h 7094"/>
              <a:gd name="T6" fmla="*/ 24 w 7620"/>
              <a:gd name="T7" fmla="*/ 525 h 7094"/>
              <a:gd name="T8" fmla="*/ 8 w 7620"/>
              <a:gd name="T9" fmla="*/ 469 h 7094"/>
              <a:gd name="T10" fmla="*/ 1 w 7620"/>
              <a:gd name="T11" fmla="*/ 413 h 7094"/>
              <a:gd name="T12" fmla="*/ 2 w 7620"/>
              <a:gd name="T13" fmla="*/ 356 h 7094"/>
              <a:gd name="T14" fmla="*/ 12 w 7620"/>
              <a:gd name="T15" fmla="*/ 301 h 7094"/>
              <a:gd name="T16" fmla="*/ 31 w 7620"/>
              <a:gd name="T17" fmla="*/ 246 h 7094"/>
              <a:gd name="T18" fmla="*/ 58 w 7620"/>
              <a:gd name="T19" fmla="*/ 194 h 7094"/>
              <a:gd name="T20" fmla="*/ 95 w 7620"/>
              <a:gd name="T21" fmla="*/ 146 h 7094"/>
              <a:gd name="T22" fmla="*/ 124 w 7620"/>
              <a:gd name="T23" fmla="*/ 115 h 7094"/>
              <a:gd name="T24" fmla="*/ 172 w 7620"/>
              <a:gd name="T25" fmla="*/ 77 h 7094"/>
              <a:gd name="T26" fmla="*/ 226 w 7620"/>
              <a:gd name="T27" fmla="*/ 45 h 7094"/>
              <a:gd name="T28" fmla="*/ 283 w 7620"/>
              <a:gd name="T29" fmla="*/ 22 h 7094"/>
              <a:gd name="T30" fmla="*/ 343 w 7620"/>
              <a:gd name="T31" fmla="*/ 8 h 7094"/>
              <a:gd name="T32" fmla="*/ 402 w 7620"/>
              <a:gd name="T33" fmla="*/ 1 h 7094"/>
              <a:gd name="T34" fmla="*/ 464 w 7620"/>
              <a:gd name="T35" fmla="*/ 2 h 7094"/>
              <a:gd name="T36" fmla="*/ 524 w 7620"/>
              <a:gd name="T37" fmla="*/ 11 h 7094"/>
              <a:gd name="T38" fmla="*/ 582 w 7620"/>
              <a:gd name="T39" fmla="*/ 29 h 7094"/>
              <a:gd name="T40" fmla="*/ 638 w 7620"/>
              <a:gd name="T41" fmla="*/ 55 h 7094"/>
              <a:gd name="T42" fmla="*/ 690 w 7620"/>
              <a:gd name="T43" fmla="*/ 88 h 7094"/>
              <a:gd name="T44" fmla="*/ 7496 w 7620"/>
              <a:gd name="T45" fmla="*/ 6422 h 7094"/>
              <a:gd name="T46" fmla="*/ 7525 w 7620"/>
              <a:gd name="T47" fmla="*/ 6451 h 7094"/>
              <a:gd name="T48" fmla="*/ 7562 w 7620"/>
              <a:gd name="T49" fmla="*/ 6500 h 7094"/>
              <a:gd name="T50" fmla="*/ 7588 w 7620"/>
              <a:gd name="T51" fmla="*/ 6552 h 7094"/>
              <a:gd name="T52" fmla="*/ 7608 w 7620"/>
              <a:gd name="T53" fmla="*/ 6606 h 7094"/>
              <a:gd name="T54" fmla="*/ 7618 w 7620"/>
              <a:gd name="T55" fmla="*/ 6663 h 7094"/>
              <a:gd name="T56" fmla="*/ 7619 w 7620"/>
              <a:gd name="T57" fmla="*/ 6719 h 7094"/>
              <a:gd name="T58" fmla="*/ 7612 w 7620"/>
              <a:gd name="T59" fmla="*/ 6776 h 7094"/>
              <a:gd name="T60" fmla="*/ 7596 w 7620"/>
              <a:gd name="T61" fmla="*/ 6830 h 7094"/>
              <a:gd name="T62" fmla="*/ 7571 w 7620"/>
              <a:gd name="T63" fmla="*/ 6883 h 7094"/>
              <a:gd name="T64" fmla="*/ 7537 w 7620"/>
              <a:gd name="T65" fmla="*/ 6933 h 7094"/>
              <a:gd name="T66" fmla="*/ 7496 w 7620"/>
              <a:gd name="T67" fmla="*/ 6978 h 7094"/>
              <a:gd name="T68" fmla="*/ 7463 w 7620"/>
              <a:gd name="T69" fmla="*/ 7005 h 7094"/>
              <a:gd name="T70" fmla="*/ 7412 w 7620"/>
              <a:gd name="T71" fmla="*/ 7039 h 7094"/>
              <a:gd name="T72" fmla="*/ 7356 w 7620"/>
              <a:gd name="T73" fmla="*/ 7065 h 7094"/>
              <a:gd name="T74" fmla="*/ 7298 w 7620"/>
              <a:gd name="T75" fmla="*/ 7082 h 7094"/>
              <a:gd name="T76" fmla="*/ 7237 w 7620"/>
              <a:gd name="T77" fmla="*/ 7091 h 7094"/>
              <a:gd name="T78" fmla="*/ 7176 w 7620"/>
              <a:gd name="T79" fmla="*/ 7094 h 7094"/>
              <a:gd name="T80" fmla="*/ 7116 w 7620"/>
              <a:gd name="T81" fmla="*/ 7087 h 7094"/>
              <a:gd name="T82" fmla="*/ 7057 w 7620"/>
              <a:gd name="T83" fmla="*/ 7072 h 7094"/>
              <a:gd name="T84" fmla="*/ 7000 w 7620"/>
              <a:gd name="T85" fmla="*/ 7048 h 7094"/>
              <a:gd name="T86" fmla="*/ 6947 w 7620"/>
              <a:gd name="T87" fmla="*/ 7018 h 7094"/>
              <a:gd name="T88" fmla="*/ 6898 w 7620"/>
              <a:gd name="T89" fmla="*/ 6978 h 70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7620" h="7094">
                <a:moveTo>
                  <a:pt x="6898" y="6978"/>
                </a:moveTo>
                <a:lnTo>
                  <a:pt x="124" y="673"/>
                </a:lnTo>
                <a:lnTo>
                  <a:pt x="124" y="673"/>
                </a:lnTo>
                <a:lnTo>
                  <a:pt x="109" y="658"/>
                </a:lnTo>
                <a:lnTo>
                  <a:pt x="95" y="642"/>
                </a:lnTo>
                <a:lnTo>
                  <a:pt x="81" y="626"/>
                </a:lnTo>
                <a:lnTo>
                  <a:pt x="69" y="611"/>
                </a:lnTo>
                <a:lnTo>
                  <a:pt x="58" y="594"/>
                </a:lnTo>
                <a:lnTo>
                  <a:pt x="48" y="577"/>
                </a:lnTo>
                <a:lnTo>
                  <a:pt x="39" y="560"/>
                </a:lnTo>
                <a:lnTo>
                  <a:pt x="31" y="542"/>
                </a:lnTo>
                <a:lnTo>
                  <a:pt x="24" y="525"/>
                </a:lnTo>
                <a:lnTo>
                  <a:pt x="17" y="507"/>
                </a:lnTo>
                <a:lnTo>
                  <a:pt x="12" y="487"/>
                </a:lnTo>
                <a:lnTo>
                  <a:pt x="8" y="469"/>
                </a:lnTo>
                <a:lnTo>
                  <a:pt x="5" y="450"/>
                </a:lnTo>
                <a:lnTo>
                  <a:pt x="2" y="432"/>
                </a:lnTo>
                <a:lnTo>
                  <a:pt x="1" y="413"/>
                </a:lnTo>
                <a:lnTo>
                  <a:pt x="0" y="393"/>
                </a:lnTo>
                <a:lnTo>
                  <a:pt x="1" y="375"/>
                </a:lnTo>
                <a:lnTo>
                  <a:pt x="2" y="356"/>
                </a:lnTo>
                <a:lnTo>
                  <a:pt x="5" y="338"/>
                </a:lnTo>
                <a:lnTo>
                  <a:pt x="8" y="319"/>
                </a:lnTo>
                <a:lnTo>
                  <a:pt x="12" y="301"/>
                </a:lnTo>
                <a:lnTo>
                  <a:pt x="17" y="281"/>
                </a:lnTo>
                <a:lnTo>
                  <a:pt x="24" y="263"/>
                </a:lnTo>
                <a:lnTo>
                  <a:pt x="31" y="246"/>
                </a:lnTo>
                <a:lnTo>
                  <a:pt x="39" y="228"/>
                </a:lnTo>
                <a:lnTo>
                  <a:pt x="48" y="211"/>
                </a:lnTo>
                <a:lnTo>
                  <a:pt x="58" y="194"/>
                </a:lnTo>
                <a:lnTo>
                  <a:pt x="69" y="177"/>
                </a:lnTo>
                <a:lnTo>
                  <a:pt x="81" y="161"/>
                </a:lnTo>
                <a:lnTo>
                  <a:pt x="95" y="146"/>
                </a:lnTo>
                <a:lnTo>
                  <a:pt x="109" y="130"/>
                </a:lnTo>
                <a:lnTo>
                  <a:pt x="124" y="115"/>
                </a:lnTo>
                <a:lnTo>
                  <a:pt x="124" y="115"/>
                </a:lnTo>
                <a:lnTo>
                  <a:pt x="140" y="101"/>
                </a:lnTo>
                <a:lnTo>
                  <a:pt x="157" y="88"/>
                </a:lnTo>
                <a:lnTo>
                  <a:pt x="172" y="77"/>
                </a:lnTo>
                <a:lnTo>
                  <a:pt x="191" y="65"/>
                </a:lnTo>
                <a:lnTo>
                  <a:pt x="208" y="55"/>
                </a:lnTo>
                <a:lnTo>
                  <a:pt x="226" y="45"/>
                </a:lnTo>
                <a:lnTo>
                  <a:pt x="245" y="37"/>
                </a:lnTo>
                <a:lnTo>
                  <a:pt x="264" y="29"/>
                </a:lnTo>
                <a:lnTo>
                  <a:pt x="283" y="22"/>
                </a:lnTo>
                <a:lnTo>
                  <a:pt x="302" y="17"/>
                </a:lnTo>
                <a:lnTo>
                  <a:pt x="322" y="11"/>
                </a:lnTo>
                <a:lnTo>
                  <a:pt x="343" y="8"/>
                </a:lnTo>
                <a:lnTo>
                  <a:pt x="362" y="4"/>
                </a:lnTo>
                <a:lnTo>
                  <a:pt x="383" y="2"/>
                </a:lnTo>
                <a:lnTo>
                  <a:pt x="402" y="1"/>
                </a:lnTo>
                <a:lnTo>
                  <a:pt x="423" y="0"/>
                </a:lnTo>
                <a:lnTo>
                  <a:pt x="443" y="1"/>
                </a:lnTo>
                <a:lnTo>
                  <a:pt x="464" y="2"/>
                </a:lnTo>
                <a:lnTo>
                  <a:pt x="484" y="4"/>
                </a:lnTo>
                <a:lnTo>
                  <a:pt x="504" y="8"/>
                </a:lnTo>
                <a:lnTo>
                  <a:pt x="524" y="11"/>
                </a:lnTo>
                <a:lnTo>
                  <a:pt x="543" y="17"/>
                </a:lnTo>
                <a:lnTo>
                  <a:pt x="563" y="22"/>
                </a:lnTo>
                <a:lnTo>
                  <a:pt x="582" y="29"/>
                </a:lnTo>
                <a:lnTo>
                  <a:pt x="601" y="37"/>
                </a:lnTo>
                <a:lnTo>
                  <a:pt x="620" y="45"/>
                </a:lnTo>
                <a:lnTo>
                  <a:pt x="638" y="55"/>
                </a:lnTo>
                <a:lnTo>
                  <a:pt x="656" y="65"/>
                </a:lnTo>
                <a:lnTo>
                  <a:pt x="673" y="77"/>
                </a:lnTo>
                <a:lnTo>
                  <a:pt x="690" y="88"/>
                </a:lnTo>
                <a:lnTo>
                  <a:pt x="706" y="101"/>
                </a:lnTo>
                <a:lnTo>
                  <a:pt x="722" y="115"/>
                </a:lnTo>
                <a:lnTo>
                  <a:pt x="7496" y="6422"/>
                </a:lnTo>
                <a:lnTo>
                  <a:pt x="7496" y="6422"/>
                </a:lnTo>
                <a:lnTo>
                  <a:pt x="7511" y="6436"/>
                </a:lnTo>
                <a:lnTo>
                  <a:pt x="7525" y="6451"/>
                </a:lnTo>
                <a:lnTo>
                  <a:pt x="7537" y="6467"/>
                </a:lnTo>
                <a:lnTo>
                  <a:pt x="7550" y="6484"/>
                </a:lnTo>
                <a:lnTo>
                  <a:pt x="7562" y="6500"/>
                </a:lnTo>
                <a:lnTo>
                  <a:pt x="7571" y="6517"/>
                </a:lnTo>
                <a:lnTo>
                  <a:pt x="7581" y="6534"/>
                </a:lnTo>
                <a:lnTo>
                  <a:pt x="7588" y="6552"/>
                </a:lnTo>
                <a:lnTo>
                  <a:pt x="7596" y="6570"/>
                </a:lnTo>
                <a:lnTo>
                  <a:pt x="7602" y="6588"/>
                </a:lnTo>
                <a:lnTo>
                  <a:pt x="7608" y="6606"/>
                </a:lnTo>
                <a:lnTo>
                  <a:pt x="7612" y="6625"/>
                </a:lnTo>
                <a:lnTo>
                  <a:pt x="7615" y="6643"/>
                </a:lnTo>
                <a:lnTo>
                  <a:pt x="7618" y="6663"/>
                </a:lnTo>
                <a:lnTo>
                  <a:pt x="7619" y="6681"/>
                </a:lnTo>
                <a:lnTo>
                  <a:pt x="7620" y="6700"/>
                </a:lnTo>
                <a:lnTo>
                  <a:pt x="7619" y="6719"/>
                </a:lnTo>
                <a:lnTo>
                  <a:pt x="7618" y="6737"/>
                </a:lnTo>
                <a:lnTo>
                  <a:pt x="7615" y="6756"/>
                </a:lnTo>
                <a:lnTo>
                  <a:pt x="7612" y="6776"/>
                </a:lnTo>
                <a:lnTo>
                  <a:pt x="7608" y="6794"/>
                </a:lnTo>
                <a:lnTo>
                  <a:pt x="7602" y="6812"/>
                </a:lnTo>
                <a:lnTo>
                  <a:pt x="7596" y="6830"/>
                </a:lnTo>
                <a:lnTo>
                  <a:pt x="7588" y="6848"/>
                </a:lnTo>
                <a:lnTo>
                  <a:pt x="7581" y="6866"/>
                </a:lnTo>
                <a:lnTo>
                  <a:pt x="7571" y="6883"/>
                </a:lnTo>
                <a:lnTo>
                  <a:pt x="7562" y="6900"/>
                </a:lnTo>
                <a:lnTo>
                  <a:pt x="7550" y="6917"/>
                </a:lnTo>
                <a:lnTo>
                  <a:pt x="7537" y="6933"/>
                </a:lnTo>
                <a:lnTo>
                  <a:pt x="7525" y="6949"/>
                </a:lnTo>
                <a:lnTo>
                  <a:pt x="7511" y="6964"/>
                </a:lnTo>
                <a:lnTo>
                  <a:pt x="7496" y="6978"/>
                </a:lnTo>
                <a:lnTo>
                  <a:pt x="7496" y="6978"/>
                </a:lnTo>
                <a:lnTo>
                  <a:pt x="7480" y="6992"/>
                </a:lnTo>
                <a:lnTo>
                  <a:pt x="7463" y="7005"/>
                </a:lnTo>
                <a:lnTo>
                  <a:pt x="7447" y="7018"/>
                </a:lnTo>
                <a:lnTo>
                  <a:pt x="7429" y="7029"/>
                </a:lnTo>
                <a:lnTo>
                  <a:pt x="7412" y="7039"/>
                </a:lnTo>
                <a:lnTo>
                  <a:pt x="7394" y="7048"/>
                </a:lnTo>
                <a:lnTo>
                  <a:pt x="7375" y="7057"/>
                </a:lnTo>
                <a:lnTo>
                  <a:pt x="7356" y="7065"/>
                </a:lnTo>
                <a:lnTo>
                  <a:pt x="7337" y="7072"/>
                </a:lnTo>
                <a:lnTo>
                  <a:pt x="7317" y="7078"/>
                </a:lnTo>
                <a:lnTo>
                  <a:pt x="7298" y="7082"/>
                </a:lnTo>
                <a:lnTo>
                  <a:pt x="7277" y="7087"/>
                </a:lnTo>
                <a:lnTo>
                  <a:pt x="7258" y="7090"/>
                </a:lnTo>
                <a:lnTo>
                  <a:pt x="7237" y="7091"/>
                </a:lnTo>
                <a:lnTo>
                  <a:pt x="7217" y="7094"/>
                </a:lnTo>
                <a:lnTo>
                  <a:pt x="7197" y="7094"/>
                </a:lnTo>
                <a:lnTo>
                  <a:pt x="7176" y="7094"/>
                </a:lnTo>
                <a:lnTo>
                  <a:pt x="7156" y="7091"/>
                </a:lnTo>
                <a:lnTo>
                  <a:pt x="7136" y="7090"/>
                </a:lnTo>
                <a:lnTo>
                  <a:pt x="7116" y="7087"/>
                </a:lnTo>
                <a:lnTo>
                  <a:pt x="7096" y="7082"/>
                </a:lnTo>
                <a:lnTo>
                  <a:pt x="7077" y="7078"/>
                </a:lnTo>
                <a:lnTo>
                  <a:pt x="7057" y="7072"/>
                </a:lnTo>
                <a:lnTo>
                  <a:pt x="7038" y="7065"/>
                </a:lnTo>
                <a:lnTo>
                  <a:pt x="7018" y="7057"/>
                </a:lnTo>
                <a:lnTo>
                  <a:pt x="7000" y="7048"/>
                </a:lnTo>
                <a:lnTo>
                  <a:pt x="6982" y="7039"/>
                </a:lnTo>
                <a:lnTo>
                  <a:pt x="6964" y="7029"/>
                </a:lnTo>
                <a:lnTo>
                  <a:pt x="6947" y="7018"/>
                </a:lnTo>
                <a:lnTo>
                  <a:pt x="6930" y="7005"/>
                </a:lnTo>
                <a:lnTo>
                  <a:pt x="6914" y="6992"/>
                </a:lnTo>
                <a:lnTo>
                  <a:pt x="6898" y="6978"/>
                </a:lnTo>
                <a:lnTo>
                  <a:pt x="6898" y="697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1" name="Freeform 10">
            <a:extLst>
              <a:ext uri="{FF2B5EF4-FFF2-40B4-BE49-F238E27FC236}">
                <a16:creationId xmlns:a16="http://schemas.microsoft.com/office/drawing/2014/main" id="{B68EAFD4-FBC7-43E4-B42F-8116B3CCED56}"/>
              </a:ext>
            </a:extLst>
          </p:cNvPr>
          <p:cNvSpPr>
            <a:spLocks/>
          </p:cNvSpPr>
          <p:nvPr userDrawn="1"/>
        </p:nvSpPr>
        <p:spPr bwMode="auto">
          <a:xfrm flipH="1">
            <a:off x="7286827" y="0"/>
            <a:ext cx="2066877" cy="1778000"/>
          </a:xfrm>
          <a:custGeom>
            <a:avLst/>
            <a:gdLst>
              <a:gd name="T0" fmla="*/ 4855 w 4991"/>
              <a:gd name="T1" fmla="*/ 3261 h 4001"/>
              <a:gd name="T2" fmla="*/ 4887 w 4991"/>
              <a:gd name="T3" fmla="*/ 3294 h 4001"/>
              <a:gd name="T4" fmla="*/ 4915 w 4991"/>
              <a:gd name="T5" fmla="*/ 3329 h 4001"/>
              <a:gd name="T6" fmla="*/ 4938 w 4991"/>
              <a:gd name="T7" fmla="*/ 3366 h 4001"/>
              <a:gd name="T8" fmla="*/ 4957 w 4991"/>
              <a:gd name="T9" fmla="*/ 3404 h 4001"/>
              <a:gd name="T10" fmla="*/ 4972 w 4991"/>
              <a:gd name="T11" fmla="*/ 3444 h 4001"/>
              <a:gd name="T12" fmla="*/ 4983 w 4991"/>
              <a:gd name="T13" fmla="*/ 3485 h 4001"/>
              <a:gd name="T14" fmla="*/ 4990 w 4991"/>
              <a:gd name="T15" fmla="*/ 3526 h 4001"/>
              <a:gd name="T16" fmla="*/ 4991 w 4991"/>
              <a:gd name="T17" fmla="*/ 3567 h 4001"/>
              <a:gd name="T18" fmla="*/ 4990 w 4991"/>
              <a:gd name="T19" fmla="*/ 3609 h 4001"/>
              <a:gd name="T20" fmla="*/ 4983 w 4991"/>
              <a:gd name="T21" fmla="*/ 3650 h 4001"/>
              <a:gd name="T22" fmla="*/ 4972 w 4991"/>
              <a:gd name="T23" fmla="*/ 3691 h 4001"/>
              <a:gd name="T24" fmla="*/ 4957 w 4991"/>
              <a:gd name="T25" fmla="*/ 3730 h 4001"/>
              <a:gd name="T26" fmla="*/ 4938 w 4991"/>
              <a:gd name="T27" fmla="*/ 3769 h 4001"/>
              <a:gd name="T28" fmla="*/ 4915 w 4991"/>
              <a:gd name="T29" fmla="*/ 3806 h 4001"/>
              <a:gd name="T30" fmla="*/ 4887 w 4991"/>
              <a:gd name="T31" fmla="*/ 3841 h 4001"/>
              <a:gd name="T32" fmla="*/ 4855 w 4991"/>
              <a:gd name="T33" fmla="*/ 3874 h 4001"/>
              <a:gd name="T34" fmla="*/ 4838 w 4991"/>
              <a:gd name="T35" fmla="*/ 3890 h 4001"/>
              <a:gd name="T36" fmla="*/ 4802 w 4991"/>
              <a:gd name="T37" fmla="*/ 3917 h 4001"/>
              <a:gd name="T38" fmla="*/ 4763 w 4991"/>
              <a:gd name="T39" fmla="*/ 3941 h 4001"/>
              <a:gd name="T40" fmla="*/ 4722 w 4991"/>
              <a:gd name="T41" fmla="*/ 3961 h 4001"/>
              <a:gd name="T42" fmla="*/ 4680 w 4991"/>
              <a:gd name="T43" fmla="*/ 3977 h 4001"/>
              <a:gd name="T44" fmla="*/ 4637 w 4991"/>
              <a:gd name="T45" fmla="*/ 3989 h 4001"/>
              <a:gd name="T46" fmla="*/ 4593 w 4991"/>
              <a:gd name="T47" fmla="*/ 3997 h 4001"/>
              <a:gd name="T48" fmla="*/ 4548 w 4991"/>
              <a:gd name="T49" fmla="*/ 4001 h 4001"/>
              <a:gd name="T50" fmla="*/ 4503 w 4991"/>
              <a:gd name="T51" fmla="*/ 4001 h 4001"/>
              <a:gd name="T52" fmla="*/ 4459 w 4991"/>
              <a:gd name="T53" fmla="*/ 3997 h 4001"/>
              <a:gd name="T54" fmla="*/ 4414 w 4991"/>
              <a:gd name="T55" fmla="*/ 3989 h 4001"/>
              <a:gd name="T56" fmla="*/ 4372 w 4991"/>
              <a:gd name="T57" fmla="*/ 3977 h 4001"/>
              <a:gd name="T58" fmla="*/ 4329 w 4991"/>
              <a:gd name="T59" fmla="*/ 3961 h 4001"/>
              <a:gd name="T60" fmla="*/ 4289 w 4991"/>
              <a:gd name="T61" fmla="*/ 3941 h 4001"/>
              <a:gd name="T62" fmla="*/ 4250 w 4991"/>
              <a:gd name="T63" fmla="*/ 3917 h 4001"/>
              <a:gd name="T64" fmla="*/ 4214 w 4991"/>
              <a:gd name="T65" fmla="*/ 3890 h 4001"/>
              <a:gd name="T66" fmla="*/ 0 w 4991"/>
              <a:gd name="T67" fmla="*/ 0 h 4001"/>
              <a:gd name="T68" fmla="*/ 4855 w 4991"/>
              <a:gd name="T69" fmla="*/ 3261 h 40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991" h="4001">
                <a:moveTo>
                  <a:pt x="4855" y="3261"/>
                </a:moveTo>
                <a:lnTo>
                  <a:pt x="4855" y="3261"/>
                </a:lnTo>
                <a:lnTo>
                  <a:pt x="4872" y="3277"/>
                </a:lnTo>
                <a:lnTo>
                  <a:pt x="4887" y="3294"/>
                </a:lnTo>
                <a:lnTo>
                  <a:pt x="4902" y="3311"/>
                </a:lnTo>
                <a:lnTo>
                  <a:pt x="4915" y="3329"/>
                </a:lnTo>
                <a:lnTo>
                  <a:pt x="4927" y="3347"/>
                </a:lnTo>
                <a:lnTo>
                  <a:pt x="4938" y="3366"/>
                </a:lnTo>
                <a:lnTo>
                  <a:pt x="4949" y="3384"/>
                </a:lnTo>
                <a:lnTo>
                  <a:pt x="4957" y="3404"/>
                </a:lnTo>
                <a:lnTo>
                  <a:pt x="4966" y="3424"/>
                </a:lnTo>
                <a:lnTo>
                  <a:pt x="4972" y="3444"/>
                </a:lnTo>
                <a:lnTo>
                  <a:pt x="4978" y="3464"/>
                </a:lnTo>
                <a:lnTo>
                  <a:pt x="4983" y="3485"/>
                </a:lnTo>
                <a:lnTo>
                  <a:pt x="4987" y="3505"/>
                </a:lnTo>
                <a:lnTo>
                  <a:pt x="4990" y="3526"/>
                </a:lnTo>
                <a:lnTo>
                  <a:pt x="4991" y="3547"/>
                </a:lnTo>
                <a:lnTo>
                  <a:pt x="4991" y="3567"/>
                </a:lnTo>
                <a:lnTo>
                  <a:pt x="4991" y="3588"/>
                </a:lnTo>
                <a:lnTo>
                  <a:pt x="4990" y="3609"/>
                </a:lnTo>
                <a:lnTo>
                  <a:pt x="4987" y="3630"/>
                </a:lnTo>
                <a:lnTo>
                  <a:pt x="4983" y="3650"/>
                </a:lnTo>
                <a:lnTo>
                  <a:pt x="4978" y="3670"/>
                </a:lnTo>
                <a:lnTo>
                  <a:pt x="4972" y="3691"/>
                </a:lnTo>
                <a:lnTo>
                  <a:pt x="4966" y="3711"/>
                </a:lnTo>
                <a:lnTo>
                  <a:pt x="4957" y="3730"/>
                </a:lnTo>
                <a:lnTo>
                  <a:pt x="4949" y="3750"/>
                </a:lnTo>
                <a:lnTo>
                  <a:pt x="4938" y="3769"/>
                </a:lnTo>
                <a:lnTo>
                  <a:pt x="4927" y="3788"/>
                </a:lnTo>
                <a:lnTo>
                  <a:pt x="4915" y="3806"/>
                </a:lnTo>
                <a:lnTo>
                  <a:pt x="4902" y="3824"/>
                </a:lnTo>
                <a:lnTo>
                  <a:pt x="4887" y="3841"/>
                </a:lnTo>
                <a:lnTo>
                  <a:pt x="4872" y="3858"/>
                </a:lnTo>
                <a:lnTo>
                  <a:pt x="4855" y="3874"/>
                </a:lnTo>
                <a:lnTo>
                  <a:pt x="4855" y="3874"/>
                </a:lnTo>
                <a:lnTo>
                  <a:pt x="4838" y="3890"/>
                </a:lnTo>
                <a:lnTo>
                  <a:pt x="4820" y="3903"/>
                </a:lnTo>
                <a:lnTo>
                  <a:pt x="4802" y="3917"/>
                </a:lnTo>
                <a:lnTo>
                  <a:pt x="4782" y="3929"/>
                </a:lnTo>
                <a:lnTo>
                  <a:pt x="4763" y="3941"/>
                </a:lnTo>
                <a:lnTo>
                  <a:pt x="4742" y="3952"/>
                </a:lnTo>
                <a:lnTo>
                  <a:pt x="4722" y="3961"/>
                </a:lnTo>
                <a:lnTo>
                  <a:pt x="4701" y="3969"/>
                </a:lnTo>
                <a:lnTo>
                  <a:pt x="4680" y="3977"/>
                </a:lnTo>
                <a:lnTo>
                  <a:pt x="4658" y="3984"/>
                </a:lnTo>
                <a:lnTo>
                  <a:pt x="4637" y="3989"/>
                </a:lnTo>
                <a:lnTo>
                  <a:pt x="4615" y="3993"/>
                </a:lnTo>
                <a:lnTo>
                  <a:pt x="4593" y="3997"/>
                </a:lnTo>
                <a:lnTo>
                  <a:pt x="4570" y="4000"/>
                </a:lnTo>
                <a:lnTo>
                  <a:pt x="4548" y="4001"/>
                </a:lnTo>
                <a:lnTo>
                  <a:pt x="4526" y="4001"/>
                </a:lnTo>
                <a:lnTo>
                  <a:pt x="4503" y="4001"/>
                </a:lnTo>
                <a:lnTo>
                  <a:pt x="4481" y="4000"/>
                </a:lnTo>
                <a:lnTo>
                  <a:pt x="4459" y="3997"/>
                </a:lnTo>
                <a:lnTo>
                  <a:pt x="4436" y="3993"/>
                </a:lnTo>
                <a:lnTo>
                  <a:pt x="4414" y="3989"/>
                </a:lnTo>
                <a:lnTo>
                  <a:pt x="4394" y="3984"/>
                </a:lnTo>
                <a:lnTo>
                  <a:pt x="4372" y="3977"/>
                </a:lnTo>
                <a:lnTo>
                  <a:pt x="4350" y="3969"/>
                </a:lnTo>
                <a:lnTo>
                  <a:pt x="4329" y="3961"/>
                </a:lnTo>
                <a:lnTo>
                  <a:pt x="4308" y="3952"/>
                </a:lnTo>
                <a:lnTo>
                  <a:pt x="4289" y="3941"/>
                </a:lnTo>
                <a:lnTo>
                  <a:pt x="4270" y="3929"/>
                </a:lnTo>
                <a:lnTo>
                  <a:pt x="4250" y="3917"/>
                </a:lnTo>
                <a:lnTo>
                  <a:pt x="4232" y="3903"/>
                </a:lnTo>
                <a:lnTo>
                  <a:pt x="4214" y="3890"/>
                </a:lnTo>
                <a:lnTo>
                  <a:pt x="4197" y="3874"/>
                </a:lnTo>
                <a:lnTo>
                  <a:pt x="0" y="0"/>
                </a:lnTo>
                <a:lnTo>
                  <a:pt x="1359" y="0"/>
                </a:lnTo>
                <a:lnTo>
                  <a:pt x="4855" y="32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7276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12E49280-C724-4F3D-BF4F-057B5FBA7E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5" r="13409"/>
          <a:stretch/>
        </p:blipFill>
        <p:spPr>
          <a:xfrm>
            <a:off x="8559928" y="1"/>
            <a:ext cx="8508871" cy="595407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461A60C-3AF9-4E35-88B6-D4D418CAFC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47992"/>
            <a:ext cx="8635211" cy="5753209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FB664562-8B5C-4412-BD29-5F3F9F6D663C}"/>
              </a:ext>
            </a:extLst>
          </p:cNvPr>
          <p:cNvGrpSpPr/>
          <p:nvPr userDrawn="1"/>
        </p:nvGrpSpPr>
        <p:grpSpPr>
          <a:xfrm>
            <a:off x="0" y="1"/>
            <a:ext cx="17068800" cy="9601200"/>
            <a:chOff x="6350" y="0"/>
            <a:chExt cx="12179301" cy="6858001"/>
          </a:xfrm>
        </p:grpSpPr>
        <p:sp>
          <p:nvSpPr>
            <p:cNvPr id="21" name="AutoShape 3">
              <a:extLst>
                <a:ext uri="{FF2B5EF4-FFF2-40B4-BE49-F238E27FC236}">
                  <a16:creationId xmlns:a16="http://schemas.microsoft.com/office/drawing/2014/main" id="{34F71AEF-C50A-46C0-8058-5A9D90A18D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350" y="0"/>
              <a:ext cx="121793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096" rtl="0"/>
              <a:endParaRPr lang="en-US" sz="2520" kern="1200">
                <a:solidFill>
                  <a:prstClr val="black"/>
                </a:solidFill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87541977-60C1-49E5-BDBB-517460413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85563" y="0"/>
              <a:ext cx="595313" cy="433388"/>
            </a:xfrm>
            <a:custGeom>
              <a:avLst/>
              <a:gdLst>
                <a:gd name="T0" fmla="*/ 1873 w 1873"/>
                <a:gd name="T1" fmla="*/ 0 h 1366"/>
                <a:gd name="T2" fmla="*/ 105 w 1873"/>
                <a:gd name="T3" fmla="*/ 755 h 1366"/>
                <a:gd name="T4" fmla="*/ 92 w 1873"/>
                <a:gd name="T5" fmla="*/ 768 h 1366"/>
                <a:gd name="T6" fmla="*/ 70 w 1873"/>
                <a:gd name="T7" fmla="*/ 796 h 1366"/>
                <a:gd name="T8" fmla="*/ 50 w 1873"/>
                <a:gd name="T9" fmla="*/ 825 h 1366"/>
                <a:gd name="T10" fmla="*/ 33 w 1873"/>
                <a:gd name="T11" fmla="*/ 857 h 1366"/>
                <a:gd name="T12" fmla="*/ 20 w 1873"/>
                <a:gd name="T13" fmla="*/ 890 h 1366"/>
                <a:gd name="T14" fmla="*/ 11 w 1873"/>
                <a:gd name="T15" fmla="*/ 923 h 1366"/>
                <a:gd name="T16" fmla="*/ 4 w 1873"/>
                <a:gd name="T17" fmla="*/ 957 h 1366"/>
                <a:gd name="T18" fmla="*/ 0 w 1873"/>
                <a:gd name="T19" fmla="*/ 991 h 1366"/>
                <a:gd name="T20" fmla="*/ 0 w 1873"/>
                <a:gd name="T21" fmla="*/ 1025 h 1366"/>
                <a:gd name="T22" fmla="*/ 4 w 1873"/>
                <a:gd name="T23" fmla="*/ 1059 h 1366"/>
                <a:gd name="T24" fmla="*/ 11 w 1873"/>
                <a:gd name="T25" fmla="*/ 1093 h 1366"/>
                <a:gd name="T26" fmla="*/ 20 w 1873"/>
                <a:gd name="T27" fmla="*/ 1126 h 1366"/>
                <a:gd name="T28" fmla="*/ 33 w 1873"/>
                <a:gd name="T29" fmla="*/ 1158 h 1366"/>
                <a:gd name="T30" fmla="*/ 50 w 1873"/>
                <a:gd name="T31" fmla="*/ 1190 h 1366"/>
                <a:gd name="T32" fmla="*/ 70 w 1873"/>
                <a:gd name="T33" fmla="*/ 1219 h 1366"/>
                <a:gd name="T34" fmla="*/ 92 w 1873"/>
                <a:gd name="T35" fmla="*/ 1248 h 1366"/>
                <a:gd name="T36" fmla="*/ 105 w 1873"/>
                <a:gd name="T37" fmla="*/ 1261 h 1366"/>
                <a:gd name="T38" fmla="*/ 132 w 1873"/>
                <a:gd name="T39" fmla="*/ 1285 h 1366"/>
                <a:gd name="T40" fmla="*/ 161 w 1873"/>
                <a:gd name="T41" fmla="*/ 1306 h 1366"/>
                <a:gd name="T42" fmla="*/ 192 w 1873"/>
                <a:gd name="T43" fmla="*/ 1325 h 1366"/>
                <a:gd name="T44" fmla="*/ 223 w 1873"/>
                <a:gd name="T45" fmla="*/ 1339 h 1366"/>
                <a:gd name="T46" fmla="*/ 256 w 1873"/>
                <a:gd name="T47" fmla="*/ 1351 h 1366"/>
                <a:gd name="T48" fmla="*/ 290 w 1873"/>
                <a:gd name="T49" fmla="*/ 1359 h 1366"/>
                <a:gd name="T50" fmla="*/ 324 w 1873"/>
                <a:gd name="T51" fmla="*/ 1364 h 1366"/>
                <a:gd name="T52" fmla="*/ 358 w 1873"/>
                <a:gd name="T53" fmla="*/ 1366 h 1366"/>
                <a:gd name="T54" fmla="*/ 392 w 1873"/>
                <a:gd name="T55" fmla="*/ 1364 h 1366"/>
                <a:gd name="T56" fmla="*/ 427 w 1873"/>
                <a:gd name="T57" fmla="*/ 1359 h 1366"/>
                <a:gd name="T58" fmla="*/ 461 w 1873"/>
                <a:gd name="T59" fmla="*/ 1351 h 1366"/>
                <a:gd name="T60" fmla="*/ 493 w 1873"/>
                <a:gd name="T61" fmla="*/ 1339 h 1366"/>
                <a:gd name="T62" fmla="*/ 525 w 1873"/>
                <a:gd name="T63" fmla="*/ 1325 h 1366"/>
                <a:gd name="T64" fmla="*/ 556 w 1873"/>
                <a:gd name="T65" fmla="*/ 1306 h 1366"/>
                <a:gd name="T66" fmla="*/ 585 w 1873"/>
                <a:gd name="T67" fmla="*/ 1285 h 1366"/>
                <a:gd name="T68" fmla="*/ 612 w 1873"/>
                <a:gd name="T69" fmla="*/ 1261 h 1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73" h="1366">
                  <a:moveTo>
                    <a:pt x="612" y="1261"/>
                  </a:moveTo>
                  <a:lnTo>
                    <a:pt x="1873" y="0"/>
                  </a:lnTo>
                  <a:lnTo>
                    <a:pt x="860" y="0"/>
                  </a:lnTo>
                  <a:lnTo>
                    <a:pt x="105" y="755"/>
                  </a:lnTo>
                  <a:lnTo>
                    <a:pt x="105" y="755"/>
                  </a:lnTo>
                  <a:lnTo>
                    <a:pt x="92" y="768"/>
                  </a:lnTo>
                  <a:lnTo>
                    <a:pt x="80" y="782"/>
                  </a:lnTo>
                  <a:lnTo>
                    <a:pt x="70" y="796"/>
                  </a:lnTo>
                  <a:lnTo>
                    <a:pt x="59" y="811"/>
                  </a:lnTo>
                  <a:lnTo>
                    <a:pt x="50" y="825"/>
                  </a:lnTo>
                  <a:lnTo>
                    <a:pt x="41" y="842"/>
                  </a:lnTo>
                  <a:lnTo>
                    <a:pt x="33" y="857"/>
                  </a:lnTo>
                  <a:lnTo>
                    <a:pt x="26" y="873"/>
                  </a:lnTo>
                  <a:lnTo>
                    <a:pt x="20" y="890"/>
                  </a:lnTo>
                  <a:lnTo>
                    <a:pt x="14" y="906"/>
                  </a:lnTo>
                  <a:lnTo>
                    <a:pt x="11" y="923"/>
                  </a:lnTo>
                  <a:lnTo>
                    <a:pt x="6" y="939"/>
                  </a:lnTo>
                  <a:lnTo>
                    <a:pt x="4" y="957"/>
                  </a:lnTo>
                  <a:lnTo>
                    <a:pt x="2" y="973"/>
                  </a:lnTo>
                  <a:lnTo>
                    <a:pt x="0" y="991"/>
                  </a:lnTo>
                  <a:lnTo>
                    <a:pt x="0" y="1007"/>
                  </a:lnTo>
                  <a:lnTo>
                    <a:pt x="0" y="1025"/>
                  </a:lnTo>
                  <a:lnTo>
                    <a:pt x="2" y="1042"/>
                  </a:lnTo>
                  <a:lnTo>
                    <a:pt x="4" y="1059"/>
                  </a:lnTo>
                  <a:lnTo>
                    <a:pt x="6" y="1076"/>
                  </a:lnTo>
                  <a:lnTo>
                    <a:pt x="11" y="1093"/>
                  </a:lnTo>
                  <a:lnTo>
                    <a:pt x="14" y="1109"/>
                  </a:lnTo>
                  <a:lnTo>
                    <a:pt x="20" y="1126"/>
                  </a:lnTo>
                  <a:lnTo>
                    <a:pt x="26" y="1142"/>
                  </a:lnTo>
                  <a:lnTo>
                    <a:pt x="33" y="1158"/>
                  </a:lnTo>
                  <a:lnTo>
                    <a:pt x="41" y="1174"/>
                  </a:lnTo>
                  <a:lnTo>
                    <a:pt x="50" y="1190"/>
                  </a:lnTo>
                  <a:lnTo>
                    <a:pt x="59" y="1204"/>
                  </a:lnTo>
                  <a:lnTo>
                    <a:pt x="70" y="1219"/>
                  </a:lnTo>
                  <a:lnTo>
                    <a:pt x="80" y="1234"/>
                  </a:lnTo>
                  <a:lnTo>
                    <a:pt x="92" y="1248"/>
                  </a:lnTo>
                  <a:lnTo>
                    <a:pt x="105" y="1261"/>
                  </a:lnTo>
                  <a:lnTo>
                    <a:pt x="105" y="1261"/>
                  </a:lnTo>
                  <a:lnTo>
                    <a:pt x="119" y="1273"/>
                  </a:lnTo>
                  <a:lnTo>
                    <a:pt x="132" y="1285"/>
                  </a:lnTo>
                  <a:lnTo>
                    <a:pt x="147" y="1297"/>
                  </a:lnTo>
                  <a:lnTo>
                    <a:pt x="161" y="1306"/>
                  </a:lnTo>
                  <a:lnTo>
                    <a:pt x="176" y="1316"/>
                  </a:lnTo>
                  <a:lnTo>
                    <a:pt x="192" y="1325"/>
                  </a:lnTo>
                  <a:lnTo>
                    <a:pt x="208" y="1332"/>
                  </a:lnTo>
                  <a:lnTo>
                    <a:pt x="223" y="1339"/>
                  </a:lnTo>
                  <a:lnTo>
                    <a:pt x="240" y="1346"/>
                  </a:lnTo>
                  <a:lnTo>
                    <a:pt x="256" y="1351"/>
                  </a:lnTo>
                  <a:lnTo>
                    <a:pt x="273" y="1356"/>
                  </a:lnTo>
                  <a:lnTo>
                    <a:pt x="290" y="1359"/>
                  </a:lnTo>
                  <a:lnTo>
                    <a:pt x="307" y="1363"/>
                  </a:lnTo>
                  <a:lnTo>
                    <a:pt x="324" y="1364"/>
                  </a:lnTo>
                  <a:lnTo>
                    <a:pt x="341" y="1365"/>
                  </a:lnTo>
                  <a:lnTo>
                    <a:pt x="358" y="1366"/>
                  </a:lnTo>
                  <a:lnTo>
                    <a:pt x="376" y="1365"/>
                  </a:lnTo>
                  <a:lnTo>
                    <a:pt x="392" y="1364"/>
                  </a:lnTo>
                  <a:lnTo>
                    <a:pt x="410" y="1363"/>
                  </a:lnTo>
                  <a:lnTo>
                    <a:pt x="427" y="1359"/>
                  </a:lnTo>
                  <a:lnTo>
                    <a:pt x="444" y="1356"/>
                  </a:lnTo>
                  <a:lnTo>
                    <a:pt x="461" y="1351"/>
                  </a:lnTo>
                  <a:lnTo>
                    <a:pt x="477" y="1346"/>
                  </a:lnTo>
                  <a:lnTo>
                    <a:pt x="493" y="1339"/>
                  </a:lnTo>
                  <a:lnTo>
                    <a:pt x="510" y="1332"/>
                  </a:lnTo>
                  <a:lnTo>
                    <a:pt x="525" y="1325"/>
                  </a:lnTo>
                  <a:lnTo>
                    <a:pt x="540" y="1316"/>
                  </a:lnTo>
                  <a:lnTo>
                    <a:pt x="556" y="1306"/>
                  </a:lnTo>
                  <a:lnTo>
                    <a:pt x="571" y="1297"/>
                  </a:lnTo>
                  <a:lnTo>
                    <a:pt x="585" y="1285"/>
                  </a:lnTo>
                  <a:lnTo>
                    <a:pt x="598" y="1273"/>
                  </a:lnTo>
                  <a:lnTo>
                    <a:pt x="612" y="1261"/>
                  </a:lnTo>
                  <a:lnTo>
                    <a:pt x="612" y="126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096" rtl="0"/>
              <a:endParaRPr lang="en-US" sz="2520" kern="1200">
                <a:solidFill>
                  <a:prstClr val="black"/>
                </a:solidFill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C6990F3-97BB-446B-939B-ADE02116C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675" y="6402388"/>
              <a:ext cx="617538" cy="455613"/>
            </a:xfrm>
            <a:custGeom>
              <a:avLst/>
              <a:gdLst>
                <a:gd name="T0" fmla="*/ 0 w 1944"/>
                <a:gd name="T1" fmla="*/ 1437 h 1437"/>
                <a:gd name="T2" fmla="*/ 1839 w 1944"/>
                <a:gd name="T3" fmla="*/ 612 h 1437"/>
                <a:gd name="T4" fmla="*/ 1852 w 1944"/>
                <a:gd name="T5" fmla="*/ 599 h 1437"/>
                <a:gd name="T6" fmla="*/ 1875 w 1944"/>
                <a:gd name="T7" fmla="*/ 571 h 1437"/>
                <a:gd name="T8" fmla="*/ 1894 w 1944"/>
                <a:gd name="T9" fmla="*/ 541 h 1437"/>
                <a:gd name="T10" fmla="*/ 1910 w 1944"/>
                <a:gd name="T11" fmla="*/ 510 h 1437"/>
                <a:gd name="T12" fmla="*/ 1924 w 1944"/>
                <a:gd name="T13" fmla="*/ 477 h 1437"/>
                <a:gd name="T14" fmla="*/ 1934 w 1944"/>
                <a:gd name="T15" fmla="*/ 444 h 1437"/>
                <a:gd name="T16" fmla="*/ 1941 w 1944"/>
                <a:gd name="T17" fmla="*/ 410 h 1437"/>
                <a:gd name="T18" fmla="*/ 1943 w 1944"/>
                <a:gd name="T19" fmla="*/ 376 h 1437"/>
                <a:gd name="T20" fmla="*/ 1943 w 1944"/>
                <a:gd name="T21" fmla="*/ 342 h 1437"/>
                <a:gd name="T22" fmla="*/ 1941 w 1944"/>
                <a:gd name="T23" fmla="*/ 308 h 1437"/>
                <a:gd name="T24" fmla="*/ 1934 w 1944"/>
                <a:gd name="T25" fmla="*/ 274 h 1437"/>
                <a:gd name="T26" fmla="*/ 1924 w 1944"/>
                <a:gd name="T27" fmla="*/ 241 h 1437"/>
                <a:gd name="T28" fmla="*/ 1910 w 1944"/>
                <a:gd name="T29" fmla="*/ 208 h 1437"/>
                <a:gd name="T30" fmla="*/ 1894 w 1944"/>
                <a:gd name="T31" fmla="*/ 176 h 1437"/>
                <a:gd name="T32" fmla="*/ 1875 w 1944"/>
                <a:gd name="T33" fmla="*/ 147 h 1437"/>
                <a:gd name="T34" fmla="*/ 1852 w 1944"/>
                <a:gd name="T35" fmla="*/ 119 h 1437"/>
                <a:gd name="T36" fmla="*/ 1839 w 1944"/>
                <a:gd name="T37" fmla="*/ 106 h 1437"/>
                <a:gd name="T38" fmla="*/ 1812 w 1944"/>
                <a:gd name="T39" fmla="*/ 81 h 1437"/>
                <a:gd name="T40" fmla="*/ 1782 w 1944"/>
                <a:gd name="T41" fmla="*/ 60 h 1437"/>
                <a:gd name="T42" fmla="*/ 1752 w 1944"/>
                <a:gd name="T43" fmla="*/ 41 h 1437"/>
                <a:gd name="T44" fmla="*/ 1720 w 1944"/>
                <a:gd name="T45" fmla="*/ 27 h 1437"/>
                <a:gd name="T46" fmla="*/ 1687 w 1944"/>
                <a:gd name="T47" fmla="*/ 16 h 1437"/>
                <a:gd name="T48" fmla="*/ 1654 w 1944"/>
                <a:gd name="T49" fmla="*/ 7 h 1437"/>
                <a:gd name="T50" fmla="*/ 1620 w 1944"/>
                <a:gd name="T51" fmla="*/ 3 h 1437"/>
                <a:gd name="T52" fmla="*/ 1585 w 1944"/>
                <a:gd name="T53" fmla="*/ 0 h 1437"/>
                <a:gd name="T54" fmla="*/ 1551 w 1944"/>
                <a:gd name="T55" fmla="*/ 3 h 1437"/>
                <a:gd name="T56" fmla="*/ 1517 w 1944"/>
                <a:gd name="T57" fmla="*/ 7 h 1437"/>
                <a:gd name="T58" fmla="*/ 1484 w 1944"/>
                <a:gd name="T59" fmla="*/ 16 h 1437"/>
                <a:gd name="T60" fmla="*/ 1451 w 1944"/>
                <a:gd name="T61" fmla="*/ 27 h 1437"/>
                <a:gd name="T62" fmla="*/ 1420 w 1944"/>
                <a:gd name="T63" fmla="*/ 41 h 1437"/>
                <a:gd name="T64" fmla="*/ 1389 w 1944"/>
                <a:gd name="T65" fmla="*/ 60 h 1437"/>
                <a:gd name="T66" fmla="*/ 1360 w 1944"/>
                <a:gd name="T67" fmla="*/ 81 h 1437"/>
                <a:gd name="T68" fmla="*/ 1333 w 1944"/>
                <a:gd name="T69" fmla="*/ 106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44" h="1437">
                  <a:moveTo>
                    <a:pt x="1333" y="106"/>
                  </a:moveTo>
                  <a:lnTo>
                    <a:pt x="0" y="1437"/>
                  </a:lnTo>
                  <a:lnTo>
                    <a:pt x="1013" y="1437"/>
                  </a:lnTo>
                  <a:lnTo>
                    <a:pt x="1839" y="612"/>
                  </a:lnTo>
                  <a:lnTo>
                    <a:pt x="1839" y="612"/>
                  </a:lnTo>
                  <a:lnTo>
                    <a:pt x="1852" y="599"/>
                  </a:lnTo>
                  <a:lnTo>
                    <a:pt x="1863" y="585"/>
                  </a:lnTo>
                  <a:lnTo>
                    <a:pt x="1875" y="571"/>
                  </a:lnTo>
                  <a:lnTo>
                    <a:pt x="1884" y="556"/>
                  </a:lnTo>
                  <a:lnTo>
                    <a:pt x="1894" y="541"/>
                  </a:lnTo>
                  <a:lnTo>
                    <a:pt x="1903" y="525"/>
                  </a:lnTo>
                  <a:lnTo>
                    <a:pt x="1910" y="510"/>
                  </a:lnTo>
                  <a:lnTo>
                    <a:pt x="1917" y="493"/>
                  </a:lnTo>
                  <a:lnTo>
                    <a:pt x="1924" y="477"/>
                  </a:lnTo>
                  <a:lnTo>
                    <a:pt x="1929" y="460"/>
                  </a:lnTo>
                  <a:lnTo>
                    <a:pt x="1934" y="444"/>
                  </a:lnTo>
                  <a:lnTo>
                    <a:pt x="1937" y="428"/>
                  </a:lnTo>
                  <a:lnTo>
                    <a:pt x="1941" y="410"/>
                  </a:lnTo>
                  <a:lnTo>
                    <a:pt x="1942" y="394"/>
                  </a:lnTo>
                  <a:lnTo>
                    <a:pt x="1943" y="376"/>
                  </a:lnTo>
                  <a:lnTo>
                    <a:pt x="1944" y="360"/>
                  </a:lnTo>
                  <a:lnTo>
                    <a:pt x="1943" y="342"/>
                  </a:lnTo>
                  <a:lnTo>
                    <a:pt x="1942" y="324"/>
                  </a:lnTo>
                  <a:lnTo>
                    <a:pt x="1941" y="308"/>
                  </a:lnTo>
                  <a:lnTo>
                    <a:pt x="1937" y="290"/>
                  </a:lnTo>
                  <a:lnTo>
                    <a:pt x="1934" y="274"/>
                  </a:lnTo>
                  <a:lnTo>
                    <a:pt x="1929" y="257"/>
                  </a:lnTo>
                  <a:lnTo>
                    <a:pt x="1924" y="241"/>
                  </a:lnTo>
                  <a:lnTo>
                    <a:pt x="1917" y="225"/>
                  </a:lnTo>
                  <a:lnTo>
                    <a:pt x="1910" y="208"/>
                  </a:lnTo>
                  <a:lnTo>
                    <a:pt x="1903" y="193"/>
                  </a:lnTo>
                  <a:lnTo>
                    <a:pt x="1894" y="176"/>
                  </a:lnTo>
                  <a:lnTo>
                    <a:pt x="1884" y="162"/>
                  </a:lnTo>
                  <a:lnTo>
                    <a:pt x="1875" y="147"/>
                  </a:lnTo>
                  <a:lnTo>
                    <a:pt x="1863" y="133"/>
                  </a:lnTo>
                  <a:lnTo>
                    <a:pt x="1852" y="119"/>
                  </a:lnTo>
                  <a:lnTo>
                    <a:pt x="1839" y="106"/>
                  </a:lnTo>
                  <a:lnTo>
                    <a:pt x="1839" y="106"/>
                  </a:lnTo>
                  <a:lnTo>
                    <a:pt x="1826" y="93"/>
                  </a:lnTo>
                  <a:lnTo>
                    <a:pt x="1812" y="81"/>
                  </a:lnTo>
                  <a:lnTo>
                    <a:pt x="1798" y="70"/>
                  </a:lnTo>
                  <a:lnTo>
                    <a:pt x="1782" y="60"/>
                  </a:lnTo>
                  <a:lnTo>
                    <a:pt x="1768" y="51"/>
                  </a:lnTo>
                  <a:lnTo>
                    <a:pt x="1752" y="41"/>
                  </a:lnTo>
                  <a:lnTo>
                    <a:pt x="1737" y="34"/>
                  </a:lnTo>
                  <a:lnTo>
                    <a:pt x="1720" y="27"/>
                  </a:lnTo>
                  <a:lnTo>
                    <a:pt x="1704" y="20"/>
                  </a:lnTo>
                  <a:lnTo>
                    <a:pt x="1687" y="16"/>
                  </a:lnTo>
                  <a:lnTo>
                    <a:pt x="1671" y="11"/>
                  </a:lnTo>
                  <a:lnTo>
                    <a:pt x="1654" y="7"/>
                  </a:lnTo>
                  <a:lnTo>
                    <a:pt x="1637" y="4"/>
                  </a:lnTo>
                  <a:lnTo>
                    <a:pt x="1620" y="3"/>
                  </a:lnTo>
                  <a:lnTo>
                    <a:pt x="1603" y="2"/>
                  </a:lnTo>
                  <a:lnTo>
                    <a:pt x="1585" y="0"/>
                  </a:lnTo>
                  <a:lnTo>
                    <a:pt x="1569" y="2"/>
                  </a:lnTo>
                  <a:lnTo>
                    <a:pt x="1551" y="3"/>
                  </a:lnTo>
                  <a:lnTo>
                    <a:pt x="1535" y="4"/>
                  </a:lnTo>
                  <a:lnTo>
                    <a:pt x="1517" y="7"/>
                  </a:lnTo>
                  <a:lnTo>
                    <a:pt x="1501" y="11"/>
                  </a:lnTo>
                  <a:lnTo>
                    <a:pt x="1484" y="16"/>
                  </a:lnTo>
                  <a:lnTo>
                    <a:pt x="1468" y="20"/>
                  </a:lnTo>
                  <a:lnTo>
                    <a:pt x="1451" y="27"/>
                  </a:lnTo>
                  <a:lnTo>
                    <a:pt x="1435" y="34"/>
                  </a:lnTo>
                  <a:lnTo>
                    <a:pt x="1420" y="41"/>
                  </a:lnTo>
                  <a:lnTo>
                    <a:pt x="1403" y="51"/>
                  </a:lnTo>
                  <a:lnTo>
                    <a:pt x="1389" y="60"/>
                  </a:lnTo>
                  <a:lnTo>
                    <a:pt x="1374" y="70"/>
                  </a:lnTo>
                  <a:lnTo>
                    <a:pt x="1360" y="81"/>
                  </a:lnTo>
                  <a:lnTo>
                    <a:pt x="1346" y="93"/>
                  </a:lnTo>
                  <a:lnTo>
                    <a:pt x="1333" y="106"/>
                  </a:lnTo>
                  <a:lnTo>
                    <a:pt x="1333" y="10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096" rtl="0"/>
              <a:endParaRPr lang="en-US" sz="2520" kern="1200">
                <a:solidFill>
                  <a:prstClr val="black"/>
                </a:solidFill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79EF38B5-7EE3-4B83-901A-3CFC9AA43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" y="0"/>
              <a:ext cx="12179300" cy="6858000"/>
            </a:xfrm>
            <a:custGeom>
              <a:avLst/>
              <a:gdLst>
                <a:gd name="T0" fmla="*/ 30872 w 38360"/>
                <a:gd name="T1" fmla="*/ 11788 h 21600"/>
                <a:gd name="T2" fmla="*/ 30767 w 38360"/>
                <a:gd name="T3" fmla="*/ 11497 h 21600"/>
                <a:gd name="T4" fmla="*/ 32772 w 38360"/>
                <a:gd name="T5" fmla="*/ 9369 h 21600"/>
                <a:gd name="T6" fmla="*/ 32827 w 38360"/>
                <a:gd name="T7" fmla="*/ 9051 h 21600"/>
                <a:gd name="T8" fmla="*/ 32616 w 38360"/>
                <a:gd name="T9" fmla="*/ 8818 h 21600"/>
                <a:gd name="T10" fmla="*/ 32296 w 38360"/>
                <a:gd name="T11" fmla="*/ 8842 h 21600"/>
                <a:gd name="T12" fmla="*/ 28382 w 38360"/>
                <a:gd name="T13" fmla="*/ 12653 h 21600"/>
                <a:gd name="T14" fmla="*/ 28069 w 38360"/>
                <a:gd name="T15" fmla="*/ 12566 h 21600"/>
                <a:gd name="T16" fmla="*/ 27950 w 38360"/>
                <a:gd name="T17" fmla="*/ 12279 h 21600"/>
                <a:gd name="T18" fmla="*/ 32028 w 38360"/>
                <a:gd name="T19" fmla="*/ 8066 h 21600"/>
                <a:gd name="T20" fmla="*/ 32098 w 38360"/>
                <a:gd name="T21" fmla="*/ 7751 h 21600"/>
                <a:gd name="T22" fmla="*/ 31900 w 38360"/>
                <a:gd name="T23" fmla="*/ 7508 h 21600"/>
                <a:gd name="T24" fmla="*/ 31578 w 38360"/>
                <a:gd name="T25" fmla="*/ 7517 h 21600"/>
                <a:gd name="T26" fmla="*/ 29539 w 38360"/>
                <a:gd name="T27" fmla="*/ 9458 h 21600"/>
                <a:gd name="T28" fmla="*/ 29223 w 38360"/>
                <a:gd name="T29" fmla="*/ 9387 h 21600"/>
                <a:gd name="T30" fmla="*/ 29091 w 38360"/>
                <a:gd name="T31" fmla="*/ 9106 h 21600"/>
                <a:gd name="T32" fmla="*/ 30056 w 38360"/>
                <a:gd name="T33" fmla="*/ 7977 h 21600"/>
                <a:gd name="T34" fmla="*/ 29937 w 38360"/>
                <a:gd name="T35" fmla="*/ 7546 h 21600"/>
                <a:gd name="T36" fmla="*/ 29619 w 38360"/>
                <a:gd name="T37" fmla="*/ 7491 h 21600"/>
                <a:gd name="T38" fmla="*/ 28788 w 38360"/>
                <a:gd name="T39" fmla="*/ 8237 h 21600"/>
                <a:gd name="T40" fmla="*/ 28467 w 38360"/>
                <a:gd name="T41" fmla="*/ 8245 h 21600"/>
                <a:gd name="T42" fmla="*/ 28268 w 38360"/>
                <a:gd name="T43" fmla="*/ 8002 h 21600"/>
                <a:gd name="T44" fmla="*/ 28338 w 38360"/>
                <a:gd name="T45" fmla="*/ 7688 h 21600"/>
                <a:gd name="T46" fmla="*/ 30575 w 38360"/>
                <a:gd name="T47" fmla="*/ 5317 h 21600"/>
                <a:gd name="T48" fmla="*/ 30468 w 38360"/>
                <a:gd name="T49" fmla="*/ 5043 h 21600"/>
                <a:gd name="T50" fmla="*/ 30160 w 38360"/>
                <a:gd name="T51" fmla="*/ 4940 h 21600"/>
                <a:gd name="T52" fmla="*/ 29566 w 38360"/>
                <a:gd name="T53" fmla="*/ 5421 h 21600"/>
                <a:gd name="T54" fmla="*/ 29247 w 38360"/>
                <a:gd name="T55" fmla="*/ 5461 h 21600"/>
                <a:gd name="T56" fmla="*/ 29025 w 38360"/>
                <a:gd name="T57" fmla="*/ 5238 h 21600"/>
                <a:gd name="T58" fmla="*/ 29065 w 38360"/>
                <a:gd name="T59" fmla="*/ 4919 h 21600"/>
                <a:gd name="T60" fmla="*/ 9256 w 38360"/>
                <a:gd name="T61" fmla="*/ 9649 h 21600"/>
                <a:gd name="T62" fmla="*/ 9512 w 38360"/>
                <a:gd name="T63" fmla="*/ 9912 h 21600"/>
                <a:gd name="T64" fmla="*/ 9442 w 38360"/>
                <a:gd name="T65" fmla="*/ 10227 h 21600"/>
                <a:gd name="T66" fmla="*/ 7446 w 38360"/>
                <a:gd name="T67" fmla="*/ 12358 h 21600"/>
                <a:gd name="T68" fmla="*/ 7566 w 38360"/>
                <a:gd name="T69" fmla="*/ 12645 h 21600"/>
                <a:gd name="T70" fmla="*/ 7877 w 38360"/>
                <a:gd name="T71" fmla="*/ 12731 h 21600"/>
                <a:gd name="T72" fmla="*/ 11792 w 38360"/>
                <a:gd name="T73" fmla="*/ 8920 h 21600"/>
                <a:gd name="T74" fmla="*/ 12112 w 38360"/>
                <a:gd name="T75" fmla="*/ 8897 h 21600"/>
                <a:gd name="T76" fmla="*/ 12324 w 38360"/>
                <a:gd name="T77" fmla="*/ 9130 h 21600"/>
                <a:gd name="T78" fmla="*/ 12269 w 38360"/>
                <a:gd name="T79" fmla="*/ 9447 h 21600"/>
                <a:gd name="T80" fmla="*/ 8181 w 38360"/>
                <a:gd name="T81" fmla="*/ 13657 h 21600"/>
                <a:gd name="T82" fmla="*/ 8285 w 38360"/>
                <a:gd name="T83" fmla="*/ 13949 h 21600"/>
                <a:gd name="T84" fmla="*/ 8593 w 38360"/>
                <a:gd name="T85" fmla="*/ 14051 h 21600"/>
                <a:gd name="T86" fmla="*/ 10636 w 38360"/>
                <a:gd name="T87" fmla="*/ 12121 h 21600"/>
                <a:gd name="T88" fmla="*/ 10955 w 38360"/>
                <a:gd name="T89" fmla="*/ 12081 h 21600"/>
                <a:gd name="T90" fmla="*/ 11178 w 38360"/>
                <a:gd name="T91" fmla="*/ 12303 h 21600"/>
                <a:gd name="T92" fmla="*/ 11138 w 38360"/>
                <a:gd name="T93" fmla="*/ 12622 h 21600"/>
                <a:gd name="T94" fmla="*/ 10255 w 38360"/>
                <a:gd name="T95" fmla="*/ 13878 h 21600"/>
                <a:gd name="T96" fmla="*/ 10548 w 38360"/>
                <a:gd name="T97" fmla="*/ 14053 h 21600"/>
                <a:gd name="T98" fmla="*/ 11412 w 38360"/>
                <a:gd name="T99" fmla="*/ 13357 h 21600"/>
                <a:gd name="T100" fmla="*/ 11703 w 38360"/>
                <a:gd name="T101" fmla="*/ 13252 h 21600"/>
                <a:gd name="T102" fmla="*/ 11972 w 38360"/>
                <a:gd name="T103" fmla="*/ 13414 h 21600"/>
                <a:gd name="T104" fmla="*/ 12010 w 38360"/>
                <a:gd name="T105" fmla="*/ 13734 h 21600"/>
                <a:gd name="T106" fmla="*/ 9740 w 38360"/>
                <a:gd name="T107" fmla="*/ 16094 h 21600"/>
                <a:gd name="T108" fmla="*/ 9763 w 38360"/>
                <a:gd name="T109" fmla="*/ 16414 h 21600"/>
                <a:gd name="T110" fmla="*/ 10006 w 38360"/>
                <a:gd name="T111" fmla="*/ 16586 h 21600"/>
                <a:gd name="T112" fmla="*/ 10319 w 38360"/>
                <a:gd name="T113" fmla="*/ 16499 h 21600"/>
                <a:gd name="T114" fmla="*/ 10921 w 38360"/>
                <a:gd name="T115" fmla="*/ 16048 h 21600"/>
                <a:gd name="T116" fmla="*/ 11201 w 38360"/>
                <a:gd name="T117" fmla="*/ 16182 h 21600"/>
                <a:gd name="T118" fmla="*/ 11273 w 38360"/>
                <a:gd name="T119" fmla="*/ 1649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360" h="21600">
                  <a:moveTo>
                    <a:pt x="31324" y="11836"/>
                  </a:moveTo>
                  <a:lnTo>
                    <a:pt x="31324" y="11836"/>
                  </a:lnTo>
                  <a:lnTo>
                    <a:pt x="31298" y="11851"/>
                  </a:lnTo>
                  <a:lnTo>
                    <a:pt x="31270" y="11864"/>
                  </a:lnTo>
                  <a:lnTo>
                    <a:pt x="31240" y="11876"/>
                  </a:lnTo>
                  <a:lnTo>
                    <a:pt x="31211" y="11884"/>
                  </a:lnTo>
                  <a:lnTo>
                    <a:pt x="31182" y="11890"/>
                  </a:lnTo>
                  <a:lnTo>
                    <a:pt x="31151" y="11892"/>
                  </a:lnTo>
                  <a:lnTo>
                    <a:pt x="31122" y="11893"/>
                  </a:lnTo>
                  <a:lnTo>
                    <a:pt x="31091" y="11891"/>
                  </a:lnTo>
                  <a:lnTo>
                    <a:pt x="31062" y="11887"/>
                  </a:lnTo>
                  <a:lnTo>
                    <a:pt x="31031" y="11880"/>
                  </a:lnTo>
                  <a:lnTo>
                    <a:pt x="31003" y="11871"/>
                  </a:lnTo>
                  <a:lnTo>
                    <a:pt x="30974" y="11859"/>
                  </a:lnTo>
                  <a:lnTo>
                    <a:pt x="30947" y="11845"/>
                  </a:lnTo>
                  <a:lnTo>
                    <a:pt x="30921" y="11829"/>
                  </a:lnTo>
                  <a:lnTo>
                    <a:pt x="30895" y="11809"/>
                  </a:lnTo>
                  <a:lnTo>
                    <a:pt x="30883" y="11798"/>
                  </a:lnTo>
                  <a:lnTo>
                    <a:pt x="30872" y="11788"/>
                  </a:lnTo>
                  <a:lnTo>
                    <a:pt x="30872" y="11788"/>
                  </a:lnTo>
                  <a:lnTo>
                    <a:pt x="30859" y="11774"/>
                  </a:lnTo>
                  <a:lnTo>
                    <a:pt x="30847" y="11760"/>
                  </a:lnTo>
                  <a:lnTo>
                    <a:pt x="30835" y="11745"/>
                  </a:lnTo>
                  <a:lnTo>
                    <a:pt x="30825" y="11730"/>
                  </a:lnTo>
                  <a:lnTo>
                    <a:pt x="30815" y="11715"/>
                  </a:lnTo>
                  <a:lnTo>
                    <a:pt x="30807" y="11700"/>
                  </a:lnTo>
                  <a:lnTo>
                    <a:pt x="30799" y="11683"/>
                  </a:lnTo>
                  <a:lnTo>
                    <a:pt x="30792" y="11668"/>
                  </a:lnTo>
                  <a:lnTo>
                    <a:pt x="30786" y="11652"/>
                  </a:lnTo>
                  <a:lnTo>
                    <a:pt x="30780" y="11634"/>
                  </a:lnTo>
                  <a:lnTo>
                    <a:pt x="30775" y="11617"/>
                  </a:lnTo>
                  <a:lnTo>
                    <a:pt x="30772" y="11600"/>
                  </a:lnTo>
                  <a:lnTo>
                    <a:pt x="30769" y="11583"/>
                  </a:lnTo>
                  <a:lnTo>
                    <a:pt x="30767" y="11566"/>
                  </a:lnTo>
                  <a:lnTo>
                    <a:pt x="30766" y="11548"/>
                  </a:lnTo>
                  <a:lnTo>
                    <a:pt x="30765" y="11531"/>
                  </a:lnTo>
                  <a:lnTo>
                    <a:pt x="30766" y="11514"/>
                  </a:lnTo>
                  <a:lnTo>
                    <a:pt x="30767" y="11497"/>
                  </a:lnTo>
                  <a:lnTo>
                    <a:pt x="30769" y="11479"/>
                  </a:lnTo>
                  <a:lnTo>
                    <a:pt x="30772" y="11461"/>
                  </a:lnTo>
                  <a:lnTo>
                    <a:pt x="30775" y="11445"/>
                  </a:lnTo>
                  <a:lnTo>
                    <a:pt x="30780" y="11429"/>
                  </a:lnTo>
                  <a:lnTo>
                    <a:pt x="30786" y="11411"/>
                  </a:lnTo>
                  <a:lnTo>
                    <a:pt x="30792" y="11394"/>
                  </a:lnTo>
                  <a:lnTo>
                    <a:pt x="30799" y="11378"/>
                  </a:lnTo>
                  <a:lnTo>
                    <a:pt x="30807" y="11363"/>
                  </a:lnTo>
                  <a:lnTo>
                    <a:pt x="30815" y="11348"/>
                  </a:lnTo>
                  <a:lnTo>
                    <a:pt x="30825" y="11332"/>
                  </a:lnTo>
                  <a:lnTo>
                    <a:pt x="30835" y="11317"/>
                  </a:lnTo>
                  <a:lnTo>
                    <a:pt x="30847" y="11303"/>
                  </a:lnTo>
                  <a:lnTo>
                    <a:pt x="30859" y="11289"/>
                  </a:lnTo>
                  <a:lnTo>
                    <a:pt x="30872" y="11275"/>
                  </a:lnTo>
                  <a:lnTo>
                    <a:pt x="32736" y="9411"/>
                  </a:lnTo>
                  <a:lnTo>
                    <a:pt x="32736" y="9411"/>
                  </a:lnTo>
                  <a:lnTo>
                    <a:pt x="32749" y="9397"/>
                  </a:lnTo>
                  <a:lnTo>
                    <a:pt x="32762" y="9383"/>
                  </a:lnTo>
                  <a:lnTo>
                    <a:pt x="32772" y="9369"/>
                  </a:lnTo>
                  <a:lnTo>
                    <a:pt x="32783" y="9353"/>
                  </a:lnTo>
                  <a:lnTo>
                    <a:pt x="32792" y="9338"/>
                  </a:lnTo>
                  <a:lnTo>
                    <a:pt x="32802" y="9323"/>
                  </a:lnTo>
                  <a:lnTo>
                    <a:pt x="32809" y="9306"/>
                  </a:lnTo>
                  <a:lnTo>
                    <a:pt x="32816" y="9290"/>
                  </a:lnTo>
                  <a:lnTo>
                    <a:pt x="32823" y="9274"/>
                  </a:lnTo>
                  <a:lnTo>
                    <a:pt x="32827" y="9257"/>
                  </a:lnTo>
                  <a:lnTo>
                    <a:pt x="32832" y="9241"/>
                  </a:lnTo>
                  <a:lnTo>
                    <a:pt x="32836" y="9223"/>
                  </a:lnTo>
                  <a:lnTo>
                    <a:pt x="32839" y="9207"/>
                  </a:lnTo>
                  <a:lnTo>
                    <a:pt x="32840" y="9189"/>
                  </a:lnTo>
                  <a:lnTo>
                    <a:pt x="32841" y="9171"/>
                  </a:lnTo>
                  <a:lnTo>
                    <a:pt x="32843" y="9154"/>
                  </a:lnTo>
                  <a:lnTo>
                    <a:pt x="32841" y="9136"/>
                  </a:lnTo>
                  <a:lnTo>
                    <a:pt x="32840" y="9120"/>
                  </a:lnTo>
                  <a:lnTo>
                    <a:pt x="32839" y="9102"/>
                  </a:lnTo>
                  <a:lnTo>
                    <a:pt x="32836" y="9085"/>
                  </a:lnTo>
                  <a:lnTo>
                    <a:pt x="32832" y="9068"/>
                  </a:lnTo>
                  <a:lnTo>
                    <a:pt x="32827" y="9051"/>
                  </a:lnTo>
                  <a:lnTo>
                    <a:pt x="32823" y="9034"/>
                  </a:lnTo>
                  <a:lnTo>
                    <a:pt x="32816" y="9018"/>
                  </a:lnTo>
                  <a:lnTo>
                    <a:pt x="32809" y="9001"/>
                  </a:lnTo>
                  <a:lnTo>
                    <a:pt x="32802" y="8986"/>
                  </a:lnTo>
                  <a:lnTo>
                    <a:pt x="32792" y="8970"/>
                  </a:lnTo>
                  <a:lnTo>
                    <a:pt x="32783" y="8954"/>
                  </a:lnTo>
                  <a:lnTo>
                    <a:pt x="32772" y="8940"/>
                  </a:lnTo>
                  <a:lnTo>
                    <a:pt x="32762" y="8925"/>
                  </a:lnTo>
                  <a:lnTo>
                    <a:pt x="32749" y="8911"/>
                  </a:lnTo>
                  <a:lnTo>
                    <a:pt x="32736" y="8898"/>
                  </a:lnTo>
                  <a:lnTo>
                    <a:pt x="32736" y="8898"/>
                  </a:lnTo>
                  <a:lnTo>
                    <a:pt x="32723" y="8885"/>
                  </a:lnTo>
                  <a:lnTo>
                    <a:pt x="32709" y="8873"/>
                  </a:lnTo>
                  <a:lnTo>
                    <a:pt x="32695" y="8862"/>
                  </a:lnTo>
                  <a:lnTo>
                    <a:pt x="32679" y="8851"/>
                  </a:lnTo>
                  <a:lnTo>
                    <a:pt x="32664" y="8842"/>
                  </a:lnTo>
                  <a:lnTo>
                    <a:pt x="32649" y="8833"/>
                  </a:lnTo>
                  <a:lnTo>
                    <a:pt x="32632" y="8825"/>
                  </a:lnTo>
                  <a:lnTo>
                    <a:pt x="32616" y="8818"/>
                  </a:lnTo>
                  <a:lnTo>
                    <a:pt x="32600" y="8812"/>
                  </a:lnTo>
                  <a:lnTo>
                    <a:pt x="32583" y="8806"/>
                  </a:lnTo>
                  <a:lnTo>
                    <a:pt x="32567" y="8802"/>
                  </a:lnTo>
                  <a:lnTo>
                    <a:pt x="32549" y="8798"/>
                  </a:lnTo>
                  <a:lnTo>
                    <a:pt x="32532" y="8796"/>
                  </a:lnTo>
                  <a:lnTo>
                    <a:pt x="32515" y="8794"/>
                  </a:lnTo>
                  <a:lnTo>
                    <a:pt x="32497" y="8792"/>
                  </a:lnTo>
                  <a:lnTo>
                    <a:pt x="32480" y="8792"/>
                  </a:lnTo>
                  <a:lnTo>
                    <a:pt x="32462" y="8792"/>
                  </a:lnTo>
                  <a:lnTo>
                    <a:pt x="32446" y="8794"/>
                  </a:lnTo>
                  <a:lnTo>
                    <a:pt x="32428" y="8796"/>
                  </a:lnTo>
                  <a:lnTo>
                    <a:pt x="32411" y="8798"/>
                  </a:lnTo>
                  <a:lnTo>
                    <a:pt x="32394" y="8802"/>
                  </a:lnTo>
                  <a:lnTo>
                    <a:pt x="32377" y="8806"/>
                  </a:lnTo>
                  <a:lnTo>
                    <a:pt x="32360" y="8812"/>
                  </a:lnTo>
                  <a:lnTo>
                    <a:pt x="32344" y="8818"/>
                  </a:lnTo>
                  <a:lnTo>
                    <a:pt x="32327" y="8825"/>
                  </a:lnTo>
                  <a:lnTo>
                    <a:pt x="32312" y="8833"/>
                  </a:lnTo>
                  <a:lnTo>
                    <a:pt x="32296" y="8842"/>
                  </a:lnTo>
                  <a:lnTo>
                    <a:pt x="32280" y="8851"/>
                  </a:lnTo>
                  <a:lnTo>
                    <a:pt x="32266" y="8862"/>
                  </a:lnTo>
                  <a:lnTo>
                    <a:pt x="32251" y="8873"/>
                  </a:lnTo>
                  <a:lnTo>
                    <a:pt x="32237" y="8885"/>
                  </a:lnTo>
                  <a:lnTo>
                    <a:pt x="32224" y="8898"/>
                  </a:lnTo>
                  <a:lnTo>
                    <a:pt x="28568" y="12553"/>
                  </a:lnTo>
                  <a:lnTo>
                    <a:pt x="28568" y="12553"/>
                  </a:lnTo>
                  <a:lnTo>
                    <a:pt x="28554" y="12566"/>
                  </a:lnTo>
                  <a:lnTo>
                    <a:pt x="28540" y="12578"/>
                  </a:lnTo>
                  <a:lnTo>
                    <a:pt x="28526" y="12589"/>
                  </a:lnTo>
                  <a:lnTo>
                    <a:pt x="28511" y="12599"/>
                  </a:lnTo>
                  <a:lnTo>
                    <a:pt x="28496" y="12609"/>
                  </a:lnTo>
                  <a:lnTo>
                    <a:pt x="28480" y="12618"/>
                  </a:lnTo>
                  <a:lnTo>
                    <a:pt x="28465" y="12626"/>
                  </a:lnTo>
                  <a:lnTo>
                    <a:pt x="28449" y="12633"/>
                  </a:lnTo>
                  <a:lnTo>
                    <a:pt x="28432" y="12639"/>
                  </a:lnTo>
                  <a:lnTo>
                    <a:pt x="28415" y="12645"/>
                  </a:lnTo>
                  <a:lnTo>
                    <a:pt x="28398" y="12648"/>
                  </a:lnTo>
                  <a:lnTo>
                    <a:pt x="28382" y="12653"/>
                  </a:lnTo>
                  <a:lnTo>
                    <a:pt x="28364" y="12655"/>
                  </a:lnTo>
                  <a:lnTo>
                    <a:pt x="28347" y="12657"/>
                  </a:lnTo>
                  <a:lnTo>
                    <a:pt x="28329" y="12659"/>
                  </a:lnTo>
                  <a:lnTo>
                    <a:pt x="28312" y="12659"/>
                  </a:lnTo>
                  <a:lnTo>
                    <a:pt x="28295" y="12659"/>
                  </a:lnTo>
                  <a:lnTo>
                    <a:pt x="28277" y="12657"/>
                  </a:lnTo>
                  <a:lnTo>
                    <a:pt x="28260" y="12655"/>
                  </a:lnTo>
                  <a:lnTo>
                    <a:pt x="28243" y="12653"/>
                  </a:lnTo>
                  <a:lnTo>
                    <a:pt x="28226" y="12648"/>
                  </a:lnTo>
                  <a:lnTo>
                    <a:pt x="28209" y="12645"/>
                  </a:lnTo>
                  <a:lnTo>
                    <a:pt x="28192" y="12639"/>
                  </a:lnTo>
                  <a:lnTo>
                    <a:pt x="28175" y="12633"/>
                  </a:lnTo>
                  <a:lnTo>
                    <a:pt x="28160" y="12626"/>
                  </a:lnTo>
                  <a:lnTo>
                    <a:pt x="28143" y="12618"/>
                  </a:lnTo>
                  <a:lnTo>
                    <a:pt x="28128" y="12609"/>
                  </a:lnTo>
                  <a:lnTo>
                    <a:pt x="28113" y="12599"/>
                  </a:lnTo>
                  <a:lnTo>
                    <a:pt x="28098" y="12589"/>
                  </a:lnTo>
                  <a:lnTo>
                    <a:pt x="28084" y="12578"/>
                  </a:lnTo>
                  <a:lnTo>
                    <a:pt x="28069" y="12566"/>
                  </a:lnTo>
                  <a:lnTo>
                    <a:pt x="28055" y="12553"/>
                  </a:lnTo>
                  <a:lnTo>
                    <a:pt x="28055" y="12553"/>
                  </a:lnTo>
                  <a:lnTo>
                    <a:pt x="28042" y="12539"/>
                  </a:lnTo>
                  <a:lnTo>
                    <a:pt x="28031" y="12525"/>
                  </a:lnTo>
                  <a:lnTo>
                    <a:pt x="28020" y="12511"/>
                  </a:lnTo>
                  <a:lnTo>
                    <a:pt x="28010" y="12495"/>
                  </a:lnTo>
                  <a:lnTo>
                    <a:pt x="28000" y="12480"/>
                  </a:lnTo>
                  <a:lnTo>
                    <a:pt x="27991" y="12465"/>
                  </a:lnTo>
                  <a:lnTo>
                    <a:pt x="27983" y="12450"/>
                  </a:lnTo>
                  <a:lnTo>
                    <a:pt x="27976" y="12433"/>
                  </a:lnTo>
                  <a:lnTo>
                    <a:pt x="27970" y="12417"/>
                  </a:lnTo>
                  <a:lnTo>
                    <a:pt x="27965" y="12399"/>
                  </a:lnTo>
                  <a:lnTo>
                    <a:pt x="27960" y="12383"/>
                  </a:lnTo>
                  <a:lnTo>
                    <a:pt x="27957" y="12366"/>
                  </a:lnTo>
                  <a:lnTo>
                    <a:pt x="27953" y="12349"/>
                  </a:lnTo>
                  <a:lnTo>
                    <a:pt x="27951" y="12331"/>
                  </a:lnTo>
                  <a:lnTo>
                    <a:pt x="27950" y="12314"/>
                  </a:lnTo>
                  <a:lnTo>
                    <a:pt x="27950" y="12297"/>
                  </a:lnTo>
                  <a:lnTo>
                    <a:pt x="27950" y="12279"/>
                  </a:lnTo>
                  <a:lnTo>
                    <a:pt x="27951" y="12262"/>
                  </a:lnTo>
                  <a:lnTo>
                    <a:pt x="27953" y="12244"/>
                  </a:lnTo>
                  <a:lnTo>
                    <a:pt x="27957" y="12228"/>
                  </a:lnTo>
                  <a:lnTo>
                    <a:pt x="27960" y="12210"/>
                  </a:lnTo>
                  <a:lnTo>
                    <a:pt x="27965" y="12194"/>
                  </a:lnTo>
                  <a:lnTo>
                    <a:pt x="27970" y="12176"/>
                  </a:lnTo>
                  <a:lnTo>
                    <a:pt x="27976" y="12160"/>
                  </a:lnTo>
                  <a:lnTo>
                    <a:pt x="27983" y="12144"/>
                  </a:lnTo>
                  <a:lnTo>
                    <a:pt x="27991" y="12128"/>
                  </a:lnTo>
                  <a:lnTo>
                    <a:pt x="28000" y="12113"/>
                  </a:lnTo>
                  <a:lnTo>
                    <a:pt x="28010" y="12098"/>
                  </a:lnTo>
                  <a:lnTo>
                    <a:pt x="28020" y="12082"/>
                  </a:lnTo>
                  <a:lnTo>
                    <a:pt x="28031" y="12068"/>
                  </a:lnTo>
                  <a:lnTo>
                    <a:pt x="28042" y="12054"/>
                  </a:lnTo>
                  <a:lnTo>
                    <a:pt x="28055" y="12040"/>
                  </a:lnTo>
                  <a:lnTo>
                    <a:pt x="32003" y="8094"/>
                  </a:lnTo>
                  <a:lnTo>
                    <a:pt x="32003" y="8094"/>
                  </a:lnTo>
                  <a:lnTo>
                    <a:pt x="32016" y="8080"/>
                  </a:lnTo>
                  <a:lnTo>
                    <a:pt x="32028" y="8066"/>
                  </a:lnTo>
                  <a:lnTo>
                    <a:pt x="32040" y="8052"/>
                  </a:lnTo>
                  <a:lnTo>
                    <a:pt x="32049" y="8036"/>
                  </a:lnTo>
                  <a:lnTo>
                    <a:pt x="32060" y="8021"/>
                  </a:lnTo>
                  <a:lnTo>
                    <a:pt x="32068" y="8006"/>
                  </a:lnTo>
                  <a:lnTo>
                    <a:pt x="32076" y="7990"/>
                  </a:lnTo>
                  <a:lnTo>
                    <a:pt x="32083" y="7974"/>
                  </a:lnTo>
                  <a:lnTo>
                    <a:pt x="32089" y="7958"/>
                  </a:lnTo>
                  <a:lnTo>
                    <a:pt x="32095" y="7940"/>
                  </a:lnTo>
                  <a:lnTo>
                    <a:pt x="32098" y="7924"/>
                  </a:lnTo>
                  <a:lnTo>
                    <a:pt x="32103" y="7906"/>
                  </a:lnTo>
                  <a:lnTo>
                    <a:pt x="32105" y="7890"/>
                  </a:lnTo>
                  <a:lnTo>
                    <a:pt x="32108" y="7872"/>
                  </a:lnTo>
                  <a:lnTo>
                    <a:pt x="32109" y="7855"/>
                  </a:lnTo>
                  <a:lnTo>
                    <a:pt x="32109" y="7837"/>
                  </a:lnTo>
                  <a:lnTo>
                    <a:pt x="32109" y="7821"/>
                  </a:lnTo>
                  <a:lnTo>
                    <a:pt x="32108" y="7803"/>
                  </a:lnTo>
                  <a:lnTo>
                    <a:pt x="32105" y="7785"/>
                  </a:lnTo>
                  <a:lnTo>
                    <a:pt x="32103" y="7768"/>
                  </a:lnTo>
                  <a:lnTo>
                    <a:pt x="32098" y="7751"/>
                  </a:lnTo>
                  <a:lnTo>
                    <a:pt x="32095" y="7735"/>
                  </a:lnTo>
                  <a:lnTo>
                    <a:pt x="32089" y="7717"/>
                  </a:lnTo>
                  <a:lnTo>
                    <a:pt x="32083" y="7701"/>
                  </a:lnTo>
                  <a:lnTo>
                    <a:pt x="32076" y="7684"/>
                  </a:lnTo>
                  <a:lnTo>
                    <a:pt x="32068" y="7669"/>
                  </a:lnTo>
                  <a:lnTo>
                    <a:pt x="32060" y="7654"/>
                  </a:lnTo>
                  <a:lnTo>
                    <a:pt x="32049" y="7639"/>
                  </a:lnTo>
                  <a:lnTo>
                    <a:pt x="32040" y="7623"/>
                  </a:lnTo>
                  <a:lnTo>
                    <a:pt x="32028" y="7609"/>
                  </a:lnTo>
                  <a:lnTo>
                    <a:pt x="32016" y="7595"/>
                  </a:lnTo>
                  <a:lnTo>
                    <a:pt x="32003" y="7581"/>
                  </a:lnTo>
                  <a:lnTo>
                    <a:pt x="32003" y="7581"/>
                  </a:lnTo>
                  <a:lnTo>
                    <a:pt x="31989" y="7568"/>
                  </a:lnTo>
                  <a:lnTo>
                    <a:pt x="31975" y="7556"/>
                  </a:lnTo>
                  <a:lnTo>
                    <a:pt x="31961" y="7545"/>
                  </a:lnTo>
                  <a:lnTo>
                    <a:pt x="31946" y="7535"/>
                  </a:lnTo>
                  <a:lnTo>
                    <a:pt x="31930" y="7525"/>
                  </a:lnTo>
                  <a:lnTo>
                    <a:pt x="31915" y="7517"/>
                  </a:lnTo>
                  <a:lnTo>
                    <a:pt x="31900" y="7508"/>
                  </a:lnTo>
                  <a:lnTo>
                    <a:pt x="31884" y="7501"/>
                  </a:lnTo>
                  <a:lnTo>
                    <a:pt x="31867" y="7495"/>
                  </a:lnTo>
                  <a:lnTo>
                    <a:pt x="31849" y="7490"/>
                  </a:lnTo>
                  <a:lnTo>
                    <a:pt x="31833" y="7486"/>
                  </a:lnTo>
                  <a:lnTo>
                    <a:pt x="31815" y="7481"/>
                  </a:lnTo>
                  <a:lnTo>
                    <a:pt x="31799" y="7479"/>
                  </a:lnTo>
                  <a:lnTo>
                    <a:pt x="31781" y="7477"/>
                  </a:lnTo>
                  <a:lnTo>
                    <a:pt x="31764" y="7475"/>
                  </a:lnTo>
                  <a:lnTo>
                    <a:pt x="31747" y="7475"/>
                  </a:lnTo>
                  <a:lnTo>
                    <a:pt x="31730" y="7475"/>
                  </a:lnTo>
                  <a:lnTo>
                    <a:pt x="31712" y="7477"/>
                  </a:lnTo>
                  <a:lnTo>
                    <a:pt x="31695" y="7479"/>
                  </a:lnTo>
                  <a:lnTo>
                    <a:pt x="31678" y="7481"/>
                  </a:lnTo>
                  <a:lnTo>
                    <a:pt x="31660" y="7486"/>
                  </a:lnTo>
                  <a:lnTo>
                    <a:pt x="31644" y="7490"/>
                  </a:lnTo>
                  <a:lnTo>
                    <a:pt x="31626" y="7495"/>
                  </a:lnTo>
                  <a:lnTo>
                    <a:pt x="31610" y="7501"/>
                  </a:lnTo>
                  <a:lnTo>
                    <a:pt x="31595" y="7508"/>
                  </a:lnTo>
                  <a:lnTo>
                    <a:pt x="31578" y="7517"/>
                  </a:lnTo>
                  <a:lnTo>
                    <a:pt x="31563" y="7525"/>
                  </a:lnTo>
                  <a:lnTo>
                    <a:pt x="31548" y="7535"/>
                  </a:lnTo>
                  <a:lnTo>
                    <a:pt x="31533" y="7545"/>
                  </a:lnTo>
                  <a:lnTo>
                    <a:pt x="31518" y="7556"/>
                  </a:lnTo>
                  <a:lnTo>
                    <a:pt x="31504" y="7568"/>
                  </a:lnTo>
                  <a:lnTo>
                    <a:pt x="31490" y="7581"/>
                  </a:lnTo>
                  <a:lnTo>
                    <a:pt x="29709" y="9363"/>
                  </a:lnTo>
                  <a:lnTo>
                    <a:pt x="29709" y="9363"/>
                  </a:lnTo>
                  <a:lnTo>
                    <a:pt x="29695" y="9376"/>
                  </a:lnTo>
                  <a:lnTo>
                    <a:pt x="29681" y="9387"/>
                  </a:lnTo>
                  <a:lnTo>
                    <a:pt x="29667" y="9398"/>
                  </a:lnTo>
                  <a:lnTo>
                    <a:pt x="29652" y="9409"/>
                  </a:lnTo>
                  <a:lnTo>
                    <a:pt x="29637" y="9418"/>
                  </a:lnTo>
                  <a:lnTo>
                    <a:pt x="29621" y="9427"/>
                  </a:lnTo>
                  <a:lnTo>
                    <a:pt x="29605" y="9436"/>
                  </a:lnTo>
                  <a:lnTo>
                    <a:pt x="29589" y="9443"/>
                  </a:lnTo>
                  <a:lnTo>
                    <a:pt x="29572" y="9448"/>
                  </a:lnTo>
                  <a:lnTo>
                    <a:pt x="29556" y="9453"/>
                  </a:lnTo>
                  <a:lnTo>
                    <a:pt x="29539" y="9458"/>
                  </a:lnTo>
                  <a:lnTo>
                    <a:pt x="29522" y="9461"/>
                  </a:lnTo>
                  <a:lnTo>
                    <a:pt x="29505" y="9465"/>
                  </a:lnTo>
                  <a:lnTo>
                    <a:pt x="29488" y="9467"/>
                  </a:lnTo>
                  <a:lnTo>
                    <a:pt x="29470" y="9468"/>
                  </a:lnTo>
                  <a:lnTo>
                    <a:pt x="29452" y="9468"/>
                  </a:lnTo>
                  <a:lnTo>
                    <a:pt x="29435" y="9468"/>
                  </a:lnTo>
                  <a:lnTo>
                    <a:pt x="29418" y="9467"/>
                  </a:lnTo>
                  <a:lnTo>
                    <a:pt x="29401" y="9465"/>
                  </a:lnTo>
                  <a:lnTo>
                    <a:pt x="29383" y="9463"/>
                  </a:lnTo>
                  <a:lnTo>
                    <a:pt x="29367" y="9458"/>
                  </a:lnTo>
                  <a:lnTo>
                    <a:pt x="29349" y="9453"/>
                  </a:lnTo>
                  <a:lnTo>
                    <a:pt x="29333" y="9448"/>
                  </a:lnTo>
                  <a:lnTo>
                    <a:pt x="29316" y="9443"/>
                  </a:lnTo>
                  <a:lnTo>
                    <a:pt x="29300" y="9436"/>
                  </a:lnTo>
                  <a:lnTo>
                    <a:pt x="29284" y="9427"/>
                  </a:lnTo>
                  <a:lnTo>
                    <a:pt x="29268" y="9418"/>
                  </a:lnTo>
                  <a:lnTo>
                    <a:pt x="29253" y="9409"/>
                  </a:lnTo>
                  <a:lnTo>
                    <a:pt x="29239" y="9398"/>
                  </a:lnTo>
                  <a:lnTo>
                    <a:pt x="29223" y="9387"/>
                  </a:lnTo>
                  <a:lnTo>
                    <a:pt x="29211" y="9376"/>
                  </a:lnTo>
                  <a:lnTo>
                    <a:pt x="29196" y="9363"/>
                  </a:lnTo>
                  <a:lnTo>
                    <a:pt x="29196" y="9363"/>
                  </a:lnTo>
                  <a:lnTo>
                    <a:pt x="29184" y="9349"/>
                  </a:lnTo>
                  <a:lnTo>
                    <a:pt x="29172" y="9335"/>
                  </a:lnTo>
                  <a:lnTo>
                    <a:pt x="29160" y="9321"/>
                  </a:lnTo>
                  <a:lnTo>
                    <a:pt x="29149" y="9305"/>
                  </a:lnTo>
                  <a:lnTo>
                    <a:pt x="29140" y="9290"/>
                  </a:lnTo>
                  <a:lnTo>
                    <a:pt x="29132" y="9275"/>
                  </a:lnTo>
                  <a:lnTo>
                    <a:pt x="29124" y="9258"/>
                  </a:lnTo>
                  <a:lnTo>
                    <a:pt x="29117" y="9243"/>
                  </a:lnTo>
                  <a:lnTo>
                    <a:pt x="29111" y="9227"/>
                  </a:lnTo>
                  <a:lnTo>
                    <a:pt x="29105" y="9209"/>
                  </a:lnTo>
                  <a:lnTo>
                    <a:pt x="29100" y="9193"/>
                  </a:lnTo>
                  <a:lnTo>
                    <a:pt x="29097" y="9175"/>
                  </a:lnTo>
                  <a:lnTo>
                    <a:pt x="29094" y="9159"/>
                  </a:lnTo>
                  <a:lnTo>
                    <a:pt x="29092" y="9141"/>
                  </a:lnTo>
                  <a:lnTo>
                    <a:pt x="29091" y="9123"/>
                  </a:lnTo>
                  <a:lnTo>
                    <a:pt x="29091" y="9106"/>
                  </a:lnTo>
                  <a:lnTo>
                    <a:pt x="29091" y="9089"/>
                  </a:lnTo>
                  <a:lnTo>
                    <a:pt x="29092" y="9072"/>
                  </a:lnTo>
                  <a:lnTo>
                    <a:pt x="29094" y="9054"/>
                  </a:lnTo>
                  <a:lnTo>
                    <a:pt x="29097" y="9036"/>
                  </a:lnTo>
                  <a:lnTo>
                    <a:pt x="29100" y="9020"/>
                  </a:lnTo>
                  <a:lnTo>
                    <a:pt x="29105" y="9004"/>
                  </a:lnTo>
                  <a:lnTo>
                    <a:pt x="29111" y="8986"/>
                  </a:lnTo>
                  <a:lnTo>
                    <a:pt x="29117" y="8970"/>
                  </a:lnTo>
                  <a:lnTo>
                    <a:pt x="29124" y="8953"/>
                  </a:lnTo>
                  <a:lnTo>
                    <a:pt x="29132" y="8938"/>
                  </a:lnTo>
                  <a:lnTo>
                    <a:pt x="29140" y="8923"/>
                  </a:lnTo>
                  <a:lnTo>
                    <a:pt x="29149" y="8907"/>
                  </a:lnTo>
                  <a:lnTo>
                    <a:pt x="29160" y="8892"/>
                  </a:lnTo>
                  <a:lnTo>
                    <a:pt x="29172" y="8878"/>
                  </a:lnTo>
                  <a:lnTo>
                    <a:pt x="29184" y="8864"/>
                  </a:lnTo>
                  <a:lnTo>
                    <a:pt x="29196" y="8850"/>
                  </a:lnTo>
                  <a:lnTo>
                    <a:pt x="30044" y="8002"/>
                  </a:lnTo>
                  <a:lnTo>
                    <a:pt x="30044" y="8002"/>
                  </a:lnTo>
                  <a:lnTo>
                    <a:pt x="30056" y="7977"/>
                  </a:lnTo>
                  <a:lnTo>
                    <a:pt x="30066" y="7951"/>
                  </a:lnTo>
                  <a:lnTo>
                    <a:pt x="30073" y="7923"/>
                  </a:lnTo>
                  <a:lnTo>
                    <a:pt x="30079" y="7896"/>
                  </a:lnTo>
                  <a:lnTo>
                    <a:pt x="30083" y="7867"/>
                  </a:lnTo>
                  <a:lnTo>
                    <a:pt x="30084" y="7839"/>
                  </a:lnTo>
                  <a:lnTo>
                    <a:pt x="30083" y="7812"/>
                  </a:lnTo>
                  <a:lnTo>
                    <a:pt x="30080" y="7784"/>
                  </a:lnTo>
                  <a:lnTo>
                    <a:pt x="30076" y="7756"/>
                  </a:lnTo>
                  <a:lnTo>
                    <a:pt x="30067" y="7729"/>
                  </a:lnTo>
                  <a:lnTo>
                    <a:pt x="30058" y="7703"/>
                  </a:lnTo>
                  <a:lnTo>
                    <a:pt x="30048" y="7676"/>
                  </a:lnTo>
                  <a:lnTo>
                    <a:pt x="30033" y="7651"/>
                  </a:lnTo>
                  <a:lnTo>
                    <a:pt x="30017" y="7627"/>
                  </a:lnTo>
                  <a:lnTo>
                    <a:pt x="29999" y="7605"/>
                  </a:lnTo>
                  <a:lnTo>
                    <a:pt x="29979" y="7582"/>
                  </a:lnTo>
                  <a:lnTo>
                    <a:pt x="29979" y="7582"/>
                  </a:lnTo>
                  <a:lnTo>
                    <a:pt x="29965" y="7569"/>
                  </a:lnTo>
                  <a:lnTo>
                    <a:pt x="29951" y="7558"/>
                  </a:lnTo>
                  <a:lnTo>
                    <a:pt x="29937" y="7546"/>
                  </a:lnTo>
                  <a:lnTo>
                    <a:pt x="29922" y="7535"/>
                  </a:lnTo>
                  <a:lnTo>
                    <a:pt x="29907" y="7526"/>
                  </a:lnTo>
                  <a:lnTo>
                    <a:pt x="29891" y="7518"/>
                  </a:lnTo>
                  <a:lnTo>
                    <a:pt x="29875" y="7509"/>
                  </a:lnTo>
                  <a:lnTo>
                    <a:pt x="29860" y="7502"/>
                  </a:lnTo>
                  <a:lnTo>
                    <a:pt x="29842" y="7497"/>
                  </a:lnTo>
                  <a:lnTo>
                    <a:pt x="29826" y="7491"/>
                  </a:lnTo>
                  <a:lnTo>
                    <a:pt x="29809" y="7486"/>
                  </a:lnTo>
                  <a:lnTo>
                    <a:pt x="29792" y="7482"/>
                  </a:lnTo>
                  <a:lnTo>
                    <a:pt x="29775" y="7480"/>
                  </a:lnTo>
                  <a:lnTo>
                    <a:pt x="29758" y="7478"/>
                  </a:lnTo>
                  <a:lnTo>
                    <a:pt x="29740" y="7477"/>
                  </a:lnTo>
                  <a:lnTo>
                    <a:pt x="29722" y="7475"/>
                  </a:lnTo>
                  <a:lnTo>
                    <a:pt x="29706" y="7477"/>
                  </a:lnTo>
                  <a:lnTo>
                    <a:pt x="29688" y="7478"/>
                  </a:lnTo>
                  <a:lnTo>
                    <a:pt x="29671" y="7480"/>
                  </a:lnTo>
                  <a:lnTo>
                    <a:pt x="29653" y="7482"/>
                  </a:lnTo>
                  <a:lnTo>
                    <a:pt x="29637" y="7486"/>
                  </a:lnTo>
                  <a:lnTo>
                    <a:pt x="29619" y="7491"/>
                  </a:lnTo>
                  <a:lnTo>
                    <a:pt x="29603" y="7497"/>
                  </a:lnTo>
                  <a:lnTo>
                    <a:pt x="29586" y="7502"/>
                  </a:lnTo>
                  <a:lnTo>
                    <a:pt x="29570" y="7509"/>
                  </a:lnTo>
                  <a:lnTo>
                    <a:pt x="29554" y="7518"/>
                  </a:lnTo>
                  <a:lnTo>
                    <a:pt x="29538" y="7526"/>
                  </a:lnTo>
                  <a:lnTo>
                    <a:pt x="29523" y="7535"/>
                  </a:lnTo>
                  <a:lnTo>
                    <a:pt x="29509" y="7546"/>
                  </a:lnTo>
                  <a:lnTo>
                    <a:pt x="29495" y="7558"/>
                  </a:lnTo>
                  <a:lnTo>
                    <a:pt x="29481" y="7569"/>
                  </a:lnTo>
                  <a:lnTo>
                    <a:pt x="29466" y="7582"/>
                  </a:lnTo>
                  <a:lnTo>
                    <a:pt x="29154" y="7894"/>
                  </a:lnTo>
                  <a:lnTo>
                    <a:pt x="28876" y="8173"/>
                  </a:lnTo>
                  <a:lnTo>
                    <a:pt x="28876" y="8173"/>
                  </a:lnTo>
                  <a:lnTo>
                    <a:pt x="28863" y="8186"/>
                  </a:lnTo>
                  <a:lnTo>
                    <a:pt x="28849" y="8197"/>
                  </a:lnTo>
                  <a:lnTo>
                    <a:pt x="28834" y="8208"/>
                  </a:lnTo>
                  <a:lnTo>
                    <a:pt x="28820" y="8218"/>
                  </a:lnTo>
                  <a:lnTo>
                    <a:pt x="28804" y="8228"/>
                  </a:lnTo>
                  <a:lnTo>
                    <a:pt x="28788" y="8237"/>
                  </a:lnTo>
                  <a:lnTo>
                    <a:pt x="28773" y="8245"/>
                  </a:lnTo>
                  <a:lnTo>
                    <a:pt x="28756" y="8252"/>
                  </a:lnTo>
                  <a:lnTo>
                    <a:pt x="28740" y="8258"/>
                  </a:lnTo>
                  <a:lnTo>
                    <a:pt x="28723" y="8263"/>
                  </a:lnTo>
                  <a:lnTo>
                    <a:pt x="28706" y="8268"/>
                  </a:lnTo>
                  <a:lnTo>
                    <a:pt x="28689" y="8272"/>
                  </a:lnTo>
                  <a:lnTo>
                    <a:pt x="28672" y="8275"/>
                  </a:lnTo>
                  <a:lnTo>
                    <a:pt x="28654" y="8277"/>
                  </a:lnTo>
                  <a:lnTo>
                    <a:pt x="28638" y="8278"/>
                  </a:lnTo>
                  <a:lnTo>
                    <a:pt x="28620" y="8278"/>
                  </a:lnTo>
                  <a:lnTo>
                    <a:pt x="28602" y="8278"/>
                  </a:lnTo>
                  <a:lnTo>
                    <a:pt x="28585" y="8277"/>
                  </a:lnTo>
                  <a:lnTo>
                    <a:pt x="28568" y="8275"/>
                  </a:lnTo>
                  <a:lnTo>
                    <a:pt x="28551" y="8272"/>
                  </a:lnTo>
                  <a:lnTo>
                    <a:pt x="28533" y="8268"/>
                  </a:lnTo>
                  <a:lnTo>
                    <a:pt x="28517" y="8263"/>
                  </a:lnTo>
                  <a:lnTo>
                    <a:pt x="28500" y="8258"/>
                  </a:lnTo>
                  <a:lnTo>
                    <a:pt x="28484" y="8252"/>
                  </a:lnTo>
                  <a:lnTo>
                    <a:pt x="28467" y="8245"/>
                  </a:lnTo>
                  <a:lnTo>
                    <a:pt x="28451" y="8237"/>
                  </a:lnTo>
                  <a:lnTo>
                    <a:pt x="28436" y="8228"/>
                  </a:lnTo>
                  <a:lnTo>
                    <a:pt x="28420" y="8218"/>
                  </a:lnTo>
                  <a:lnTo>
                    <a:pt x="28405" y="8208"/>
                  </a:lnTo>
                  <a:lnTo>
                    <a:pt x="28391" y="8197"/>
                  </a:lnTo>
                  <a:lnTo>
                    <a:pt x="28377" y="8186"/>
                  </a:lnTo>
                  <a:lnTo>
                    <a:pt x="28364" y="8173"/>
                  </a:lnTo>
                  <a:lnTo>
                    <a:pt x="28364" y="8173"/>
                  </a:lnTo>
                  <a:lnTo>
                    <a:pt x="28351" y="8159"/>
                  </a:lnTo>
                  <a:lnTo>
                    <a:pt x="28338" y="8144"/>
                  </a:lnTo>
                  <a:lnTo>
                    <a:pt x="28328" y="8130"/>
                  </a:lnTo>
                  <a:lnTo>
                    <a:pt x="28317" y="8115"/>
                  </a:lnTo>
                  <a:lnTo>
                    <a:pt x="28308" y="8100"/>
                  </a:lnTo>
                  <a:lnTo>
                    <a:pt x="28298" y="8085"/>
                  </a:lnTo>
                  <a:lnTo>
                    <a:pt x="28291" y="8068"/>
                  </a:lnTo>
                  <a:lnTo>
                    <a:pt x="28284" y="8053"/>
                  </a:lnTo>
                  <a:lnTo>
                    <a:pt x="28277" y="8036"/>
                  </a:lnTo>
                  <a:lnTo>
                    <a:pt x="28273" y="8019"/>
                  </a:lnTo>
                  <a:lnTo>
                    <a:pt x="28268" y="8002"/>
                  </a:lnTo>
                  <a:lnTo>
                    <a:pt x="28264" y="7985"/>
                  </a:lnTo>
                  <a:lnTo>
                    <a:pt x="28261" y="7968"/>
                  </a:lnTo>
                  <a:lnTo>
                    <a:pt x="28258" y="7951"/>
                  </a:lnTo>
                  <a:lnTo>
                    <a:pt x="28257" y="7933"/>
                  </a:lnTo>
                  <a:lnTo>
                    <a:pt x="28257" y="7916"/>
                  </a:lnTo>
                  <a:lnTo>
                    <a:pt x="28257" y="7899"/>
                  </a:lnTo>
                  <a:lnTo>
                    <a:pt x="28258" y="7882"/>
                  </a:lnTo>
                  <a:lnTo>
                    <a:pt x="28261" y="7864"/>
                  </a:lnTo>
                  <a:lnTo>
                    <a:pt x="28264" y="7846"/>
                  </a:lnTo>
                  <a:lnTo>
                    <a:pt x="28268" y="7830"/>
                  </a:lnTo>
                  <a:lnTo>
                    <a:pt x="28273" y="7813"/>
                  </a:lnTo>
                  <a:lnTo>
                    <a:pt x="28277" y="7796"/>
                  </a:lnTo>
                  <a:lnTo>
                    <a:pt x="28284" y="7779"/>
                  </a:lnTo>
                  <a:lnTo>
                    <a:pt x="28291" y="7763"/>
                  </a:lnTo>
                  <a:lnTo>
                    <a:pt x="28298" y="7748"/>
                  </a:lnTo>
                  <a:lnTo>
                    <a:pt x="28308" y="7732"/>
                  </a:lnTo>
                  <a:lnTo>
                    <a:pt x="28317" y="7717"/>
                  </a:lnTo>
                  <a:lnTo>
                    <a:pt x="28328" y="7702"/>
                  </a:lnTo>
                  <a:lnTo>
                    <a:pt x="28338" y="7688"/>
                  </a:lnTo>
                  <a:lnTo>
                    <a:pt x="28351" y="7674"/>
                  </a:lnTo>
                  <a:lnTo>
                    <a:pt x="28364" y="7660"/>
                  </a:lnTo>
                  <a:lnTo>
                    <a:pt x="30468" y="5555"/>
                  </a:lnTo>
                  <a:lnTo>
                    <a:pt x="30468" y="5555"/>
                  </a:lnTo>
                  <a:lnTo>
                    <a:pt x="30481" y="5542"/>
                  </a:lnTo>
                  <a:lnTo>
                    <a:pt x="30494" y="5528"/>
                  </a:lnTo>
                  <a:lnTo>
                    <a:pt x="30504" y="5513"/>
                  </a:lnTo>
                  <a:lnTo>
                    <a:pt x="30515" y="5499"/>
                  </a:lnTo>
                  <a:lnTo>
                    <a:pt x="30524" y="5484"/>
                  </a:lnTo>
                  <a:lnTo>
                    <a:pt x="30534" y="5467"/>
                  </a:lnTo>
                  <a:lnTo>
                    <a:pt x="30541" y="5452"/>
                  </a:lnTo>
                  <a:lnTo>
                    <a:pt x="30548" y="5436"/>
                  </a:lnTo>
                  <a:lnTo>
                    <a:pt x="30555" y="5419"/>
                  </a:lnTo>
                  <a:lnTo>
                    <a:pt x="30559" y="5403"/>
                  </a:lnTo>
                  <a:lnTo>
                    <a:pt x="30564" y="5385"/>
                  </a:lnTo>
                  <a:lnTo>
                    <a:pt x="30568" y="5369"/>
                  </a:lnTo>
                  <a:lnTo>
                    <a:pt x="30571" y="5351"/>
                  </a:lnTo>
                  <a:lnTo>
                    <a:pt x="30572" y="5333"/>
                  </a:lnTo>
                  <a:lnTo>
                    <a:pt x="30575" y="5317"/>
                  </a:lnTo>
                  <a:lnTo>
                    <a:pt x="30575" y="5299"/>
                  </a:lnTo>
                  <a:lnTo>
                    <a:pt x="30575" y="5282"/>
                  </a:lnTo>
                  <a:lnTo>
                    <a:pt x="30572" y="5264"/>
                  </a:lnTo>
                  <a:lnTo>
                    <a:pt x="30571" y="5248"/>
                  </a:lnTo>
                  <a:lnTo>
                    <a:pt x="30568" y="5230"/>
                  </a:lnTo>
                  <a:lnTo>
                    <a:pt x="30564" y="5212"/>
                  </a:lnTo>
                  <a:lnTo>
                    <a:pt x="30559" y="5196"/>
                  </a:lnTo>
                  <a:lnTo>
                    <a:pt x="30555" y="5180"/>
                  </a:lnTo>
                  <a:lnTo>
                    <a:pt x="30548" y="5163"/>
                  </a:lnTo>
                  <a:lnTo>
                    <a:pt x="30541" y="5147"/>
                  </a:lnTo>
                  <a:lnTo>
                    <a:pt x="30534" y="5130"/>
                  </a:lnTo>
                  <a:lnTo>
                    <a:pt x="30524" y="5115"/>
                  </a:lnTo>
                  <a:lnTo>
                    <a:pt x="30515" y="5100"/>
                  </a:lnTo>
                  <a:lnTo>
                    <a:pt x="30504" y="5085"/>
                  </a:lnTo>
                  <a:lnTo>
                    <a:pt x="30494" y="5070"/>
                  </a:lnTo>
                  <a:lnTo>
                    <a:pt x="30481" y="5056"/>
                  </a:lnTo>
                  <a:lnTo>
                    <a:pt x="30468" y="5043"/>
                  </a:lnTo>
                  <a:lnTo>
                    <a:pt x="30468" y="5043"/>
                  </a:lnTo>
                  <a:lnTo>
                    <a:pt x="30468" y="5043"/>
                  </a:lnTo>
                  <a:lnTo>
                    <a:pt x="30455" y="5031"/>
                  </a:lnTo>
                  <a:lnTo>
                    <a:pt x="30441" y="5018"/>
                  </a:lnTo>
                  <a:lnTo>
                    <a:pt x="30427" y="5007"/>
                  </a:lnTo>
                  <a:lnTo>
                    <a:pt x="30411" y="4997"/>
                  </a:lnTo>
                  <a:lnTo>
                    <a:pt x="30396" y="4987"/>
                  </a:lnTo>
                  <a:lnTo>
                    <a:pt x="30381" y="4978"/>
                  </a:lnTo>
                  <a:lnTo>
                    <a:pt x="30364" y="4971"/>
                  </a:lnTo>
                  <a:lnTo>
                    <a:pt x="30348" y="4964"/>
                  </a:lnTo>
                  <a:lnTo>
                    <a:pt x="30332" y="4957"/>
                  </a:lnTo>
                  <a:lnTo>
                    <a:pt x="30315" y="4952"/>
                  </a:lnTo>
                  <a:lnTo>
                    <a:pt x="30299" y="4947"/>
                  </a:lnTo>
                  <a:lnTo>
                    <a:pt x="30281" y="4944"/>
                  </a:lnTo>
                  <a:lnTo>
                    <a:pt x="30265" y="4940"/>
                  </a:lnTo>
                  <a:lnTo>
                    <a:pt x="30247" y="4939"/>
                  </a:lnTo>
                  <a:lnTo>
                    <a:pt x="30229" y="4937"/>
                  </a:lnTo>
                  <a:lnTo>
                    <a:pt x="30212" y="4937"/>
                  </a:lnTo>
                  <a:lnTo>
                    <a:pt x="30194" y="4937"/>
                  </a:lnTo>
                  <a:lnTo>
                    <a:pt x="30178" y="4939"/>
                  </a:lnTo>
                  <a:lnTo>
                    <a:pt x="30160" y="4940"/>
                  </a:lnTo>
                  <a:lnTo>
                    <a:pt x="30143" y="4944"/>
                  </a:lnTo>
                  <a:lnTo>
                    <a:pt x="30126" y="4947"/>
                  </a:lnTo>
                  <a:lnTo>
                    <a:pt x="30109" y="4952"/>
                  </a:lnTo>
                  <a:lnTo>
                    <a:pt x="30092" y="4957"/>
                  </a:lnTo>
                  <a:lnTo>
                    <a:pt x="30076" y="4964"/>
                  </a:lnTo>
                  <a:lnTo>
                    <a:pt x="30059" y="4971"/>
                  </a:lnTo>
                  <a:lnTo>
                    <a:pt x="30044" y="4978"/>
                  </a:lnTo>
                  <a:lnTo>
                    <a:pt x="30028" y="4987"/>
                  </a:lnTo>
                  <a:lnTo>
                    <a:pt x="30012" y="4997"/>
                  </a:lnTo>
                  <a:lnTo>
                    <a:pt x="29998" y="5007"/>
                  </a:lnTo>
                  <a:lnTo>
                    <a:pt x="29983" y="5018"/>
                  </a:lnTo>
                  <a:lnTo>
                    <a:pt x="29969" y="5031"/>
                  </a:lnTo>
                  <a:lnTo>
                    <a:pt x="29956" y="5043"/>
                  </a:lnTo>
                  <a:lnTo>
                    <a:pt x="29624" y="5374"/>
                  </a:lnTo>
                  <a:lnTo>
                    <a:pt x="29624" y="5374"/>
                  </a:lnTo>
                  <a:lnTo>
                    <a:pt x="29610" y="5387"/>
                  </a:lnTo>
                  <a:lnTo>
                    <a:pt x="29596" y="5400"/>
                  </a:lnTo>
                  <a:lnTo>
                    <a:pt x="29581" y="5411"/>
                  </a:lnTo>
                  <a:lnTo>
                    <a:pt x="29566" y="5421"/>
                  </a:lnTo>
                  <a:lnTo>
                    <a:pt x="29551" y="5431"/>
                  </a:lnTo>
                  <a:lnTo>
                    <a:pt x="29536" y="5440"/>
                  </a:lnTo>
                  <a:lnTo>
                    <a:pt x="29520" y="5447"/>
                  </a:lnTo>
                  <a:lnTo>
                    <a:pt x="29504" y="5454"/>
                  </a:lnTo>
                  <a:lnTo>
                    <a:pt x="29488" y="5461"/>
                  </a:lnTo>
                  <a:lnTo>
                    <a:pt x="29471" y="5466"/>
                  </a:lnTo>
                  <a:lnTo>
                    <a:pt x="29454" y="5471"/>
                  </a:lnTo>
                  <a:lnTo>
                    <a:pt x="29437" y="5474"/>
                  </a:lnTo>
                  <a:lnTo>
                    <a:pt x="29419" y="5478"/>
                  </a:lnTo>
                  <a:lnTo>
                    <a:pt x="29402" y="5480"/>
                  </a:lnTo>
                  <a:lnTo>
                    <a:pt x="29384" y="5481"/>
                  </a:lnTo>
                  <a:lnTo>
                    <a:pt x="29368" y="5481"/>
                  </a:lnTo>
                  <a:lnTo>
                    <a:pt x="29350" y="5481"/>
                  </a:lnTo>
                  <a:lnTo>
                    <a:pt x="29333" y="5480"/>
                  </a:lnTo>
                  <a:lnTo>
                    <a:pt x="29315" y="5478"/>
                  </a:lnTo>
                  <a:lnTo>
                    <a:pt x="29299" y="5474"/>
                  </a:lnTo>
                  <a:lnTo>
                    <a:pt x="29281" y="5471"/>
                  </a:lnTo>
                  <a:lnTo>
                    <a:pt x="29265" y="5466"/>
                  </a:lnTo>
                  <a:lnTo>
                    <a:pt x="29247" y="5461"/>
                  </a:lnTo>
                  <a:lnTo>
                    <a:pt x="29230" y="5454"/>
                  </a:lnTo>
                  <a:lnTo>
                    <a:pt x="29215" y="5447"/>
                  </a:lnTo>
                  <a:lnTo>
                    <a:pt x="29199" y="5440"/>
                  </a:lnTo>
                  <a:lnTo>
                    <a:pt x="29184" y="5431"/>
                  </a:lnTo>
                  <a:lnTo>
                    <a:pt x="29168" y="5421"/>
                  </a:lnTo>
                  <a:lnTo>
                    <a:pt x="29153" y="5411"/>
                  </a:lnTo>
                  <a:lnTo>
                    <a:pt x="29139" y="5400"/>
                  </a:lnTo>
                  <a:lnTo>
                    <a:pt x="29125" y="5387"/>
                  </a:lnTo>
                  <a:lnTo>
                    <a:pt x="29111" y="5374"/>
                  </a:lnTo>
                  <a:lnTo>
                    <a:pt x="29111" y="5374"/>
                  </a:lnTo>
                  <a:lnTo>
                    <a:pt x="29098" y="5362"/>
                  </a:lnTo>
                  <a:lnTo>
                    <a:pt x="29086" y="5347"/>
                  </a:lnTo>
                  <a:lnTo>
                    <a:pt x="29076" y="5333"/>
                  </a:lnTo>
                  <a:lnTo>
                    <a:pt x="29065" y="5318"/>
                  </a:lnTo>
                  <a:lnTo>
                    <a:pt x="29056" y="5303"/>
                  </a:lnTo>
                  <a:lnTo>
                    <a:pt x="29046" y="5288"/>
                  </a:lnTo>
                  <a:lnTo>
                    <a:pt x="29038" y="5271"/>
                  </a:lnTo>
                  <a:lnTo>
                    <a:pt x="29031" y="5255"/>
                  </a:lnTo>
                  <a:lnTo>
                    <a:pt x="29025" y="5238"/>
                  </a:lnTo>
                  <a:lnTo>
                    <a:pt x="29020" y="5222"/>
                  </a:lnTo>
                  <a:lnTo>
                    <a:pt x="29016" y="5205"/>
                  </a:lnTo>
                  <a:lnTo>
                    <a:pt x="29012" y="5188"/>
                  </a:lnTo>
                  <a:lnTo>
                    <a:pt x="29009" y="5171"/>
                  </a:lnTo>
                  <a:lnTo>
                    <a:pt x="29006" y="5154"/>
                  </a:lnTo>
                  <a:lnTo>
                    <a:pt x="29005" y="5136"/>
                  </a:lnTo>
                  <a:lnTo>
                    <a:pt x="29005" y="5119"/>
                  </a:lnTo>
                  <a:lnTo>
                    <a:pt x="29005" y="5101"/>
                  </a:lnTo>
                  <a:lnTo>
                    <a:pt x="29006" y="5085"/>
                  </a:lnTo>
                  <a:lnTo>
                    <a:pt x="29009" y="5067"/>
                  </a:lnTo>
                  <a:lnTo>
                    <a:pt x="29012" y="5049"/>
                  </a:lnTo>
                  <a:lnTo>
                    <a:pt x="29016" y="5033"/>
                  </a:lnTo>
                  <a:lnTo>
                    <a:pt x="29020" y="5015"/>
                  </a:lnTo>
                  <a:lnTo>
                    <a:pt x="29025" y="4999"/>
                  </a:lnTo>
                  <a:lnTo>
                    <a:pt x="29031" y="4982"/>
                  </a:lnTo>
                  <a:lnTo>
                    <a:pt x="29039" y="4966"/>
                  </a:lnTo>
                  <a:lnTo>
                    <a:pt x="29046" y="4951"/>
                  </a:lnTo>
                  <a:lnTo>
                    <a:pt x="29056" y="4934"/>
                  </a:lnTo>
                  <a:lnTo>
                    <a:pt x="29065" y="4919"/>
                  </a:lnTo>
                  <a:lnTo>
                    <a:pt x="29076" y="4905"/>
                  </a:lnTo>
                  <a:lnTo>
                    <a:pt x="29086" y="4890"/>
                  </a:lnTo>
                  <a:lnTo>
                    <a:pt x="29098" y="4876"/>
                  </a:lnTo>
                  <a:lnTo>
                    <a:pt x="29111" y="4863"/>
                  </a:lnTo>
                  <a:lnTo>
                    <a:pt x="33974" y="0"/>
                  </a:lnTo>
                  <a:lnTo>
                    <a:pt x="0" y="0"/>
                  </a:lnTo>
                  <a:lnTo>
                    <a:pt x="0" y="18728"/>
                  </a:lnTo>
                  <a:lnTo>
                    <a:pt x="8964" y="9694"/>
                  </a:lnTo>
                  <a:lnTo>
                    <a:pt x="8964" y="9694"/>
                  </a:lnTo>
                  <a:lnTo>
                    <a:pt x="8991" y="9679"/>
                  </a:lnTo>
                  <a:lnTo>
                    <a:pt x="9019" y="9666"/>
                  </a:lnTo>
                  <a:lnTo>
                    <a:pt x="9047" y="9654"/>
                  </a:lnTo>
                  <a:lnTo>
                    <a:pt x="9077" y="9646"/>
                  </a:lnTo>
                  <a:lnTo>
                    <a:pt x="9106" y="9640"/>
                  </a:lnTo>
                  <a:lnTo>
                    <a:pt x="9137" y="9637"/>
                  </a:lnTo>
                  <a:lnTo>
                    <a:pt x="9167" y="9636"/>
                  </a:lnTo>
                  <a:lnTo>
                    <a:pt x="9196" y="9639"/>
                  </a:lnTo>
                  <a:lnTo>
                    <a:pt x="9227" y="9642"/>
                  </a:lnTo>
                  <a:lnTo>
                    <a:pt x="9256" y="9649"/>
                  </a:lnTo>
                  <a:lnTo>
                    <a:pt x="9286" y="9659"/>
                  </a:lnTo>
                  <a:lnTo>
                    <a:pt x="9314" y="9670"/>
                  </a:lnTo>
                  <a:lnTo>
                    <a:pt x="9341" y="9684"/>
                  </a:lnTo>
                  <a:lnTo>
                    <a:pt x="9368" y="9701"/>
                  </a:lnTo>
                  <a:lnTo>
                    <a:pt x="9392" y="9721"/>
                  </a:lnTo>
                  <a:lnTo>
                    <a:pt x="9405" y="9731"/>
                  </a:lnTo>
                  <a:lnTo>
                    <a:pt x="9417" y="9742"/>
                  </a:lnTo>
                  <a:lnTo>
                    <a:pt x="9417" y="9742"/>
                  </a:lnTo>
                  <a:lnTo>
                    <a:pt x="9430" y="9756"/>
                  </a:lnTo>
                  <a:lnTo>
                    <a:pt x="9442" y="9770"/>
                  </a:lnTo>
                  <a:lnTo>
                    <a:pt x="9452" y="9784"/>
                  </a:lnTo>
                  <a:lnTo>
                    <a:pt x="9463" y="9799"/>
                  </a:lnTo>
                  <a:lnTo>
                    <a:pt x="9472" y="9815"/>
                  </a:lnTo>
                  <a:lnTo>
                    <a:pt x="9482" y="9830"/>
                  </a:lnTo>
                  <a:lnTo>
                    <a:pt x="9489" y="9846"/>
                  </a:lnTo>
                  <a:lnTo>
                    <a:pt x="9496" y="9862"/>
                  </a:lnTo>
                  <a:lnTo>
                    <a:pt x="9503" y="9878"/>
                  </a:lnTo>
                  <a:lnTo>
                    <a:pt x="9508" y="9896"/>
                  </a:lnTo>
                  <a:lnTo>
                    <a:pt x="9512" y="9912"/>
                  </a:lnTo>
                  <a:lnTo>
                    <a:pt x="9516" y="9930"/>
                  </a:lnTo>
                  <a:lnTo>
                    <a:pt x="9519" y="9946"/>
                  </a:lnTo>
                  <a:lnTo>
                    <a:pt x="9522" y="9964"/>
                  </a:lnTo>
                  <a:lnTo>
                    <a:pt x="9523" y="9981"/>
                  </a:lnTo>
                  <a:lnTo>
                    <a:pt x="9523" y="9999"/>
                  </a:lnTo>
                  <a:lnTo>
                    <a:pt x="9523" y="10015"/>
                  </a:lnTo>
                  <a:lnTo>
                    <a:pt x="9522" y="10033"/>
                  </a:lnTo>
                  <a:lnTo>
                    <a:pt x="9519" y="10051"/>
                  </a:lnTo>
                  <a:lnTo>
                    <a:pt x="9516" y="10068"/>
                  </a:lnTo>
                  <a:lnTo>
                    <a:pt x="9512" y="10085"/>
                  </a:lnTo>
                  <a:lnTo>
                    <a:pt x="9508" y="10101"/>
                  </a:lnTo>
                  <a:lnTo>
                    <a:pt x="9503" y="10119"/>
                  </a:lnTo>
                  <a:lnTo>
                    <a:pt x="9496" y="10135"/>
                  </a:lnTo>
                  <a:lnTo>
                    <a:pt x="9489" y="10152"/>
                  </a:lnTo>
                  <a:lnTo>
                    <a:pt x="9482" y="10167"/>
                  </a:lnTo>
                  <a:lnTo>
                    <a:pt x="9472" y="10182"/>
                  </a:lnTo>
                  <a:lnTo>
                    <a:pt x="9463" y="10197"/>
                  </a:lnTo>
                  <a:lnTo>
                    <a:pt x="9452" y="10213"/>
                  </a:lnTo>
                  <a:lnTo>
                    <a:pt x="9442" y="10227"/>
                  </a:lnTo>
                  <a:lnTo>
                    <a:pt x="9430" y="10241"/>
                  </a:lnTo>
                  <a:lnTo>
                    <a:pt x="9417" y="10255"/>
                  </a:lnTo>
                  <a:lnTo>
                    <a:pt x="7552" y="12119"/>
                  </a:lnTo>
                  <a:lnTo>
                    <a:pt x="7552" y="12119"/>
                  </a:lnTo>
                  <a:lnTo>
                    <a:pt x="7539" y="12133"/>
                  </a:lnTo>
                  <a:lnTo>
                    <a:pt x="7527" y="12147"/>
                  </a:lnTo>
                  <a:lnTo>
                    <a:pt x="7515" y="12161"/>
                  </a:lnTo>
                  <a:lnTo>
                    <a:pt x="7506" y="12176"/>
                  </a:lnTo>
                  <a:lnTo>
                    <a:pt x="7495" y="12191"/>
                  </a:lnTo>
                  <a:lnTo>
                    <a:pt x="7487" y="12207"/>
                  </a:lnTo>
                  <a:lnTo>
                    <a:pt x="7479" y="12223"/>
                  </a:lnTo>
                  <a:lnTo>
                    <a:pt x="7472" y="12240"/>
                  </a:lnTo>
                  <a:lnTo>
                    <a:pt x="7466" y="12256"/>
                  </a:lnTo>
                  <a:lnTo>
                    <a:pt x="7460" y="12272"/>
                  </a:lnTo>
                  <a:lnTo>
                    <a:pt x="7457" y="12289"/>
                  </a:lnTo>
                  <a:lnTo>
                    <a:pt x="7452" y="12306"/>
                  </a:lnTo>
                  <a:lnTo>
                    <a:pt x="7450" y="12323"/>
                  </a:lnTo>
                  <a:lnTo>
                    <a:pt x="7447" y="12341"/>
                  </a:lnTo>
                  <a:lnTo>
                    <a:pt x="7446" y="12358"/>
                  </a:lnTo>
                  <a:lnTo>
                    <a:pt x="7446" y="12376"/>
                  </a:lnTo>
                  <a:lnTo>
                    <a:pt x="7446" y="12393"/>
                  </a:lnTo>
                  <a:lnTo>
                    <a:pt x="7447" y="12410"/>
                  </a:lnTo>
                  <a:lnTo>
                    <a:pt x="7450" y="12427"/>
                  </a:lnTo>
                  <a:lnTo>
                    <a:pt x="7452" y="12445"/>
                  </a:lnTo>
                  <a:lnTo>
                    <a:pt x="7457" y="12461"/>
                  </a:lnTo>
                  <a:lnTo>
                    <a:pt x="7460" y="12479"/>
                  </a:lnTo>
                  <a:lnTo>
                    <a:pt x="7466" y="12495"/>
                  </a:lnTo>
                  <a:lnTo>
                    <a:pt x="7472" y="12512"/>
                  </a:lnTo>
                  <a:lnTo>
                    <a:pt x="7479" y="12528"/>
                  </a:lnTo>
                  <a:lnTo>
                    <a:pt x="7487" y="12544"/>
                  </a:lnTo>
                  <a:lnTo>
                    <a:pt x="7495" y="12560"/>
                  </a:lnTo>
                  <a:lnTo>
                    <a:pt x="7506" y="12575"/>
                  </a:lnTo>
                  <a:lnTo>
                    <a:pt x="7515" y="12589"/>
                  </a:lnTo>
                  <a:lnTo>
                    <a:pt x="7527" y="12605"/>
                  </a:lnTo>
                  <a:lnTo>
                    <a:pt x="7539" y="12618"/>
                  </a:lnTo>
                  <a:lnTo>
                    <a:pt x="7552" y="12632"/>
                  </a:lnTo>
                  <a:lnTo>
                    <a:pt x="7552" y="12632"/>
                  </a:lnTo>
                  <a:lnTo>
                    <a:pt x="7566" y="12645"/>
                  </a:lnTo>
                  <a:lnTo>
                    <a:pt x="7580" y="12656"/>
                  </a:lnTo>
                  <a:lnTo>
                    <a:pt x="7594" y="12668"/>
                  </a:lnTo>
                  <a:lnTo>
                    <a:pt x="7609" y="12679"/>
                  </a:lnTo>
                  <a:lnTo>
                    <a:pt x="7625" y="12688"/>
                  </a:lnTo>
                  <a:lnTo>
                    <a:pt x="7640" y="12696"/>
                  </a:lnTo>
                  <a:lnTo>
                    <a:pt x="7655" y="12704"/>
                  </a:lnTo>
                  <a:lnTo>
                    <a:pt x="7672" y="12711"/>
                  </a:lnTo>
                  <a:lnTo>
                    <a:pt x="7688" y="12717"/>
                  </a:lnTo>
                  <a:lnTo>
                    <a:pt x="7706" y="12723"/>
                  </a:lnTo>
                  <a:lnTo>
                    <a:pt x="7722" y="12728"/>
                  </a:lnTo>
                  <a:lnTo>
                    <a:pt x="7738" y="12731"/>
                  </a:lnTo>
                  <a:lnTo>
                    <a:pt x="7756" y="12734"/>
                  </a:lnTo>
                  <a:lnTo>
                    <a:pt x="7774" y="12736"/>
                  </a:lnTo>
                  <a:lnTo>
                    <a:pt x="7791" y="12737"/>
                  </a:lnTo>
                  <a:lnTo>
                    <a:pt x="7808" y="12737"/>
                  </a:lnTo>
                  <a:lnTo>
                    <a:pt x="7825" y="12737"/>
                  </a:lnTo>
                  <a:lnTo>
                    <a:pt x="7843" y="12736"/>
                  </a:lnTo>
                  <a:lnTo>
                    <a:pt x="7861" y="12734"/>
                  </a:lnTo>
                  <a:lnTo>
                    <a:pt x="7877" y="12731"/>
                  </a:lnTo>
                  <a:lnTo>
                    <a:pt x="7895" y="12728"/>
                  </a:lnTo>
                  <a:lnTo>
                    <a:pt x="7911" y="12723"/>
                  </a:lnTo>
                  <a:lnTo>
                    <a:pt x="7929" y="12717"/>
                  </a:lnTo>
                  <a:lnTo>
                    <a:pt x="7945" y="12711"/>
                  </a:lnTo>
                  <a:lnTo>
                    <a:pt x="7960" y="12704"/>
                  </a:lnTo>
                  <a:lnTo>
                    <a:pt x="7977" y="12696"/>
                  </a:lnTo>
                  <a:lnTo>
                    <a:pt x="7992" y="12688"/>
                  </a:lnTo>
                  <a:lnTo>
                    <a:pt x="8007" y="12679"/>
                  </a:lnTo>
                  <a:lnTo>
                    <a:pt x="8023" y="12668"/>
                  </a:lnTo>
                  <a:lnTo>
                    <a:pt x="8037" y="12656"/>
                  </a:lnTo>
                  <a:lnTo>
                    <a:pt x="8051" y="12645"/>
                  </a:lnTo>
                  <a:lnTo>
                    <a:pt x="8065" y="12632"/>
                  </a:lnTo>
                  <a:lnTo>
                    <a:pt x="11720" y="8977"/>
                  </a:lnTo>
                  <a:lnTo>
                    <a:pt x="11720" y="8977"/>
                  </a:lnTo>
                  <a:lnTo>
                    <a:pt x="11733" y="8964"/>
                  </a:lnTo>
                  <a:lnTo>
                    <a:pt x="11747" y="8952"/>
                  </a:lnTo>
                  <a:lnTo>
                    <a:pt x="11761" y="8940"/>
                  </a:lnTo>
                  <a:lnTo>
                    <a:pt x="11777" y="8931"/>
                  </a:lnTo>
                  <a:lnTo>
                    <a:pt x="11792" y="8920"/>
                  </a:lnTo>
                  <a:lnTo>
                    <a:pt x="11807" y="8912"/>
                  </a:lnTo>
                  <a:lnTo>
                    <a:pt x="11824" y="8904"/>
                  </a:lnTo>
                  <a:lnTo>
                    <a:pt x="11840" y="8897"/>
                  </a:lnTo>
                  <a:lnTo>
                    <a:pt x="11857" y="8891"/>
                  </a:lnTo>
                  <a:lnTo>
                    <a:pt x="11873" y="8885"/>
                  </a:lnTo>
                  <a:lnTo>
                    <a:pt x="11889" y="8882"/>
                  </a:lnTo>
                  <a:lnTo>
                    <a:pt x="11907" y="8877"/>
                  </a:lnTo>
                  <a:lnTo>
                    <a:pt x="11925" y="8875"/>
                  </a:lnTo>
                  <a:lnTo>
                    <a:pt x="11941" y="8872"/>
                  </a:lnTo>
                  <a:lnTo>
                    <a:pt x="11959" y="8871"/>
                  </a:lnTo>
                  <a:lnTo>
                    <a:pt x="11976" y="8871"/>
                  </a:lnTo>
                  <a:lnTo>
                    <a:pt x="11994" y="8871"/>
                  </a:lnTo>
                  <a:lnTo>
                    <a:pt x="12011" y="8872"/>
                  </a:lnTo>
                  <a:lnTo>
                    <a:pt x="12028" y="8875"/>
                  </a:lnTo>
                  <a:lnTo>
                    <a:pt x="12046" y="8877"/>
                  </a:lnTo>
                  <a:lnTo>
                    <a:pt x="12062" y="8882"/>
                  </a:lnTo>
                  <a:lnTo>
                    <a:pt x="12080" y="8885"/>
                  </a:lnTo>
                  <a:lnTo>
                    <a:pt x="12096" y="8891"/>
                  </a:lnTo>
                  <a:lnTo>
                    <a:pt x="12112" y="8897"/>
                  </a:lnTo>
                  <a:lnTo>
                    <a:pt x="12129" y="8904"/>
                  </a:lnTo>
                  <a:lnTo>
                    <a:pt x="12145" y="8912"/>
                  </a:lnTo>
                  <a:lnTo>
                    <a:pt x="12161" y="8920"/>
                  </a:lnTo>
                  <a:lnTo>
                    <a:pt x="12176" y="8931"/>
                  </a:lnTo>
                  <a:lnTo>
                    <a:pt x="12190" y="8940"/>
                  </a:lnTo>
                  <a:lnTo>
                    <a:pt x="12205" y="8952"/>
                  </a:lnTo>
                  <a:lnTo>
                    <a:pt x="12219" y="8964"/>
                  </a:lnTo>
                  <a:lnTo>
                    <a:pt x="12232" y="8977"/>
                  </a:lnTo>
                  <a:lnTo>
                    <a:pt x="12232" y="8977"/>
                  </a:lnTo>
                  <a:lnTo>
                    <a:pt x="12245" y="8991"/>
                  </a:lnTo>
                  <a:lnTo>
                    <a:pt x="12257" y="9005"/>
                  </a:lnTo>
                  <a:lnTo>
                    <a:pt x="12269" y="9019"/>
                  </a:lnTo>
                  <a:lnTo>
                    <a:pt x="12279" y="9034"/>
                  </a:lnTo>
                  <a:lnTo>
                    <a:pt x="12289" y="9049"/>
                  </a:lnTo>
                  <a:lnTo>
                    <a:pt x="12297" y="9065"/>
                  </a:lnTo>
                  <a:lnTo>
                    <a:pt x="12305" y="9080"/>
                  </a:lnTo>
                  <a:lnTo>
                    <a:pt x="12312" y="9096"/>
                  </a:lnTo>
                  <a:lnTo>
                    <a:pt x="12318" y="9113"/>
                  </a:lnTo>
                  <a:lnTo>
                    <a:pt x="12324" y="9130"/>
                  </a:lnTo>
                  <a:lnTo>
                    <a:pt x="12328" y="9147"/>
                  </a:lnTo>
                  <a:lnTo>
                    <a:pt x="12332" y="9163"/>
                  </a:lnTo>
                  <a:lnTo>
                    <a:pt x="12334" y="9181"/>
                  </a:lnTo>
                  <a:lnTo>
                    <a:pt x="12337" y="9198"/>
                  </a:lnTo>
                  <a:lnTo>
                    <a:pt x="12338" y="9216"/>
                  </a:lnTo>
                  <a:lnTo>
                    <a:pt x="12339" y="9232"/>
                  </a:lnTo>
                  <a:lnTo>
                    <a:pt x="12338" y="9250"/>
                  </a:lnTo>
                  <a:lnTo>
                    <a:pt x="12337" y="9268"/>
                  </a:lnTo>
                  <a:lnTo>
                    <a:pt x="12334" y="9285"/>
                  </a:lnTo>
                  <a:lnTo>
                    <a:pt x="12332" y="9302"/>
                  </a:lnTo>
                  <a:lnTo>
                    <a:pt x="12328" y="9319"/>
                  </a:lnTo>
                  <a:lnTo>
                    <a:pt x="12324" y="9336"/>
                  </a:lnTo>
                  <a:lnTo>
                    <a:pt x="12318" y="9353"/>
                  </a:lnTo>
                  <a:lnTo>
                    <a:pt x="12312" y="9370"/>
                  </a:lnTo>
                  <a:lnTo>
                    <a:pt x="12305" y="9385"/>
                  </a:lnTo>
                  <a:lnTo>
                    <a:pt x="12297" y="9402"/>
                  </a:lnTo>
                  <a:lnTo>
                    <a:pt x="12289" y="9417"/>
                  </a:lnTo>
                  <a:lnTo>
                    <a:pt x="12279" y="9432"/>
                  </a:lnTo>
                  <a:lnTo>
                    <a:pt x="12269" y="9447"/>
                  </a:lnTo>
                  <a:lnTo>
                    <a:pt x="12257" y="9461"/>
                  </a:lnTo>
                  <a:lnTo>
                    <a:pt x="12245" y="9475"/>
                  </a:lnTo>
                  <a:lnTo>
                    <a:pt x="12232" y="9490"/>
                  </a:lnTo>
                  <a:lnTo>
                    <a:pt x="8285" y="13436"/>
                  </a:lnTo>
                  <a:lnTo>
                    <a:pt x="8285" y="13436"/>
                  </a:lnTo>
                  <a:lnTo>
                    <a:pt x="8273" y="13450"/>
                  </a:lnTo>
                  <a:lnTo>
                    <a:pt x="8261" y="13464"/>
                  </a:lnTo>
                  <a:lnTo>
                    <a:pt x="8249" y="13478"/>
                  </a:lnTo>
                  <a:lnTo>
                    <a:pt x="8239" y="13493"/>
                  </a:lnTo>
                  <a:lnTo>
                    <a:pt x="8229" y="13508"/>
                  </a:lnTo>
                  <a:lnTo>
                    <a:pt x="8221" y="13524"/>
                  </a:lnTo>
                  <a:lnTo>
                    <a:pt x="8213" y="13540"/>
                  </a:lnTo>
                  <a:lnTo>
                    <a:pt x="8206" y="13555"/>
                  </a:lnTo>
                  <a:lnTo>
                    <a:pt x="8200" y="13572"/>
                  </a:lnTo>
                  <a:lnTo>
                    <a:pt x="8194" y="13589"/>
                  </a:lnTo>
                  <a:lnTo>
                    <a:pt x="8189" y="13606"/>
                  </a:lnTo>
                  <a:lnTo>
                    <a:pt x="8186" y="13623"/>
                  </a:lnTo>
                  <a:lnTo>
                    <a:pt x="8182" y="13640"/>
                  </a:lnTo>
                  <a:lnTo>
                    <a:pt x="8181" y="13657"/>
                  </a:lnTo>
                  <a:lnTo>
                    <a:pt x="8180" y="13675"/>
                  </a:lnTo>
                  <a:lnTo>
                    <a:pt x="8179" y="13693"/>
                  </a:lnTo>
                  <a:lnTo>
                    <a:pt x="8180" y="13709"/>
                  </a:lnTo>
                  <a:lnTo>
                    <a:pt x="8181" y="13727"/>
                  </a:lnTo>
                  <a:lnTo>
                    <a:pt x="8182" y="13744"/>
                  </a:lnTo>
                  <a:lnTo>
                    <a:pt x="8186" y="13762"/>
                  </a:lnTo>
                  <a:lnTo>
                    <a:pt x="8189" y="13778"/>
                  </a:lnTo>
                  <a:lnTo>
                    <a:pt x="8194" y="13795"/>
                  </a:lnTo>
                  <a:lnTo>
                    <a:pt x="8200" y="13812"/>
                  </a:lnTo>
                  <a:lnTo>
                    <a:pt x="8206" y="13829"/>
                  </a:lnTo>
                  <a:lnTo>
                    <a:pt x="8213" y="13845"/>
                  </a:lnTo>
                  <a:lnTo>
                    <a:pt x="8221" y="13860"/>
                  </a:lnTo>
                  <a:lnTo>
                    <a:pt x="8229" y="13876"/>
                  </a:lnTo>
                  <a:lnTo>
                    <a:pt x="8239" y="13891"/>
                  </a:lnTo>
                  <a:lnTo>
                    <a:pt x="8249" y="13906"/>
                  </a:lnTo>
                  <a:lnTo>
                    <a:pt x="8261" y="13920"/>
                  </a:lnTo>
                  <a:lnTo>
                    <a:pt x="8273" y="13934"/>
                  </a:lnTo>
                  <a:lnTo>
                    <a:pt x="8285" y="13949"/>
                  </a:lnTo>
                  <a:lnTo>
                    <a:pt x="8285" y="13949"/>
                  </a:lnTo>
                  <a:lnTo>
                    <a:pt x="8298" y="13961"/>
                  </a:lnTo>
                  <a:lnTo>
                    <a:pt x="8312" y="13973"/>
                  </a:lnTo>
                  <a:lnTo>
                    <a:pt x="8327" y="13985"/>
                  </a:lnTo>
                  <a:lnTo>
                    <a:pt x="8342" y="13994"/>
                  </a:lnTo>
                  <a:lnTo>
                    <a:pt x="8357" y="14005"/>
                  </a:lnTo>
                  <a:lnTo>
                    <a:pt x="8372" y="14013"/>
                  </a:lnTo>
                  <a:lnTo>
                    <a:pt x="8389" y="14021"/>
                  </a:lnTo>
                  <a:lnTo>
                    <a:pt x="8405" y="14028"/>
                  </a:lnTo>
                  <a:lnTo>
                    <a:pt x="8422" y="14034"/>
                  </a:lnTo>
                  <a:lnTo>
                    <a:pt x="8438" y="14040"/>
                  </a:lnTo>
                  <a:lnTo>
                    <a:pt x="8456" y="14044"/>
                  </a:lnTo>
                  <a:lnTo>
                    <a:pt x="8472" y="14048"/>
                  </a:lnTo>
                  <a:lnTo>
                    <a:pt x="8490" y="14051"/>
                  </a:lnTo>
                  <a:lnTo>
                    <a:pt x="8506" y="14053"/>
                  </a:lnTo>
                  <a:lnTo>
                    <a:pt x="8524" y="14054"/>
                  </a:lnTo>
                  <a:lnTo>
                    <a:pt x="8541" y="14054"/>
                  </a:lnTo>
                  <a:lnTo>
                    <a:pt x="8559" y="14054"/>
                  </a:lnTo>
                  <a:lnTo>
                    <a:pt x="8577" y="14053"/>
                  </a:lnTo>
                  <a:lnTo>
                    <a:pt x="8593" y="14051"/>
                  </a:lnTo>
                  <a:lnTo>
                    <a:pt x="8611" y="14048"/>
                  </a:lnTo>
                  <a:lnTo>
                    <a:pt x="8628" y="14044"/>
                  </a:lnTo>
                  <a:lnTo>
                    <a:pt x="8645" y="14040"/>
                  </a:lnTo>
                  <a:lnTo>
                    <a:pt x="8661" y="14034"/>
                  </a:lnTo>
                  <a:lnTo>
                    <a:pt x="8678" y="14028"/>
                  </a:lnTo>
                  <a:lnTo>
                    <a:pt x="8694" y="14021"/>
                  </a:lnTo>
                  <a:lnTo>
                    <a:pt x="8710" y="14013"/>
                  </a:lnTo>
                  <a:lnTo>
                    <a:pt x="8726" y="14005"/>
                  </a:lnTo>
                  <a:lnTo>
                    <a:pt x="8741" y="13994"/>
                  </a:lnTo>
                  <a:lnTo>
                    <a:pt x="8756" y="13985"/>
                  </a:lnTo>
                  <a:lnTo>
                    <a:pt x="8770" y="13973"/>
                  </a:lnTo>
                  <a:lnTo>
                    <a:pt x="8784" y="13961"/>
                  </a:lnTo>
                  <a:lnTo>
                    <a:pt x="8797" y="13949"/>
                  </a:lnTo>
                  <a:lnTo>
                    <a:pt x="10579" y="12167"/>
                  </a:lnTo>
                  <a:lnTo>
                    <a:pt x="10579" y="12167"/>
                  </a:lnTo>
                  <a:lnTo>
                    <a:pt x="10592" y="12154"/>
                  </a:lnTo>
                  <a:lnTo>
                    <a:pt x="10606" y="12142"/>
                  </a:lnTo>
                  <a:lnTo>
                    <a:pt x="10622" y="12132"/>
                  </a:lnTo>
                  <a:lnTo>
                    <a:pt x="10636" y="12121"/>
                  </a:lnTo>
                  <a:lnTo>
                    <a:pt x="10651" y="12112"/>
                  </a:lnTo>
                  <a:lnTo>
                    <a:pt x="10667" y="12102"/>
                  </a:lnTo>
                  <a:lnTo>
                    <a:pt x="10683" y="12094"/>
                  </a:lnTo>
                  <a:lnTo>
                    <a:pt x="10699" y="12087"/>
                  </a:lnTo>
                  <a:lnTo>
                    <a:pt x="10715" y="12081"/>
                  </a:lnTo>
                  <a:lnTo>
                    <a:pt x="10732" y="12076"/>
                  </a:lnTo>
                  <a:lnTo>
                    <a:pt x="10750" y="12072"/>
                  </a:lnTo>
                  <a:lnTo>
                    <a:pt x="10766" y="12067"/>
                  </a:lnTo>
                  <a:lnTo>
                    <a:pt x="10784" y="12065"/>
                  </a:lnTo>
                  <a:lnTo>
                    <a:pt x="10801" y="12062"/>
                  </a:lnTo>
                  <a:lnTo>
                    <a:pt x="10818" y="12061"/>
                  </a:lnTo>
                  <a:lnTo>
                    <a:pt x="10835" y="12061"/>
                  </a:lnTo>
                  <a:lnTo>
                    <a:pt x="10853" y="12061"/>
                  </a:lnTo>
                  <a:lnTo>
                    <a:pt x="10870" y="12062"/>
                  </a:lnTo>
                  <a:lnTo>
                    <a:pt x="10888" y="12065"/>
                  </a:lnTo>
                  <a:lnTo>
                    <a:pt x="10904" y="12067"/>
                  </a:lnTo>
                  <a:lnTo>
                    <a:pt x="10922" y="12072"/>
                  </a:lnTo>
                  <a:lnTo>
                    <a:pt x="10939" y="12076"/>
                  </a:lnTo>
                  <a:lnTo>
                    <a:pt x="10955" y="12081"/>
                  </a:lnTo>
                  <a:lnTo>
                    <a:pt x="10971" y="12087"/>
                  </a:lnTo>
                  <a:lnTo>
                    <a:pt x="10988" y="12094"/>
                  </a:lnTo>
                  <a:lnTo>
                    <a:pt x="11004" y="12102"/>
                  </a:lnTo>
                  <a:lnTo>
                    <a:pt x="11020" y="12112"/>
                  </a:lnTo>
                  <a:lnTo>
                    <a:pt x="11035" y="12121"/>
                  </a:lnTo>
                  <a:lnTo>
                    <a:pt x="11050" y="12132"/>
                  </a:lnTo>
                  <a:lnTo>
                    <a:pt x="11064" y="12142"/>
                  </a:lnTo>
                  <a:lnTo>
                    <a:pt x="11078" y="12154"/>
                  </a:lnTo>
                  <a:lnTo>
                    <a:pt x="11092" y="12167"/>
                  </a:lnTo>
                  <a:lnTo>
                    <a:pt x="11092" y="12167"/>
                  </a:lnTo>
                  <a:lnTo>
                    <a:pt x="11104" y="12181"/>
                  </a:lnTo>
                  <a:lnTo>
                    <a:pt x="11117" y="12195"/>
                  </a:lnTo>
                  <a:lnTo>
                    <a:pt x="11128" y="12209"/>
                  </a:lnTo>
                  <a:lnTo>
                    <a:pt x="11138" y="12224"/>
                  </a:lnTo>
                  <a:lnTo>
                    <a:pt x="11147" y="12240"/>
                  </a:lnTo>
                  <a:lnTo>
                    <a:pt x="11157" y="12255"/>
                  </a:lnTo>
                  <a:lnTo>
                    <a:pt x="11164" y="12271"/>
                  </a:lnTo>
                  <a:lnTo>
                    <a:pt x="11171" y="12287"/>
                  </a:lnTo>
                  <a:lnTo>
                    <a:pt x="11178" y="12303"/>
                  </a:lnTo>
                  <a:lnTo>
                    <a:pt x="11183" y="12321"/>
                  </a:lnTo>
                  <a:lnTo>
                    <a:pt x="11187" y="12337"/>
                  </a:lnTo>
                  <a:lnTo>
                    <a:pt x="11191" y="12355"/>
                  </a:lnTo>
                  <a:lnTo>
                    <a:pt x="11194" y="12371"/>
                  </a:lnTo>
                  <a:lnTo>
                    <a:pt x="11197" y="12389"/>
                  </a:lnTo>
                  <a:lnTo>
                    <a:pt x="11198" y="12406"/>
                  </a:lnTo>
                  <a:lnTo>
                    <a:pt x="11198" y="12424"/>
                  </a:lnTo>
                  <a:lnTo>
                    <a:pt x="11198" y="12440"/>
                  </a:lnTo>
                  <a:lnTo>
                    <a:pt x="11197" y="12458"/>
                  </a:lnTo>
                  <a:lnTo>
                    <a:pt x="11194" y="12475"/>
                  </a:lnTo>
                  <a:lnTo>
                    <a:pt x="11191" y="12493"/>
                  </a:lnTo>
                  <a:lnTo>
                    <a:pt x="11187" y="12510"/>
                  </a:lnTo>
                  <a:lnTo>
                    <a:pt x="11183" y="12526"/>
                  </a:lnTo>
                  <a:lnTo>
                    <a:pt x="11178" y="12544"/>
                  </a:lnTo>
                  <a:lnTo>
                    <a:pt x="11171" y="12560"/>
                  </a:lnTo>
                  <a:lnTo>
                    <a:pt x="11164" y="12576"/>
                  </a:lnTo>
                  <a:lnTo>
                    <a:pt x="11157" y="12592"/>
                  </a:lnTo>
                  <a:lnTo>
                    <a:pt x="11147" y="12607"/>
                  </a:lnTo>
                  <a:lnTo>
                    <a:pt x="11138" y="12622"/>
                  </a:lnTo>
                  <a:lnTo>
                    <a:pt x="11128" y="12637"/>
                  </a:lnTo>
                  <a:lnTo>
                    <a:pt x="11117" y="12652"/>
                  </a:lnTo>
                  <a:lnTo>
                    <a:pt x="11104" y="12666"/>
                  </a:lnTo>
                  <a:lnTo>
                    <a:pt x="11092" y="12680"/>
                  </a:lnTo>
                  <a:lnTo>
                    <a:pt x="10245" y="13527"/>
                  </a:lnTo>
                  <a:lnTo>
                    <a:pt x="10245" y="13527"/>
                  </a:lnTo>
                  <a:lnTo>
                    <a:pt x="10232" y="13553"/>
                  </a:lnTo>
                  <a:lnTo>
                    <a:pt x="10222" y="13579"/>
                  </a:lnTo>
                  <a:lnTo>
                    <a:pt x="10214" y="13607"/>
                  </a:lnTo>
                  <a:lnTo>
                    <a:pt x="10210" y="13634"/>
                  </a:lnTo>
                  <a:lnTo>
                    <a:pt x="10206" y="13662"/>
                  </a:lnTo>
                  <a:lnTo>
                    <a:pt x="10204" y="13690"/>
                  </a:lnTo>
                  <a:lnTo>
                    <a:pt x="10205" y="13717"/>
                  </a:lnTo>
                  <a:lnTo>
                    <a:pt x="10208" y="13745"/>
                  </a:lnTo>
                  <a:lnTo>
                    <a:pt x="10213" y="13774"/>
                  </a:lnTo>
                  <a:lnTo>
                    <a:pt x="10220" y="13801"/>
                  </a:lnTo>
                  <a:lnTo>
                    <a:pt x="10229" y="13826"/>
                  </a:lnTo>
                  <a:lnTo>
                    <a:pt x="10241" y="13853"/>
                  </a:lnTo>
                  <a:lnTo>
                    <a:pt x="10255" y="13878"/>
                  </a:lnTo>
                  <a:lnTo>
                    <a:pt x="10271" y="13903"/>
                  </a:lnTo>
                  <a:lnTo>
                    <a:pt x="10289" y="13925"/>
                  </a:lnTo>
                  <a:lnTo>
                    <a:pt x="10309" y="13947"/>
                  </a:lnTo>
                  <a:lnTo>
                    <a:pt x="10309" y="13947"/>
                  </a:lnTo>
                  <a:lnTo>
                    <a:pt x="10322" y="13960"/>
                  </a:lnTo>
                  <a:lnTo>
                    <a:pt x="10336" y="13972"/>
                  </a:lnTo>
                  <a:lnTo>
                    <a:pt x="10352" y="13984"/>
                  </a:lnTo>
                  <a:lnTo>
                    <a:pt x="10366" y="13994"/>
                  </a:lnTo>
                  <a:lnTo>
                    <a:pt x="10381" y="14004"/>
                  </a:lnTo>
                  <a:lnTo>
                    <a:pt x="10397" y="14012"/>
                  </a:lnTo>
                  <a:lnTo>
                    <a:pt x="10413" y="14020"/>
                  </a:lnTo>
                  <a:lnTo>
                    <a:pt x="10429" y="14027"/>
                  </a:lnTo>
                  <a:lnTo>
                    <a:pt x="10445" y="14033"/>
                  </a:lnTo>
                  <a:lnTo>
                    <a:pt x="10462" y="14039"/>
                  </a:lnTo>
                  <a:lnTo>
                    <a:pt x="10480" y="14044"/>
                  </a:lnTo>
                  <a:lnTo>
                    <a:pt x="10496" y="14047"/>
                  </a:lnTo>
                  <a:lnTo>
                    <a:pt x="10514" y="14049"/>
                  </a:lnTo>
                  <a:lnTo>
                    <a:pt x="10531" y="14052"/>
                  </a:lnTo>
                  <a:lnTo>
                    <a:pt x="10548" y="14053"/>
                  </a:lnTo>
                  <a:lnTo>
                    <a:pt x="10565" y="14054"/>
                  </a:lnTo>
                  <a:lnTo>
                    <a:pt x="10583" y="14053"/>
                  </a:lnTo>
                  <a:lnTo>
                    <a:pt x="10600" y="14052"/>
                  </a:lnTo>
                  <a:lnTo>
                    <a:pt x="10617" y="14049"/>
                  </a:lnTo>
                  <a:lnTo>
                    <a:pt x="10634" y="14047"/>
                  </a:lnTo>
                  <a:lnTo>
                    <a:pt x="10652" y="14044"/>
                  </a:lnTo>
                  <a:lnTo>
                    <a:pt x="10669" y="14039"/>
                  </a:lnTo>
                  <a:lnTo>
                    <a:pt x="10685" y="14033"/>
                  </a:lnTo>
                  <a:lnTo>
                    <a:pt x="10701" y="14027"/>
                  </a:lnTo>
                  <a:lnTo>
                    <a:pt x="10718" y="14020"/>
                  </a:lnTo>
                  <a:lnTo>
                    <a:pt x="10734" y="14012"/>
                  </a:lnTo>
                  <a:lnTo>
                    <a:pt x="10750" y="14004"/>
                  </a:lnTo>
                  <a:lnTo>
                    <a:pt x="10765" y="13994"/>
                  </a:lnTo>
                  <a:lnTo>
                    <a:pt x="10780" y="13984"/>
                  </a:lnTo>
                  <a:lnTo>
                    <a:pt x="10794" y="13972"/>
                  </a:lnTo>
                  <a:lnTo>
                    <a:pt x="10808" y="13960"/>
                  </a:lnTo>
                  <a:lnTo>
                    <a:pt x="10821" y="13947"/>
                  </a:lnTo>
                  <a:lnTo>
                    <a:pt x="11135" y="13635"/>
                  </a:lnTo>
                  <a:lnTo>
                    <a:pt x="11412" y="13357"/>
                  </a:lnTo>
                  <a:lnTo>
                    <a:pt x="11412" y="13357"/>
                  </a:lnTo>
                  <a:lnTo>
                    <a:pt x="11426" y="13344"/>
                  </a:lnTo>
                  <a:lnTo>
                    <a:pt x="11440" y="13332"/>
                  </a:lnTo>
                  <a:lnTo>
                    <a:pt x="11454" y="13322"/>
                  </a:lnTo>
                  <a:lnTo>
                    <a:pt x="11469" y="13311"/>
                  </a:lnTo>
                  <a:lnTo>
                    <a:pt x="11484" y="13302"/>
                  </a:lnTo>
                  <a:lnTo>
                    <a:pt x="11500" y="13292"/>
                  </a:lnTo>
                  <a:lnTo>
                    <a:pt x="11516" y="13284"/>
                  </a:lnTo>
                  <a:lnTo>
                    <a:pt x="11533" y="13277"/>
                  </a:lnTo>
                  <a:lnTo>
                    <a:pt x="11549" y="13271"/>
                  </a:lnTo>
                  <a:lnTo>
                    <a:pt x="11565" y="13267"/>
                  </a:lnTo>
                  <a:lnTo>
                    <a:pt x="11582" y="13262"/>
                  </a:lnTo>
                  <a:lnTo>
                    <a:pt x="11599" y="13257"/>
                  </a:lnTo>
                  <a:lnTo>
                    <a:pt x="11616" y="13255"/>
                  </a:lnTo>
                  <a:lnTo>
                    <a:pt x="11633" y="13252"/>
                  </a:lnTo>
                  <a:lnTo>
                    <a:pt x="11651" y="13251"/>
                  </a:lnTo>
                  <a:lnTo>
                    <a:pt x="11669" y="13251"/>
                  </a:lnTo>
                  <a:lnTo>
                    <a:pt x="11686" y="13251"/>
                  </a:lnTo>
                  <a:lnTo>
                    <a:pt x="11703" y="13252"/>
                  </a:lnTo>
                  <a:lnTo>
                    <a:pt x="11720" y="13255"/>
                  </a:lnTo>
                  <a:lnTo>
                    <a:pt x="11738" y="13257"/>
                  </a:lnTo>
                  <a:lnTo>
                    <a:pt x="11754" y="13262"/>
                  </a:lnTo>
                  <a:lnTo>
                    <a:pt x="11772" y="13267"/>
                  </a:lnTo>
                  <a:lnTo>
                    <a:pt x="11788" y="13271"/>
                  </a:lnTo>
                  <a:lnTo>
                    <a:pt x="11805" y="13277"/>
                  </a:lnTo>
                  <a:lnTo>
                    <a:pt x="11821" y="13284"/>
                  </a:lnTo>
                  <a:lnTo>
                    <a:pt x="11837" y="13292"/>
                  </a:lnTo>
                  <a:lnTo>
                    <a:pt x="11853" y="13302"/>
                  </a:lnTo>
                  <a:lnTo>
                    <a:pt x="11868" y="13311"/>
                  </a:lnTo>
                  <a:lnTo>
                    <a:pt x="11882" y="13322"/>
                  </a:lnTo>
                  <a:lnTo>
                    <a:pt x="11898" y="13332"/>
                  </a:lnTo>
                  <a:lnTo>
                    <a:pt x="11912" y="13344"/>
                  </a:lnTo>
                  <a:lnTo>
                    <a:pt x="11925" y="13357"/>
                  </a:lnTo>
                  <a:lnTo>
                    <a:pt x="11925" y="13357"/>
                  </a:lnTo>
                  <a:lnTo>
                    <a:pt x="11938" y="13371"/>
                  </a:lnTo>
                  <a:lnTo>
                    <a:pt x="11949" y="13385"/>
                  </a:lnTo>
                  <a:lnTo>
                    <a:pt x="11961" y="13399"/>
                  </a:lnTo>
                  <a:lnTo>
                    <a:pt x="11972" y="13414"/>
                  </a:lnTo>
                  <a:lnTo>
                    <a:pt x="11981" y="13430"/>
                  </a:lnTo>
                  <a:lnTo>
                    <a:pt x="11989" y="13445"/>
                  </a:lnTo>
                  <a:lnTo>
                    <a:pt x="11997" y="13461"/>
                  </a:lnTo>
                  <a:lnTo>
                    <a:pt x="12004" y="13477"/>
                  </a:lnTo>
                  <a:lnTo>
                    <a:pt x="12010" y="13493"/>
                  </a:lnTo>
                  <a:lnTo>
                    <a:pt x="12016" y="13511"/>
                  </a:lnTo>
                  <a:lnTo>
                    <a:pt x="12021" y="13527"/>
                  </a:lnTo>
                  <a:lnTo>
                    <a:pt x="12024" y="13545"/>
                  </a:lnTo>
                  <a:lnTo>
                    <a:pt x="12027" y="13561"/>
                  </a:lnTo>
                  <a:lnTo>
                    <a:pt x="12029" y="13579"/>
                  </a:lnTo>
                  <a:lnTo>
                    <a:pt x="12030" y="13596"/>
                  </a:lnTo>
                  <a:lnTo>
                    <a:pt x="12030" y="13614"/>
                  </a:lnTo>
                  <a:lnTo>
                    <a:pt x="12030" y="13630"/>
                  </a:lnTo>
                  <a:lnTo>
                    <a:pt x="12029" y="13648"/>
                  </a:lnTo>
                  <a:lnTo>
                    <a:pt x="12027" y="13666"/>
                  </a:lnTo>
                  <a:lnTo>
                    <a:pt x="12024" y="13683"/>
                  </a:lnTo>
                  <a:lnTo>
                    <a:pt x="12021" y="13700"/>
                  </a:lnTo>
                  <a:lnTo>
                    <a:pt x="12016" y="13716"/>
                  </a:lnTo>
                  <a:lnTo>
                    <a:pt x="12010" y="13734"/>
                  </a:lnTo>
                  <a:lnTo>
                    <a:pt x="12004" y="13750"/>
                  </a:lnTo>
                  <a:lnTo>
                    <a:pt x="11997" y="13767"/>
                  </a:lnTo>
                  <a:lnTo>
                    <a:pt x="11989" y="13782"/>
                  </a:lnTo>
                  <a:lnTo>
                    <a:pt x="11981" y="13797"/>
                  </a:lnTo>
                  <a:lnTo>
                    <a:pt x="11972" y="13812"/>
                  </a:lnTo>
                  <a:lnTo>
                    <a:pt x="11961" y="13828"/>
                  </a:lnTo>
                  <a:lnTo>
                    <a:pt x="11949" y="13842"/>
                  </a:lnTo>
                  <a:lnTo>
                    <a:pt x="11938" y="13856"/>
                  </a:lnTo>
                  <a:lnTo>
                    <a:pt x="11925" y="13870"/>
                  </a:lnTo>
                  <a:lnTo>
                    <a:pt x="9820" y="15974"/>
                  </a:lnTo>
                  <a:lnTo>
                    <a:pt x="9820" y="15974"/>
                  </a:lnTo>
                  <a:lnTo>
                    <a:pt x="9807" y="15987"/>
                  </a:lnTo>
                  <a:lnTo>
                    <a:pt x="9795" y="16001"/>
                  </a:lnTo>
                  <a:lnTo>
                    <a:pt x="9783" y="16017"/>
                  </a:lnTo>
                  <a:lnTo>
                    <a:pt x="9773" y="16031"/>
                  </a:lnTo>
                  <a:lnTo>
                    <a:pt x="9763" y="16046"/>
                  </a:lnTo>
                  <a:lnTo>
                    <a:pt x="9755" y="16062"/>
                  </a:lnTo>
                  <a:lnTo>
                    <a:pt x="9747" y="16078"/>
                  </a:lnTo>
                  <a:lnTo>
                    <a:pt x="9740" y="16094"/>
                  </a:lnTo>
                  <a:lnTo>
                    <a:pt x="9734" y="16111"/>
                  </a:lnTo>
                  <a:lnTo>
                    <a:pt x="9728" y="16127"/>
                  </a:lnTo>
                  <a:lnTo>
                    <a:pt x="9724" y="16145"/>
                  </a:lnTo>
                  <a:lnTo>
                    <a:pt x="9720" y="16161"/>
                  </a:lnTo>
                  <a:lnTo>
                    <a:pt x="9718" y="16179"/>
                  </a:lnTo>
                  <a:lnTo>
                    <a:pt x="9715" y="16196"/>
                  </a:lnTo>
                  <a:lnTo>
                    <a:pt x="9714" y="16213"/>
                  </a:lnTo>
                  <a:lnTo>
                    <a:pt x="9714" y="16230"/>
                  </a:lnTo>
                  <a:lnTo>
                    <a:pt x="9714" y="16248"/>
                  </a:lnTo>
                  <a:lnTo>
                    <a:pt x="9715" y="16265"/>
                  </a:lnTo>
                  <a:lnTo>
                    <a:pt x="9718" y="16282"/>
                  </a:lnTo>
                  <a:lnTo>
                    <a:pt x="9720" y="16299"/>
                  </a:lnTo>
                  <a:lnTo>
                    <a:pt x="9724" y="16317"/>
                  </a:lnTo>
                  <a:lnTo>
                    <a:pt x="9728" y="16334"/>
                  </a:lnTo>
                  <a:lnTo>
                    <a:pt x="9734" y="16350"/>
                  </a:lnTo>
                  <a:lnTo>
                    <a:pt x="9740" y="16366"/>
                  </a:lnTo>
                  <a:lnTo>
                    <a:pt x="9747" y="16383"/>
                  </a:lnTo>
                  <a:lnTo>
                    <a:pt x="9755" y="16399"/>
                  </a:lnTo>
                  <a:lnTo>
                    <a:pt x="9763" y="16414"/>
                  </a:lnTo>
                  <a:lnTo>
                    <a:pt x="9773" y="16430"/>
                  </a:lnTo>
                  <a:lnTo>
                    <a:pt x="9783" y="16445"/>
                  </a:lnTo>
                  <a:lnTo>
                    <a:pt x="9795" y="16459"/>
                  </a:lnTo>
                  <a:lnTo>
                    <a:pt x="9807" y="16473"/>
                  </a:lnTo>
                  <a:lnTo>
                    <a:pt x="9820" y="16486"/>
                  </a:lnTo>
                  <a:lnTo>
                    <a:pt x="9820" y="16486"/>
                  </a:lnTo>
                  <a:lnTo>
                    <a:pt x="9820" y="16486"/>
                  </a:lnTo>
                  <a:lnTo>
                    <a:pt x="9834" y="16499"/>
                  </a:lnTo>
                  <a:lnTo>
                    <a:pt x="9847" y="16512"/>
                  </a:lnTo>
                  <a:lnTo>
                    <a:pt x="9862" y="16522"/>
                  </a:lnTo>
                  <a:lnTo>
                    <a:pt x="9876" y="16533"/>
                  </a:lnTo>
                  <a:lnTo>
                    <a:pt x="9891" y="16542"/>
                  </a:lnTo>
                  <a:lnTo>
                    <a:pt x="9908" y="16552"/>
                  </a:lnTo>
                  <a:lnTo>
                    <a:pt x="9923" y="16559"/>
                  </a:lnTo>
                  <a:lnTo>
                    <a:pt x="9940" y="16566"/>
                  </a:lnTo>
                  <a:lnTo>
                    <a:pt x="9956" y="16573"/>
                  </a:lnTo>
                  <a:lnTo>
                    <a:pt x="9972" y="16578"/>
                  </a:lnTo>
                  <a:lnTo>
                    <a:pt x="9990" y="16582"/>
                  </a:lnTo>
                  <a:lnTo>
                    <a:pt x="10006" y="16586"/>
                  </a:lnTo>
                  <a:lnTo>
                    <a:pt x="10024" y="16589"/>
                  </a:lnTo>
                  <a:lnTo>
                    <a:pt x="10042" y="16591"/>
                  </a:lnTo>
                  <a:lnTo>
                    <a:pt x="10059" y="16593"/>
                  </a:lnTo>
                  <a:lnTo>
                    <a:pt x="10076" y="16593"/>
                  </a:lnTo>
                  <a:lnTo>
                    <a:pt x="10093" y="16593"/>
                  </a:lnTo>
                  <a:lnTo>
                    <a:pt x="10111" y="16591"/>
                  </a:lnTo>
                  <a:lnTo>
                    <a:pt x="10129" y="16589"/>
                  </a:lnTo>
                  <a:lnTo>
                    <a:pt x="10145" y="16586"/>
                  </a:lnTo>
                  <a:lnTo>
                    <a:pt x="10163" y="16582"/>
                  </a:lnTo>
                  <a:lnTo>
                    <a:pt x="10179" y="16578"/>
                  </a:lnTo>
                  <a:lnTo>
                    <a:pt x="10195" y="16573"/>
                  </a:lnTo>
                  <a:lnTo>
                    <a:pt x="10213" y="16566"/>
                  </a:lnTo>
                  <a:lnTo>
                    <a:pt x="10228" y="16559"/>
                  </a:lnTo>
                  <a:lnTo>
                    <a:pt x="10245" y="16552"/>
                  </a:lnTo>
                  <a:lnTo>
                    <a:pt x="10260" y="16542"/>
                  </a:lnTo>
                  <a:lnTo>
                    <a:pt x="10275" y="16533"/>
                  </a:lnTo>
                  <a:lnTo>
                    <a:pt x="10291" y="16522"/>
                  </a:lnTo>
                  <a:lnTo>
                    <a:pt x="10305" y="16512"/>
                  </a:lnTo>
                  <a:lnTo>
                    <a:pt x="10319" y="16499"/>
                  </a:lnTo>
                  <a:lnTo>
                    <a:pt x="10333" y="16486"/>
                  </a:lnTo>
                  <a:lnTo>
                    <a:pt x="10665" y="16155"/>
                  </a:lnTo>
                  <a:lnTo>
                    <a:pt x="10665" y="16155"/>
                  </a:lnTo>
                  <a:lnTo>
                    <a:pt x="10678" y="16142"/>
                  </a:lnTo>
                  <a:lnTo>
                    <a:pt x="10692" y="16129"/>
                  </a:lnTo>
                  <a:lnTo>
                    <a:pt x="10706" y="16119"/>
                  </a:lnTo>
                  <a:lnTo>
                    <a:pt x="10721" y="16108"/>
                  </a:lnTo>
                  <a:lnTo>
                    <a:pt x="10737" y="16099"/>
                  </a:lnTo>
                  <a:lnTo>
                    <a:pt x="10752" y="16089"/>
                  </a:lnTo>
                  <a:lnTo>
                    <a:pt x="10768" y="16082"/>
                  </a:lnTo>
                  <a:lnTo>
                    <a:pt x="10785" y="16075"/>
                  </a:lnTo>
                  <a:lnTo>
                    <a:pt x="10801" y="16068"/>
                  </a:lnTo>
                  <a:lnTo>
                    <a:pt x="10818" y="16064"/>
                  </a:lnTo>
                  <a:lnTo>
                    <a:pt x="10834" y="16059"/>
                  </a:lnTo>
                  <a:lnTo>
                    <a:pt x="10852" y="16055"/>
                  </a:lnTo>
                  <a:lnTo>
                    <a:pt x="10869" y="16052"/>
                  </a:lnTo>
                  <a:lnTo>
                    <a:pt x="10886" y="16049"/>
                  </a:lnTo>
                  <a:lnTo>
                    <a:pt x="10903" y="16048"/>
                  </a:lnTo>
                  <a:lnTo>
                    <a:pt x="10921" y="16048"/>
                  </a:lnTo>
                  <a:lnTo>
                    <a:pt x="10939" y="16048"/>
                  </a:lnTo>
                  <a:lnTo>
                    <a:pt x="10956" y="16049"/>
                  </a:lnTo>
                  <a:lnTo>
                    <a:pt x="10973" y="16052"/>
                  </a:lnTo>
                  <a:lnTo>
                    <a:pt x="10990" y="16055"/>
                  </a:lnTo>
                  <a:lnTo>
                    <a:pt x="11007" y="16059"/>
                  </a:lnTo>
                  <a:lnTo>
                    <a:pt x="11024" y="16064"/>
                  </a:lnTo>
                  <a:lnTo>
                    <a:pt x="11041" y="16068"/>
                  </a:lnTo>
                  <a:lnTo>
                    <a:pt x="11057" y="16075"/>
                  </a:lnTo>
                  <a:lnTo>
                    <a:pt x="11074" y="16082"/>
                  </a:lnTo>
                  <a:lnTo>
                    <a:pt x="11089" y="16089"/>
                  </a:lnTo>
                  <a:lnTo>
                    <a:pt x="11105" y="16099"/>
                  </a:lnTo>
                  <a:lnTo>
                    <a:pt x="11120" y="16108"/>
                  </a:lnTo>
                  <a:lnTo>
                    <a:pt x="11135" y="16119"/>
                  </a:lnTo>
                  <a:lnTo>
                    <a:pt x="11150" y="16129"/>
                  </a:lnTo>
                  <a:lnTo>
                    <a:pt x="11164" y="16142"/>
                  </a:lnTo>
                  <a:lnTo>
                    <a:pt x="11177" y="16155"/>
                  </a:lnTo>
                  <a:lnTo>
                    <a:pt x="11177" y="16155"/>
                  </a:lnTo>
                  <a:lnTo>
                    <a:pt x="11190" y="16168"/>
                  </a:lnTo>
                  <a:lnTo>
                    <a:pt x="11201" y="16182"/>
                  </a:lnTo>
                  <a:lnTo>
                    <a:pt x="11213" y="16196"/>
                  </a:lnTo>
                  <a:lnTo>
                    <a:pt x="11224" y="16211"/>
                  </a:lnTo>
                  <a:lnTo>
                    <a:pt x="11233" y="16227"/>
                  </a:lnTo>
                  <a:lnTo>
                    <a:pt x="11241" y="16242"/>
                  </a:lnTo>
                  <a:lnTo>
                    <a:pt x="11250" y="16258"/>
                  </a:lnTo>
                  <a:lnTo>
                    <a:pt x="11257" y="16275"/>
                  </a:lnTo>
                  <a:lnTo>
                    <a:pt x="11263" y="16291"/>
                  </a:lnTo>
                  <a:lnTo>
                    <a:pt x="11268" y="16308"/>
                  </a:lnTo>
                  <a:lnTo>
                    <a:pt x="11273" y="16324"/>
                  </a:lnTo>
                  <a:lnTo>
                    <a:pt x="11277" y="16342"/>
                  </a:lnTo>
                  <a:lnTo>
                    <a:pt x="11279" y="16358"/>
                  </a:lnTo>
                  <a:lnTo>
                    <a:pt x="11281" y="16376"/>
                  </a:lnTo>
                  <a:lnTo>
                    <a:pt x="11282" y="16393"/>
                  </a:lnTo>
                  <a:lnTo>
                    <a:pt x="11284" y="16411"/>
                  </a:lnTo>
                  <a:lnTo>
                    <a:pt x="11282" y="16429"/>
                  </a:lnTo>
                  <a:lnTo>
                    <a:pt x="11281" y="16445"/>
                  </a:lnTo>
                  <a:lnTo>
                    <a:pt x="11279" y="16463"/>
                  </a:lnTo>
                  <a:lnTo>
                    <a:pt x="11277" y="16480"/>
                  </a:lnTo>
                  <a:lnTo>
                    <a:pt x="11273" y="16497"/>
                  </a:lnTo>
                  <a:lnTo>
                    <a:pt x="11268" y="16514"/>
                  </a:lnTo>
                  <a:lnTo>
                    <a:pt x="11263" y="16531"/>
                  </a:lnTo>
                  <a:lnTo>
                    <a:pt x="11257" y="16547"/>
                  </a:lnTo>
                  <a:lnTo>
                    <a:pt x="11250" y="16564"/>
                  </a:lnTo>
                  <a:lnTo>
                    <a:pt x="11241" y="16579"/>
                  </a:lnTo>
                  <a:lnTo>
                    <a:pt x="11233" y="16595"/>
                  </a:lnTo>
                  <a:lnTo>
                    <a:pt x="11224" y="16611"/>
                  </a:lnTo>
                  <a:lnTo>
                    <a:pt x="11213" y="16625"/>
                  </a:lnTo>
                  <a:lnTo>
                    <a:pt x="11201" y="16640"/>
                  </a:lnTo>
                  <a:lnTo>
                    <a:pt x="11190" y="16654"/>
                  </a:lnTo>
                  <a:lnTo>
                    <a:pt x="11177" y="16667"/>
                  </a:lnTo>
                  <a:lnTo>
                    <a:pt x="6243" y="21600"/>
                  </a:lnTo>
                  <a:lnTo>
                    <a:pt x="38360" y="21600"/>
                  </a:lnTo>
                  <a:lnTo>
                    <a:pt x="38360" y="4745"/>
                  </a:lnTo>
                  <a:lnTo>
                    <a:pt x="31324" y="1183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096" rtl="0"/>
              <a:endParaRPr lang="en-US" sz="2520" kern="1200">
                <a:solidFill>
                  <a:prstClr val="black"/>
                </a:solidFill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99924383-696E-4743-8DDE-479092B95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6888" y="0"/>
              <a:ext cx="892175" cy="727075"/>
            </a:xfrm>
            <a:custGeom>
              <a:avLst/>
              <a:gdLst>
                <a:gd name="T0" fmla="*/ 104 w 2812"/>
                <a:gd name="T1" fmla="*/ 2183 h 2288"/>
                <a:gd name="T2" fmla="*/ 131 w 2812"/>
                <a:gd name="T3" fmla="*/ 2208 h 2288"/>
                <a:gd name="T4" fmla="*/ 161 w 2812"/>
                <a:gd name="T5" fmla="*/ 2229 h 2288"/>
                <a:gd name="T6" fmla="*/ 191 w 2812"/>
                <a:gd name="T7" fmla="*/ 2247 h 2288"/>
                <a:gd name="T8" fmla="*/ 223 w 2812"/>
                <a:gd name="T9" fmla="*/ 2262 h 2288"/>
                <a:gd name="T10" fmla="*/ 256 w 2812"/>
                <a:gd name="T11" fmla="*/ 2273 h 2288"/>
                <a:gd name="T12" fmla="*/ 290 w 2812"/>
                <a:gd name="T13" fmla="*/ 2282 h 2288"/>
                <a:gd name="T14" fmla="*/ 324 w 2812"/>
                <a:gd name="T15" fmla="*/ 2286 h 2288"/>
                <a:gd name="T16" fmla="*/ 358 w 2812"/>
                <a:gd name="T17" fmla="*/ 2288 h 2288"/>
                <a:gd name="T18" fmla="*/ 392 w 2812"/>
                <a:gd name="T19" fmla="*/ 2286 h 2288"/>
                <a:gd name="T20" fmla="*/ 426 w 2812"/>
                <a:gd name="T21" fmla="*/ 2282 h 2288"/>
                <a:gd name="T22" fmla="*/ 460 w 2812"/>
                <a:gd name="T23" fmla="*/ 2273 h 2288"/>
                <a:gd name="T24" fmla="*/ 493 w 2812"/>
                <a:gd name="T25" fmla="*/ 2262 h 2288"/>
                <a:gd name="T26" fmla="*/ 524 w 2812"/>
                <a:gd name="T27" fmla="*/ 2247 h 2288"/>
                <a:gd name="T28" fmla="*/ 555 w 2812"/>
                <a:gd name="T29" fmla="*/ 2229 h 2288"/>
                <a:gd name="T30" fmla="*/ 583 w 2812"/>
                <a:gd name="T31" fmla="*/ 2208 h 2288"/>
                <a:gd name="T32" fmla="*/ 611 w 2812"/>
                <a:gd name="T33" fmla="*/ 2183 h 2288"/>
                <a:gd name="T34" fmla="*/ 1778 w 2812"/>
                <a:gd name="T35" fmla="*/ 0 h 2288"/>
                <a:gd name="T36" fmla="*/ 104 w 2812"/>
                <a:gd name="T37" fmla="*/ 1676 h 2288"/>
                <a:gd name="T38" fmla="*/ 80 w 2812"/>
                <a:gd name="T39" fmla="*/ 1704 h 2288"/>
                <a:gd name="T40" fmla="*/ 58 w 2812"/>
                <a:gd name="T41" fmla="*/ 1732 h 2288"/>
                <a:gd name="T42" fmla="*/ 41 w 2812"/>
                <a:gd name="T43" fmla="*/ 1763 h 2288"/>
                <a:gd name="T44" fmla="*/ 26 w 2812"/>
                <a:gd name="T45" fmla="*/ 1795 h 2288"/>
                <a:gd name="T46" fmla="*/ 14 w 2812"/>
                <a:gd name="T47" fmla="*/ 1827 h 2288"/>
                <a:gd name="T48" fmla="*/ 6 w 2812"/>
                <a:gd name="T49" fmla="*/ 1862 h 2288"/>
                <a:gd name="T50" fmla="*/ 1 w 2812"/>
                <a:gd name="T51" fmla="*/ 1896 h 2288"/>
                <a:gd name="T52" fmla="*/ 0 w 2812"/>
                <a:gd name="T53" fmla="*/ 1930 h 2288"/>
                <a:gd name="T54" fmla="*/ 1 w 2812"/>
                <a:gd name="T55" fmla="*/ 1964 h 2288"/>
                <a:gd name="T56" fmla="*/ 6 w 2812"/>
                <a:gd name="T57" fmla="*/ 1998 h 2288"/>
                <a:gd name="T58" fmla="*/ 14 w 2812"/>
                <a:gd name="T59" fmla="*/ 2032 h 2288"/>
                <a:gd name="T60" fmla="*/ 26 w 2812"/>
                <a:gd name="T61" fmla="*/ 2065 h 2288"/>
                <a:gd name="T62" fmla="*/ 41 w 2812"/>
                <a:gd name="T63" fmla="*/ 2096 h 2288"/>
                <a:gd name="T64" fmla="*/ 58 w 2812"/>
                <a:gd name="T65" fmla="*/ 2127 h 2288"/>
                <a:gd name="T66" fmla="*/ 80 w 2812"/>
                <a:gd name="T67" fmla="*/ 2156 h 2288"/>
                <a:gd name="T68" fmla="*/ 104 w 2812"/>
                <a:gd name="T69" fmla="*/ 2183 h 2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12" h="2288">
                  <a:moveTo>
                    <a:pt x="104" y="2183"/>
                  </a:moveTo>
                  <a:lnTo>
                    <a:pt x="104" y="2183"/>
                  </a:lnTo>
                  <a:lnTo>
                    <a:pt x="117" y="2196"/>
                  </a:lnTo>
                  <a:lnTo>
                    <a:pt x="131" y="2208"/>
                  </a:lnTo>
                  <a:lnTo>
                    <a:pt x="145" y="2218"/>
                  </a:lnTo>
                  <a:lnTo>
                    <a:pt x="161" y="2229"/>
                  </a:lnTo>
                  <a:lnTo>
                    <a:pt x="176" y="2238"/>
                  </a:lnTo>
                  <a:lnTo>
                    <a:pt x="191" y="2247"/>
                  </a:lnTo>
                  <a:lnTo>
                    <a:pt x="206" y="2255"/>
                  </a:lnTo>
                  <a:lnTo>
                    <a:pt x="223" y="2262"/>
                  </a:lnTo>
                  <a:lnTo>
                    <a:pt x="239" y="2268"/>
                  </a:lnTo>
                  <a:lnTo>
                    <a:pt x="256" y="2273"/>
                  </a:lnTo>
                  <a:lnTo>
                    <a:pt x="272" y="2278"/>
                  </a:lnTo>
                  <a:lnTo>
                    <a:pt x="290" y="2282"/>
                  </a:lnTo>
                  <a:lnTo>
                    <a:pt x="306" y="2284"/>
                  </a:lnTo>
                  <a:lnTo>
                    <a:pt x="324" y="2286"/>
                  </a:lnTo>
                  <a:lnTo>
                    <a:pt x="340" y="2288"/>
                  </a:lnTo>
                  <a:lnTo>
                    <a:pt x="358" y="2288"/>
                  </a:lnTo>
                  <a:lnTo>
                    <a:pt x="374" y="2288"/>
                  </a:lnTo>
                  <a:lnTo>
                    <a:pt x="392" y="2286"/>
                  </a:lnTo>
                  <a:lnTo>
                    <a:pt x="409" y="2284"/>
                  </a:lnTo>
                  <a:lnTo>
                    <a:pt x="426" y="2282"/>
                  </a:lnTo>
                  <a:lnTo>
                    <a:pt x="442" y="2278"/>
                  </a:lnTo>
                  <a:lnTo>
                    <a:pt x="460" y="2273"/>
                  </a:lnTo>
                  <a:lnTo>
                    <a:pt x="476" y="2268"/>
                  </a:lnTo>
                  <a:lnTo>
                    <a:pt x="493" y="2262"/>
                  </a:lnTo>
                  <a:lnTo>
                    <a:pt x="508" y="2255"/>
                  </a:lnTo>
                  <a:lnTo>
                    <a:pt x="524" y="2247"/>
                  </a:lnTo>
                  <a:lnTo>
                    <a:pt x="540" y="2238"/>
                  </a:lnTo>
                  <a:lnTo>
                    <a:pt x="555" y="2229"/>
                  </a:lnTo>
                  <a:lnTo>
                    <a:pt x="569" y="2218"/>
                  </a:lnTo>
                  <a:lnTo>
                    <a:pt x="583" y="2208"/>
                  </a:lnTo>
                  <a:lnTo>
                    <a:pt x="597" y="2196"/>
                  </a:lnTo>
                  <a:lnTo>
                    <a:pt x="611" y="2183"/>
                  </a:lnTo>
                  <a:lnTo>
                    <a:pt x="2812" y="0"/>
                  </a:lnTo>
                  <a:lnTo>
                    <a:pt x="1778" y="0"/>
                  </a:lnTo>
                  <a:lnTo>
                    <a:pt x="104" y="1676"/>
                  </a:lnTo>
                  <a:lnTo>
                    <a:pt x="104" y="1676"/>
                  </a:lnTo>
                  <a:lnTo>
                    <a:pt x="91" y="1690"/>
                  </a:lnTo>
                  <a:lnTo>
                    <a:pt x="80" y="1704"/>
                  </a:lnTo>
                  <a:lnTo>
                    <a:pt x="69" y="1718"/>
                  </a:lnTo>
                  <a:lnTo>
                    <a:pt x="58" y="1732"/>
                  </a:lnTo>
                  <a:lnTo>
                    <a:pt x="49" y="1748"/>
                  </a:lnTo>
                  <a:lnTo>
                    <a:pt x="41" y="1763"/>
                  </a:lnTo>
                  <a:lnTo>
                    <a:pt x="33" y="1779"/>
                  </a:lnTo>
                  <a:lnTo>
                    <a:pt x="26" y="1795"/>
                  </a:lnTo>
                  <a:lnTo>
                    <a:pt x="20" y="1811"/>
                  </a:lnTo>
                  <a:lnTo>
                    <a:pt x="14" y="1827"/>
                  </a:lnTo>
                  <a:lnTo>
                    <a:pt x="9" y="1845"/>
                  </a:lnTo>
                  <a:lnTo>
                    <a:pt x="6" y="1862"/>
                  </a:lnTo>
                  <a:lnTo>
                    <a:pt x="3" y="1878"/>
                  </a:lnTo>
                  <a:lnTo>
                    <a:pt x="1" y="1896"/>
                  </a:lnTo>
                  <a:lnTo>
                    <a:pt x="0" y="1913"/>
                  </a:lnTo>
                  <a:lnTo>
                    <a:pt x="0" y="1930"/>
                  </a:lnTo>
                  <a:lnTo>
                    <a:pt x="0" y="1947"/>
                  </a:lnTo>
                  <a:lnTo>
                    <a:pt x="1" y="1964"/>
                  </a:lnTo>
                  <a:lnTo>
                    <a:pt x="3" y="1981"/>
                  </a:lnTo>
                  <a:lnTo>
                    <a:pt x="6" y="1998"/>
                  </a:lnTo>
                  <a:lnTo>
                    <a:pt x="9" y="2015"/>
                  </a:lnTo>
                  <a:lnTo>
                    <a:pt x="14" y="2032"/>
                  </a:lnTo>
                  <a:lnTo>
                    <a:pt x="20" y="2048"/>
                  </a:lnTo>
                  <a:lnTo>
                    <a:pt x="26" y="2065"/>
                  </a:lnTo>
                  <a:lnTo>
                    <a:pt x="33" y="2081"/>
                  </a:lnTo>
                  <a:lnTo>
                    <a:pt x="41" y="2096"/>
                  </a:lnTo>
                  <a:lnTo>
                    <a:pt x="49" y="2112"/>
                  </a:lnTo>
                  <a:lnTo>
                    <a:pt x="58" y="2127"/>
                  </a:lnTo>
                  <a:lnTo>
                    <a:pt x="69" y="2142"/>
                  </a:lnTo>
                  <a:lnTo>
                    <a:pt x="80" y="2156"/>
                  </a:lnTo>
                  <a:lnTo>
                    <a:pt x="91" y="2170"/>
                  </a:lnTo>
                  <a:lnTo>
                    <a:pt x="104" y="2183"/>
                  </a:lnTo>
                  <a:lnTo>
                    <a:pt x="104" y="218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096" rtl="0"/>
              <a:endParaRPr lang="en-US" sz="2520" kern="1200">
                <a:solidFill>
                  <a:prstClr val="black"/>
                </a:solidFill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60BD6040-2403-444E-A327-F857C7AC5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8288" y="1885950"/>
              <a:ext cx="487363" cy="650875"/>
            </a:xfrm>
            <a:custGeom>
              <a:avLst/>
              <a:gdLst>
                <a:gd name="T0" fmla="*/ 105 w 1535"/>
                <a:gd name="T1" fmla="*/ 1944 h 2050"/>
                <a:gd name="T2" fmla="*/ 133 w 1535"/>
                <a:gd name="T3" fmla="*/ 1969 h 2050"/>
                <a:gd name="T4" fmla="*/ 163 w 1535"/>
                <a:gd name="T5" fmla="*/ 1990 h 2050"/>
                <a:gd name="T6" fmla="*/ 193 w 1535"/>
                <a:gd name="T7" fmla="*/ 2009 h 2050"/>
                <a:gd name="T8" fmla="*/ 226 w 1535"/>
                <a:gd name="T9" fmla="*/ 2024 h 2050"/>
                <a:gd name="T10" fmla="*/ 259 w 1535"/>
                <a:gd name="T11" fmla="*/ 2036 h 2050"/>
                <a:gd name="T12" fmla="*/ 293 w 1535"/>
                <a:gd name="T13" fmla="*/ 2044 h 2050"/>
                <a:gd name="T14" fmla="*/ 328 w 1535"/>
                <a:gd name="T15" fmla="*/ 2049 h 2050"/>
                <a:gd name="T16" fmla="*/ 362 w 1535"/>
                <a:gd name="T17" fmla="*/ 2050 h 2050"/>
                <a:gd name="T18" fmla="*/ 397 w 1535"/>
                <a:gd name="T19" fmla="*/ 2049 h 2050"/>
                <a:gd name="T20" fmla="*/ 432 w 1535"/>
                <a:gd name="T21" fmla="*/ 2044 h 2050"/>
                <a:gd name="T22" fmla="*/ 466 w 1535"/>
                <a:gd name="T23" fmla="*/ 2036 h 2050"/>
                <a:gd name="T24" fmla="*/ 500 w 1535"/>
                <a:gd name="T25" fmla="*/ 2024 h 2050"/>
                <a:gd name="T26" fmla="*/ 531 w 1535"/>
                <a:gd name="T27" fmla="*/ 2009 h 2050"/>
                <a:gd name="T28" fmla="*/ 563 w 1535"/>
                <a:gd name="T29" fmla="*/ 1990 h 2050"/>
                <a:gd name="T30" fmla="*/ 592 w 1535"/>
                <a:gd name="T31" fmla="*/ 1969 h 2050"/>
                <a:gd name="T32" fmla="*/ 619 w 1535"/>
                <a:gd name="T33" fmla="*/ 1944 h 2050"/>
                <a:gd name="T34" fmla="*/ 1535 w 1535"/>
                <a:gd name="T35" fmla="*/ 0 h 2050"/>
                <a:gd name="T36" fmla="*/ 105 w 1535"/>
                <a:gd name="T37" fmla="*/ 1430 h 2050"/>
                <a:gd name="T38" fmla="*/ 81 w 1535"/>
                <a:gd name="T39" fmla="*/ 1457 h 2050"/>
                <a:gd name="T40" fmla="*/ 59 w 1535"/>
                <a:gd name="T41" fmla="*/ 1486 h 2050"/>
                <a:gd name="T42" fmla="*/ 41 w 1535"/>
                <a:gd name="T43" fmla="*/ 1518 h 2050"/>
                <a:gd name="T44" fmla="*/ 25 w 1535"/>
                <a:gd name="T45" fmla="*/ 1550 h 2050"/>
                <a:gd name="T46" fmla="*/ 14 w 1535"/>
                <a:gd name="T47" fmla="*/ 1584 h 2050"/>
                <a:gd name="T48" fmla="*/ 5 w 1535"/>
                <a:gd name="T49" fmla="*/ 1618 h 2050"/>
                <a:gd name="T50" fmla="*/ 1 w 1535"/>
                <a:gd name="T51" fmla="*/ 1652 h 2050"/>
                <a:gd name="T52" fmla="*/ 0 w 1535"/>
                <a:gd name="T53" fmla="*/ 1687 h 2050"/>
                <a:gd name="T54" fmla="*/ 1 w 1535"/>
                <a:gd name="T55" fmla="*/ 1721 h 2050"/>
                <a:gd name="T56" fmla="*/ 5 w 1535"/>
                <a:gd name="T57" fmla="*/ 1756 h 2050"/>
                <a:gd name="T58" fmla="*/ 14 w 1535"/>
                <a:gd name="T59" fmla="*/ 1790 h 2050"/>
                <a:gd name="T60" fmla="*/ 25 w 1535"/>
                <a:gd name="T61" fmla="*/ 1823 h 2050"/>
                <a:gd name="T62" fmla="*/ 41 w 1535"/>
                <a:gd name="T63" fmla="*/ 1856 h 2050"/>
                <a:gd name="T64" fmla="*/ 59 w 1535"/>
                <a:gd name="T65" fmla="*/ 1887 h 2050"/>
                <a:gd name="T66" fmla="*/ 81 w 1535"/>
                <a:gd name="T67" fmla="*/ 1916 h 2050"/>
                <a:gd name="T68" fmla="*/ 105 w 1535"/>
                <a:gd name="T69" fmla="*/ 1944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35" h="2050">
                  <a:moveTo>
                    <a:pt x="105" y="1944"/>
                  </a:moveTo>
                  <a:lnTo>
                    <a:pt x="105" y="1944"/>
                  </a:lnTo>
                  <a:lnTo>
                    <a:pt x="119" y="1957"/>
                  </a:lnTo>
                  <a:lnTo>
                    <a:pt x="133" y="1969"/>
                  </a:lnTo>
                  <a:lnTo>
                    <a:pt x="147" y="1980"/>
                  </a:lnTo>
                  <a:lnTo>
                    <a:pt x="163" y="1990"/>
                  </a:lnTo>
                  <a:lnTo>
                    <a:pt x="178" y="2000"/>
                  </a:lnTo>
                  <a:lnTo>
                    <a:pt x="193" y="2009"/>
                  </a:lnTo>
                  <a:lnTo>
                    <a:pt x="210" y="2017"/>
                  </a:lnTo>
                  <a:lnTo>
                    <a:pt x="226" y="2024"/>
                  </a:lnTo>
                  <a:lnTo>
                    <a:pt x="243" y="2030"/>
                  </a:lnTo>
                  <a:lnTo>
                    <a:pt x="259" y="2036"/>
                  </a:lnTo>
                  <a:lnTo>
                    <a:pt x="277" y="2040"/>
                  </a:lnTo>
                  <a:lnTo>
                    <a:pt x="293" y="2044"/>
                  </a:lnTo>
                  <a:lnTo>
                    <a:pt x="311" y="2046"/>
                  </a:lnTo>
                  <a:lnTo>
                    <a:pt x="328" y="2049"/>
                  </a:lnTo>
                  <a:lnTo>
                    <a:pt x="345" y="2050"/>
                  </a:lnTo>
                  <a:lnTo>
                    <a:pt x="362" y="2050"/>
                  </a:lnTo>
                  <a:lnTo>
                    <a:pt x="380" y="2050"/>
                  </a:lnTo>
                  <a:lnTo>
                    <a:pt x="397" y="2049"/>
                  </a:lnTo>
                  <a:lnTo>
                    <a:pt x="415" y="2046"/>
                  </a:lnTo>
                  <a:lnTo>
                    <a:pt x="432" y="2044"/>
                  </a:lnTo>
                  <a:lnTo>
                    <a:pt x="449" y="2040"/>
                  </a:lnTo>
                  <a:lnTo>
                    <a:pt x="466" y="2036"/>
                  </a:lnTo>
                  <a:lnTo>
                    <a:pt x="483" y="2030"/>
                  </a:lnTo>
                  <a:lnTo>
                    <a:pt x="500" y="2024"/>
                  </a:lnTo>
                  <a:lnTo>
                    <a:pt x="516" y="2017"/>
                  </a:lnTo>
                  <a:lnTo>
                    <a:pt x="531" y="2009"/>
                  </a:lnTo>
                  <a:lnTo>
                    <a:pt x="548" y="2000"/>
                  </a:lnTo>
                  <a:lnTo>
                    <a:pt x="563" y="1990"/>
                  </a:lnTo>
                  <a:lnTo>
                    <a:pt x="577" y="1980"/>
                  </a:lnTo>
                  <a:lnTo>
                    <a:pt x="592" y="1969"/>
                  </a:lnTo>
                  <a:lnTo>
                    <a:pt x="606" y="1957"/>
                  </a:lnTo>
                  <a:lnTo>
                    <a:pt x="619" y="1944"/>
                  </a:lnTo>
                  <a:lnTo>
                    <a:pt x="1535" y="1029"/>
                  </a:lnTo>
                  <a:lnTo>
                    <a:pt x="1535" y="0"/>
                  </a:lnTo>
                  <a:lnTo>
                    <a:pt x="105" y="1430"/>
                  </a:lnTo>
                  <a:lnTo>
                    <a:pt x="105" y="1430"/>
                  </a:lnTo>
                  <a:lnTo>
                    <a:pt x="92" y="1443"/>
                  </a:lnTo>
                  <a:lnTo>
                    <a:pt x="81" y="1457"/>
                  </a:lnTo>
                  <a:lnTo>
                    <a:pt x="70" y="1472"/>
                  </a:lnTo>
                  <a:lnTo>
                    <a:pt x="59" y="1486"/>
                  </a:lnTo>
                  <a:lnTo>
                    <a:pt x="50" y="1502"/>
                  </a:lnTo>
                  <a:lnTo>
                    <a:pt x="41" y="1518"/>
                  </a:lnTo>
                  <a:lnTo>
                    <a:pt x="32" y="1533"/>
                  </a:lnTo>
                  <a:lnTo>
                    <a:pt x="25" y="1550"/>
                  </a:lnTo>
                  <a:lnTo>
                    <a:pt x="19" y="1566"/>
                  </a:lnTo>
                  <a:lnTo>
                    <a:pt x="14" y="1584"/>
                  </a:lnTo>
                  <a:lnTo>
                    <a:pt x="10" y="1600"/>
                  </a:lnTo>
                  <a:lnTo>
                    <a:pt x="5" y="1618"/>
                  </a:lnTo>
                  <a:lnTo>
                    <a:pt x="3" y="1634"/>
                  </a:lnTo>
                  <a:lnTo>
                    <a:pt x="1" y="1652"/>
                  </a:lnTo>
                  <a:lnTo>
                    <a:pt x="0" y="1669"/>
                  </a:lnTo>
                  <a:lnTo>
                    <a:pt x="0" y="1687"/>
                  </a:lnTo>
                  <a:lnTo>
                    <a:pt x="0" y="1705"/>
                  </a:lnTo>
                  <a:lnTo>
                    <a:pt x="1" y="1721"/>
                  </a:lnTo>
                  <a:lnTo>
                    <a:pt x="3" y="1739"/>
                  </a:lnTo>
                  <a:lnTo>
                    <a:pt x="5" y="1756"/>
                  </a:lnTo>
                  <a:lnTo>
                    <a:pt x="10" y="1773"/>
                  </a:lnTo>
                  <a:lnTo>
                    <a:pt x="14" y="1790"/>
                  </a:lnTo>
                  <a:lnTo>
                    <a:pt x="19" y="1807"/>
                  </a:lnTo>
                  <a:lnTo>
                    <a:pt x="25" y="1823"/>
                  </a:lnTo>
                  <a:lnTo>
                    <a:pt x="32" y="1840"/>
                  </a:lnTo>
                  <a:lnTo>
                    <a:pt x="41" y="1856"/>
                  </a:lnTo>
                  <a:lnTo>
                    <a:pt x="50" y="1871"/>
                  </a:lnTo>
                  <a:lnTo>
                    <a:pt x="59" y="1887"/>
                  </a:lnTo>
                  <a:lnTo>
                    <a:pt x="70" y="1902"/>
                  </a:lnTo>
                  <a:lnTo>
                    <a:pt x="81" y="1916"/>
                  </a:lnTo>
                  <a:lnTo>
                    <a:pt x="92" y="1930"/>
                  </a:lnTo>
                  <a:lnTo>
                    <a:pt x="105" y="1944"/>
                  </a:lnTo>
                  <a:lnTo>
                    <a:pt x="105" y="194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096" rtl="0"/>
              <a:endParaRPr lang="en-US" sz="2520" kern="1200">
                <a:solidFill>
                  <a:prstClr val="black"/>
                </a:solidFill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92D91279-8E26-48F1-8665-209728DD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0625" y="6108700"/>
              <a:ext cx="915988" cy="749300"/>
            </a:xfrm>
            <a:custGeom>
              <a:avLst/>
              <a:gdLst>
                <a:gd name="T0" fmla="*/ 2781 w 2886"/>
                <a:gd name="T1" fmla="*/ 104 h 2358"/>
                <a:gd name="T2" fmla="*/ 2754 w 2886"/>
                <a:gd name="T3" fmla="*/ 80 h 2358"/>
                <a:gd name="T4" fmla="*/ 2725 w 2886"/>
                <a:gd name="T5" fmla="*/ 59 h 2358"/>
                <a:gd name="T6" fmla="*/ 2694 w 2886"/>
                <a:gd name="T7" fmla="*/ 41 h 2358"/>
                <a:gd name="T8" fmla="*/ 2662 w 2886"/>
                <a:gd name="T9" fmla="*/ 26 h 2358"/>
                <a:gd name="T10" fmla="*/ 2630 w 2886"/>
                <a:gd name="T11" fmla="*/ 14 h 2358"/>
                <a:gd name="T12" fmla="*/ 2596 w 2886"/>
                <a:gd name="T13" fmla="*/ 6 h 2358"/>
                <a:gd name="T14" fmla="*/ 2562 w 2886"/>
                <a:gd name="T15" fmla="*/ 1 h 2358"/>
                <a:gd name="T16" fmla="*/ 2527 w 2886"/>
                <a:gd name="T17" fmla="*/ 0 h 2358"/>
                <a:gd name="T18" fmla="*/ 2493 w 2886"/>
                <a:gd name="T19" fmla="*/ 1 h 2358"/>
                <a:gd name="T20" fmla="*/ 2459 w 2886"/>
                <a:gd name="T21" fmla="*/ 6 h 2358"/>
                <a:gd name="T22" fmla="*/ 2425 w 2886"/>
                <a:gd name="T23" fmla="*/ 14 h 2358"/>
                <a:gd name="T24" fmla="*/ 2392 w 2886"/>
                <a:gd name="T25" fmla="*/ 26 h 2358"/>
                <a:gd name="T26" fmla="*/ 2361 w 2886"/>
                <a:gd name="T27" fmla="*/ 41 h 2358"/>
                <a:gd name="T28" fmla="*/ 2330 w 2886"/>
                <a:gd name="T29" fmla="*/ 59 h 2358"/>
                <a:gd name="T30" fmla="*/ 2301 w 2886"/>
                <a:gd name="T31" fmla="*/ 80 h 2358"/>
                <a:gd name="T32" fmla="*/ 2274 w 2886"/>
                <a:gd name="T33" fmla="*/ 104 h 2358"/>
                <a:gd name="T34" fmla="*/ 1035 w 2886"/>
                <a:gd name="T35" fmla="*/ 2358 h 2358"/>
                <a:gd name="T36" fmla="*/ 2781 w 2886"/>
                <a:gd name="T37" fmla="*/ 612 h 2358"/>
                <a:gd name="T38" fmla="*/ 2806 w 2886"/>
                <a:gd name="T39" fmla="*/ 583 h 2358"/>
                <a:gd name="T40" fmla="*/ 2827 w 2886"/>
                <a:gd name="T41" fmla="*/ 555 h 2358"/>
                <a:gd name="T42" fmla="*/ 2844 w 2886"/>
                <a:gd name="T43" fmla="*/ 525 h 2358"/>
                <a:gd name="T44" fmla="*/ 2860 w 2886"/>
                <a:gd name="T45" fmla="*/ 493 h 2358"/>
                <a:gd name="T46" fmla="*/ 2871 w 2886"/>
                <a:gd name="T47" fmla="*/ 460 h 2358"/>
                <a:gd name="T48" fmla="*/ 2880 w 2886"/>
                <a:gd name="T49" fmla="*/ 426 h 2358"/>
                <a:gd name="T50" fmla="*/ 2884 w 2886"/>
                <a:gd name="T51" fmla="*/ 392 h 2358"/>
                <a:gd name="T52" fmla="*/ 2886 w 2886"/>
                <a:gd name="T53" fmla="*/ 358 h 2358"/>
                <a:gd name="T54" fmla="*/ 2884 w 2886"/>
                <a:gd name="T55" fmla="*/ 324 h 2358"/>
                <a:gd name="T56" fmla="*/ 2880 w 2886"/>
                <a:gd name="T57" fmla="*/ 290 h 2358"/>
                <a:gd name="T58" fmla="*/ 2871 w 2886"/>
                <a:gd name="T59" fmla="*/ 256 h 2358"/>
                <a:gd name="T60" fmla="*/ 2860 w 2886"/>
                <a:gd name="T61" fmla="*/ 223 h 2358"/>
                <a:gd name="T62" fmla="*/ 2844 w 2886"/>
                <a:gd name="T63" fmla="*/ 191 h 2358"/>
                <a:gd name="T64" fmla="*/ 2827 w 2886"/>
                <a:gd name="T65" fmla="*/ 161 h 2358"/>
                <a:gd name="T66" fmla="*/ 2806 w 2886"/>
                <a:gd name="T67" fmla="*/ 131 h 2358"/>
                <a:gd name="T68" fmla="*/ 2781 w 2886"/>
                <a:gd name="T69" fmla="*/ 104 h 2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86" h="2358">
                  <a:moveTo>
                    <a:pt x="2781" y="104"/>
                  </a:moveTo>
                  <a:lnTo>
                    <a:pt x="2781" y="104"/>
                  </a:lnTo>
                  <a:lnTo>
                    <a:pt x="2767" y="92"/>
                  </a:lnTo>
                  <a:lnTo>
                    <a:pt x="2754" y="80"/>
                  </a:lnTo>
                  <a:lnTo>
                    <a:pt x="2739" y="69"/>
                  </a:lnTo>
                  <a:lnTo>
                    <a:pt x="2725" y="59"/>
                  </a:lnTo>
                  <a:lnTo>
                    <a:pt x="2709" y="49"/>
                  </a:lnTo>
                  <a:lnTo>
                    <a:pt x="2694" y="41"/>
                  </a:lnTo>
                  <a:lnTo>
                    <a:pt x="2678" y="33"/>
                  </a:lnTo>
                  <a:lnTo>
                    <a:pt x="2662" y="26"/>
                  </a:lnTo>
                  <a:lnTo>
                    <a:pt x="2646" y="20"/>
                  </a:lnTo>
                  <a:lnTo>
                    <a:pt x="2630" y="14"/>
                  </a:lnTo>
                  <a:lnTo>
                    <a:pt x="2613" y="9"/>
                  </a:lnTo>
                  <a:lnTo>
                    <a:pt x="2596" y="6"/>
                  </a:lnTo>
                  <a:lnTo>
                    <a:pt x="2579" y="4"/>
                  </a:lnTo>
                  <a:lnTo>
                    <a:pt x="2562" y="1"/>
                  </a:lnTo>
                  <a:lnTo>
                    <a:pt x="2545" y="0"/>
                  </a:lnTo>
                  <a:lnTo>
                    <a:pt x="2527" y="0"/>
                  </a:lnTo>
                  <a:lnTo>
                    <a:pt x="2510" y="0"/>
                  </a:lnTo>
                  <a:lnTo>
                    <a:pt x="2493" y="1"/>
                  </a:lnTo>
                  <a:lnTo>
                    <a:pt x="2476" y="4"/>
                  </a:lnTo>
                  <a:lnTo>
                    <a:pt x="2459" y="6"/>
                  </a:lnTo>
                  <a:lnTo>
                    <a:pt x="2442" y="9"/>
                  </a:lnTo>
                  <a:lnTo>
                    <a:pt x="2425" y="14"/>
                  </a:lnTo>
                  <a:lnTo>
                    <a:pt x="2409" y="20"/>
                  </a:lnTo>
                  <a:lnTo>
                    <a:pt x="2392" y="26"/>
                  </a:lnTo>
                  <a:lnTo>
                    <a:pt x="2376" y="33"/>
                  </a:lnTo>
                  <a:lnTo>
                    <a:pt x="2361" y="41"/>
                  </a:lnTo>
                  <a:lnTo>
                    <a:pt x="2346" y="49"/>
                  </a:lnTo>
                  <a:lnTo>
                    <a:pt x="2330" y="59"/>
                  </a:lnTo>
                  <a:lnTo>
                    <a:pt x="2315" y="69"/>
                  </a:lnTo>
                  <a:lnTo>
                    <a:pt x="2301" y="80"/>
                  </a:lnTo>
                  <a:lnTo>
                    <a:pt x="2287" y="92"/>
                  </a:lnTo>
                  <a:lnTo>
                    <a:pt x="2274" y="104"/>
                  </a:lnTo>
                  <a:lnTo>
                    <a:pt x="0" y="2358"/>
                  </a:lnTo>
                  <a:lnTo>
                    <a:pt x="1035" y="2358"/>
                  </a:lnTo>
                  <a:lnTo>
                    <a:pt x="2781" y="612"/>
                  </a:lnTo>
                  <a:lnTo>
                    <a:pt x="2781" y="612"/>
                  </a:lnTo>
                  <a:lnTo>
                    <a:pt x="2794" y="597"/>
                  </a:lnTo>
                  <a:lnTo>
                    <a:pt x="2806" y="583"/>
                  </a:lnTo>
                  <a:lnTo>
                    <a:pt x="2816" y="569"/>
                  </a:lnTo>
                  <a:lnTo>
                    <a:pt x="2827" y="555"/>
                  </a:lnTo>
                  <a:lnTo>
                    <a:pt x="2836" y="540"/>
                  </a:lnTo>
                  <a:lnTo>
                    <a:pt x="2844" y="525"/>
                  </a:lnTo>
                  <a:lnTo>
                    <a:pt x="2853" y="508"/>
                  </a:lnTo>
                  <a:lnTo>
                    <a:pt x="2860" y="493"/>
                  </a:lnTo>
                  <a:lnTo>
                    <a:pt x="2866" y="477"/>
                  </a:lnTo>
                  <a:lnTo>
                    <a:pt x="2871" y="460"/>
                  </a:lnTo>
                  <a:lnTo>
                    <a:pt x="2875" y="442"/>
                  </a:lnTo>
                  <a:lnTo>
                    <a:pt x="2880" y="426"/>
                  </a:lnTo>
                  <a:lnTo>
                    <a:pt x="2882" y="410"/>
                  </a:lnTo>
                  <a:lnTo>
                    <a:pt x="2884" y="392"/>
                  </a:lnTo>
                  <a:lnTo>
                    <a:pt x="2886" y="374"/>
                  </a:lnTo>
                  <a:lnTo>
                    <a:pt x="2886" y="358"/>
                  </a:lnTo>
                  <a:lnTo>
                    <a:pt x="2886" y="340"/>
                  </a:lnTo>
                  <a:lnTo>
                    <a:pt x="2884" y="324"/>
                  </a:lnTo>
                  <a:lnTo>
                    <a:pt x="2882" y="306"/>
                  </a:lnTo>
                  <a:lnTo>
                    <a:pt x="2880" y="290"/>
                  </a:lnTo>
                  <a:lnTo>
                    <a:pt x="2875" y="272"/>
                  </a:lnTo>
                  <a:lnTo>
                    <a:pt x="2871" y="256"/>
                  </a:lnTo>
                  <a:lnTo>
                    <a:pt x="2866" y="239"/>
                  </a:lnTo>
                  <a:lnTo>
                    <a:pt x="2860" y="223"/>
                  </a:lnTo>
                  <a:lnTo>
                    <a:pt x="2853" y="207"/>
                  </a:lnTo>
                  <a:lnTo>
                    <a:pt x="2844" y="191"/>
                  </a:lnTo>
                  <a:lnTo>
                    <a:pt x="2836" y="176"/>
                  </a:lnTo>
                  <a:lnTo>
                    <a:pt x="2827" y="161"/>
                  </a:lnTo>
                  <a:lnTo>
                    <a:pt x="2816" y="146"/>
                  </a:lnTo>
                  <a:lnTo>
                    <a:pt x="2806" y="131"/>
                  </a:lnTo>
                  <a:lnTo>
                    <a:pt x="2794" y="117"/>
                  </a:lnTo>
                  <a:lnTo>
                    <a:pt x="2781" y="104"/>
                  </a:lnTo>
                  <a:lnTo>
                    <a:pt x="2781" y="1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096" rtl="0"/>
              <a:endParaRPr lang="en-US" sz="2520" kern="1200">
                <a:solidFill>
                  <a:prstClr val="black"/>
                </a:solidFill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883AA6FB-DAF2-40A0-82C3-5F7216493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" y="4298950"/>
              <a:ext cx="1100138" cy="1266825"/>
            </a:xfrm>
            <a:custGeom>
              <a:avLst/>
              <a:gdLst>
                <a:gd name="T0" fmla="*/ 3357 w 3464"/>
                <a:gd name="T1" fmla="*/ 106 h 3991"/>
                <a:gd name="T2" fmla="*/ 3330 w 3464"/>
                <a:gd name="T3" fmla="*/ 81 h 3991"/>
                <a:gd name="T4" fmla="*/ 3301 w 3464"/>
                <a:gd name="T5" fmla="*/ 60 h 3991"/>
                <a:gd name="T6" fmla="*/ 3269 w 3464"/>
                <a:gd name="T7" fmla="*/ 41 h 3991"/>
                <a:gd name="T8" fmla="*/ 3238 w 3464"/>
                <a:gd name="T9" fmla="*/ 26 h 3991"/>
                <a:gd name="T10" fmla="*/ 3204 w 3464"/>
                <a:gd name="T11" fmla="*/ 14 h 3991"/>
                <a:gd name="T12" fmla="*/ 3170 w 3464"/>
                <a:gd name="T13" fmla="*/ 6 h 3991"/>
                <a:gd name="T14" fmla="*/ 3136 w 3464"/>
                <a:gd name="T15" fmla="*/ 1 h 3991"/>
                <a:gd name="T16" fmla="*/ 3100 w 3464"/>
                <a:gd name="T17" fmla="*/ 0 h 3991"/>
                <a:gd name="T18" fmla="*/ 3066 w 3464"/>
                <a:gd name="T19" fmla="*/ 1 h 3991"/>
                <a:gd name="T20" fmla="*/ 3031 w 3464"/>
                <a:gd name="T21" fmla="*/ 6 h 3991"/>
                <a:gd name="T22" fmla="*/ 2997 w 3464"/>
                <a:gd name="T23" fmla="*/ 14 h 3991"/>
                <a:gd name="T24" fmla="*/ 2964 w 3464"/>
                <a:gd name="T25" fmla="*/ 26 h 3991"/>
                <a:gd name="T26" fmla="*/ 2931 w 3464"/>
                <a:gd name="T27" fmla="*/ 41 h 3991"/>
                <a:gd name="T28" fmla="*/ 2901 w 3464"/>
                <a:gd name="T29" fmla="*/ 60 h 3991"/>
                <a:gd name="T30" fmla="*/ 2871 w 3464"/>
                <a:gd name="T31" fmla="*/ 81 h 3991"/>
                <a:gd name="T32" fmla="*/ 2843 w 3464"/>
                <a:gd name="T33" fmla="*/ 106 h 3991"/>
                <a:gd name="T34" fmla="*/ 0 w 3464"/>
                <a:gd name="T35" fmla="*/ 3991 h 3991"/>
                <a:gd name="T36" fmla="*/ 3357 w 3464"/>
                <a:gd name="T37" fmla="*/ 620 h 3991"/>
                <a:gd name="T38" fmla="*/ 3382 w 3464"/>
                <a:gd name="T39" fmla="*/ 593 h 3991"/>
                <a:gd name="T40" fmla="*/ 3404 w 3464"/>
                <a:gd name="T41" fmla="*/ 563 h 3991"/>
                <a:gd name="T42" fmla="*/ 3422 w 3464"/>
                <a:gd name="T43" fmla="*/ 532 h 3991"/>
                <a:gd name="T44" fmla="*/ 3437 w 3464"/>
                <a:gd name="T45" fmla="*/ 500 h 3991"/>
                <a:gd name="T46" fmla="*/ 3449 w 3464"/>
                <a:gd name="T47" fmla="*/ 466 h 3991"/>
                <a:gd name="T48" fmla="*/ 3457 w 3464"/>
                <a:gd name="T49" fmla="*/ 432 h 3991"/>
                <a:gd name="T50" fmla="*/ 3462 w 3464"/>
                <a:gd name="T51" fmla="*/ 398 h 3991"/>
                <a:gd name="T52" fmla="*/ 3464 w 3464"/>
                <a:gd name="T53" fmla="*/ 363 h 3991"/>
                <a:gd name="T54" fmla="*/ 3462 w 3464"/>
                <a:gd name="T55" fmla="*/ 329 h 3991"/>
                <a:gd name="T56" fmla="*/ 3457 w 3464"/>
                <a:gd name="T57" fmla="*/ 293 h 3991"/>
                <a:gd name="T58" fmla="*/ 3449 w 3464"/>
                <a:gd name="T59" fmla="*/ 259 h 3991"/>
                <a:gd name="T60" fmla="*/ 3437 w 3464"/>
                <a:gd name="T61" fmla="*/ 226 h 3991"/>
                <a:gd name="T62" fmla="*/ 3422 w 3464"/>
                <a:gd name="T63" fmla="*/ 194 h 3991"/>
                <a:gd name="T64" fmla="*/ 3404 w 3464"/>
                <a:gd name="T65" fmla="*/ 163 h 3991"/>
                <a:gd name="T66" fmla="*/ 3382 w 3464"/>
                <a:gd name="T67" fmla="*/ 134 h 3991"/>
                <a:gd name="T68" fmla="*/ 3357 w 3464"/>
                <a:gd name="T69" fmla="*/ 106 h 3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64" h="3991">
                  <a:moveTo>
                    <a:pt x="3357" y="106"/>
                  </a:moveTo>
                  <a:lnTo>
                    <a:pt x="3357" y="106"/>
                  </a:lnTo>
                  <a:lnTo>
                    <a:pt x="3344" y="93"/>
                  </a:lnTo>
                  <a:lnTo>
                    <a:pt x="3330" y="81"/>
                  </a:lnTo>
                  <a:lnTo>
                    <a:pt x="3315" y="69"/>
                  </a:lnTo>
                  <a:lnTo>
                    <a:pt x="3301" y="60"/>
                  </a:lnTo>
                  <a:lnTo>
                    <a:pt x="3286" y="49"/>
                  </a:lnTo>
                  <a:lnTo>
                    <a:pt x="3269" y="41"/>
                  </a:lnTo>
                  <a:lnTo>
                    <a:pt x="3254" y="33"/>
                  </a:lnTo>
                  <a:lnTo>
                    <a:pt x="3238" y="26"/>
                  </a:lnTo>
                  <a:lnTo>
                    <a:pt x="3221" y="20"/>
                  </a:lnTo>
                  <a:lnTo>
                    <a:pt x="3204" y="14"/>
                  </a:lnTo>
                  <a:lnTo>
                    <a:pt x="3187" y="9"/>
                  </a:lnTo>
                  <a:lnTo>
                    <a:pt x="3170" y="6"/>
                  </a:lnTo>
                  <a:lnTo>
                    <a:pt x="3153" y="3"/>
                  </a:lnTo>
                  <a:lnTo>
                    <a:pt x="3136" y="1"/>
                  </a:lnTo>
                  <a:lnTo>
                    <a:pt x="3118" y="0"/>
                  </a:lnTo>
                  <a:lnTo>
                    <a:pt x="3100" y="0"/>
                  </a:lnTo>
                  <a:lnTo>
                    <a:pt x="3083" y="0"/>
                  </a:lnTo>
                  <a:lnTo>
                    <a:pt x="3066" y="1"/>
                  </a:lnTo>
                  <a:lnTo>
                    <a:pt x="3049" y="3"/>
                  </a:lnTo>
                  <a:lnTo>
                    <a:pt x="3031" y="6"/>
                  </a:lnTo>
                  <a:lnTo>
                    <a:pt x="3015" y="9"/>
                  </a:lnTo>
                  <a:lnTo>
                    <a:pt x="2997" y="14"/>
                  </a:lnTo>
                  <a:lnTo>
                    <a:pt x="2981" y="20"/>
                  </a:lnTo>
                  <a:lnTo>
                    <a:pt x="2964" y="26"/>
                  </a:lnTo>
                  <a:lnTo>
                    <a:pt x="2948" y="33"/>
                  </a:lnTo>
                  <a:lnTo>
                    <a:pt x="2931" y="41"/>
                  </a:lnTo>
                  <a:lnTo>
                    <a:pt x="2916" y="49"/>
                  </a:lnTo>
                  <a:lnTo>
                    <a:pt x="2901" y="60"/>
                  </a:lnTo>
                  <a:lnTo>
                    <a:pt x="2885" y="69"/>
                  </a:lnTo>
                  <a:lnTo>
                    <a:pt x="2871" y="81"/>
                  </a:lnTo>
                  <a:lnTo>
                    <a:pt x="2857" y="93"/>
                  </a:lnTo>
                  <a:lnTo>
                    <a:pt x="2843" y="106"/>
                  </a:lnTo>
                  <a:lnTo>
                    <a:pt x="0" y="2956"/>
                  </a:lnTo>
                  <a:lnTo>
                    <a:pt x="0" y="3991"/>
                  </a:lnTo>
                  <a:lnTo>
                    <a:pt x="3357" y="620"/>
                  </a:lnTo>
                  <a:lnTo>
                    <a:pt x="3357" y="620"/>
                  </a:lnTo>
                  <a:lnTo>
                    <a:pt x="3370" y="607"/>
                  </a:lnTo>
                  <a:lnTo>
                    <a:pt x="3382" y="593"/>
                  </a:lnTo>
                  <a:lnTo>
                    <a:pt x="3394" y="577"/>
                  </a:lnTo>
                  <a:lnTo>
                    <a:pt x="3404" y="563"/>
                  </a:lnTo>
                  <a:lnTo>
                    <a:pt x="3414" y="548"/>
                  </a:lnTo>
                  <a:lnTo>
                    <a:pt x="3422" y="532"/>
                  </a:lnTo>
                  <a:lnTo>
                    <a:pt x="3430" y="516"/>
                  </a:lnTo>
                  <a:lnTo>
                    <a:pt x="3437" y="500"/>
                  </a:lnTo>
                  <a:lnTo>
                    <a:pt x="3444" y="483"/>
                  </a:lnTo>
                  <a:lnTo>
                    <a:pt x="3449" y="466"/>
                  </a:lnTo>
                  <a:lnTo>
                    <a:pt x="3454" y="449"/>
                  </a:lnTo>
                  <a:lnTo>
                    <a:pt x="3457" y="432"/>
                  </a:lnTo>
                  <a:lnTo>
                    <a:pt x="3461" y="415"/>
                  </a:lnTo>
                  <a:lnTo>
                    <a:pt x="3462" y="398"/>
                  </a:lnTo>
                  <a:lnTo>
                    <a:pt x="3464" y="380"/>
                  </a:lnTo>
                  <a:lnTo>
                    <a:pt x="3464" y="363"/>
                  </a:lnTo>
                  <a:lnTo>
                    <a:pt x="3464" y="345"/>
                  </a:lnTo>
                  <a:lnTo>
                    <a:pt x="3462" y="329"/>
                  </a:lnTo>
                  <a:lnTo>
                    <a:pt x="3461" y="311"/>
                  </a:lnTo>
                  <a:lnTo>
                    <a:pt x="3457" y="293"/>
                  </a:lnTo>
                  <a:lnTo>
                    <a:pt x="3454" y="276"/>
                  </a:lnTo>
                  <a:lnTo>
                    <a:pt x="3449" y="259"/>
                  </a:lnTo>
                  <a:lnTo>
                    <a:pt x="3444" y="243"/>
                  </a:lnTo>
                  <a:lnTo>
                    <a:pt x="3437" y="226"/>
                  </a:lnTo>
                  <a:lnTo>
                    <a:pt x="3430" y="210"/>
                  </a:lnTo>
                  <a:lnTo>
                    <a:pt x="3422" y="194"/>
                  </a:lnTo>
                  <a:lnTo>
                    <a:pt x="3414" y="178"/>
                  </a:lnTo>
                  <a:lnTo>
                    <a:pt x="3404" y="163"/>
                  </a:lnTo>
                  <a:lnTo>
                    <a:pt x="3394" y="148"/>
                  </a:lnTo>
                  <a:lnTo>
                    <a:pt x="3382" y="134"/>
                  </a:lnTo>
                  <a:lnTo>
                    <a:pt x="3370" y="120"/>
                  </a:lnTo>
                  <a:lnTo>
                    <a:pt x="3357" y="106"/>
                  </a:lnTo>
                  <a:lnTo>
                    <a:pt x="3357" y="10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80096" rtl="0"/>
              <a:endParaRPr lang="en-US" sz="2520" kern="1200">
                <a:solidFill>
                  <a:prstClr val="black"/>
                </a:solidFill>
              </a:endParaRP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EC8B37-AF59-4E96-B36D-87B4BAA786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3576" y="8898891"/>
            <a:ext cx="3840480" cy="511175"/>
          </a:xfrm>
        </p:spPr>
        <p:txBody>
          <a:bodyPr/>
          <a:lstStyle/>
          <a:p>
            <a:fld id="{AE803595-2939-426A-AFA5-95A19DE1EED1}" type="datetime1">
              <a:rPr lang="ru-RU" smtClean="0">
                <a:solidFill>
                  <a:srgbClr val="CBCBCA">
                    <a:lumMod val="75000"/>
                  </a:srgbClr>
                </a:solidFill>
              </a:rPr>
              <a:pPr/>
              <a:t>08.09.2023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1B75BA-DEDF-49E5-BC2F-916385CD69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4528" y="8898891"/>
            <a:ext cx="3840480" cy="511175"/>
          </a:xfrm>
        </p:spPr>
        <p:txBody>
          <a:bodyPr/>
          <a:lstStyle/>
          <a:p>
            <a:fld id="{1513E0AC-52E7-4010-9D37-41BE99808841}" type="slidenum">
              <a:rPr lang="en-US" smtClean="0">
                <a:solidFill>
                  <a:srgbClr val="CBCBCA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85A81A-1E89-48A3-B9FE-0A671F3D4F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6434" y="2985998"/>
            <a:ext cx="5795933" cy="3342640"/>
          </a:xfrm>
        </p:spPr>
        <p:txBody>
          <a:bodyPr anchor="b">
            <a:normAutofit/>
          </a:bodyPr>
          <a:lstStyle>
            <a:lvl1pPr algn="ctr">
              <a:defRPr sz="6160" b="1" cap="all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24D900-431F-491D-97C0-C35C95FD11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36434" y="6457544"/>
            <a:ext cx="5795933" cy="1651318"/>
          </a:xfrm>
        </p:spPr>
        <p:txBody>
          <a:bodyPr/>
          <a:lstStyle>
            <a:lvl1pPr marL="0" indent="0" algn="ctr">
              <a:buNone/>
              <a:defRPr sz="3360">
                <a:solidFill>
                  <a:schemeClr val="accent3">
                    <a:lumMod val="75000"/>
                  </a:schemeClr>
                </a:solidFill>
              </a:defRPr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606D5F-434D-4332-8327-E038BF507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6215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204937D0-929E-4F45-B803-78A8DEE7368D}" type="datetime1">
              <a:rPr lang="ru-RU" smtClean="0"/>
              <a:pPr>
                <a:defRPr/>
              </a:pPr>
              <a:t>08.09.2023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0605" y="137017"/>
            <a:ext cx="12324275" cy="781566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 bwMode="auto">
          <a:xfrm flipH="1">
            <a:off x="552189" y="1044474"/>
            <a:ext cx="151200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1224" y="109643"/>
            <a:ext cx="930578" cy="1106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017369" y="1380584"/>
            <a:ext cx="13034063" cy="6840033"/>
          </a:xfrm>
          <a:prstGeom prst="rect">
            <a:avLst/>
          </a:prstGeom>
        </p:spPr>
      </p:pic>
      <p:sp>
        <p:nvSpPr>
          <p:cNvPr id="14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5231144" y="8944751"/>
            <a:ext cx="1650658" cy="511174"/>
          </a:xfrm>
        </p:spPr>
        <p:txBody>
          <a:bodyPr/>
          <a:lstStyle/>
          <a:p>
            <a:pPr>
              <a:defRPr/>
            </a:pPr>
            <a:fld id="{E7264718-516D-4284-812E-2FE0C1302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86776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8DF50A42-4F3E-47F7-83AC-8FF0BA037A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5" r="13409"/>
          <a:stretch/>
        </p:blipFill>
        <p:spPr>
          <a:xfrm>
            <a:off x="8559928" y="1"/>
            <a:ext cx="8508871" cy="595407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21A0FED-D303-446E-8639-FD86B1DF9C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47992"/>
            <a:ext cx="8635211" cy="5753209"/>
          </a:xfrm>
          <a:prstGeom prst="rect">
            <a:avLst/>
          </a:prstGeom>
        </p:spPr>
      </p:pic>
      <p:sp>
        <p:nvSpPr>
          <p:cNvPr id="21" name="AutoShape 3">
            <a:extLst>
              <a:ext uri="{FF2B5EF4-FFF2-40B4-BE49-F238E27FC236}">
                <a16:creationId xmlns:a16="http://schemas.microsoft.com/office/drawing/2014/main" id="{34F71AEF-C50A-46C0-8058-5A9D90A18DF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" y="2"/>
            <a:ext cx="17068799" cy="9601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87541977-60C1-49E5-BDBB-517460413EE5}"/>
              </a:ext>
            </a:extLst>
          </p:cNvPr>
          <p:cNvSpPr>
            <a:spLocks/>
          </p:cNvSpPr>
          <p:nvPr/>
        </p:nvSpPr>
        <p:spPr bwMode="auto">
          <a:xfrm>
            <a:off x="16087655" y="2"/>
            <a:ext cx="834308" cy="606743"/>
          </a:xfrm>
          <a:custGeom>
            <a:avLst/>
            <a:gdLst>
              <a:gd name="T0" fmla="*/ 1873 w 1873"/>
              <a:gd name="T1" fmla="*/ 0 h 1366"/>
              <a:gd name="T2" fmla="*/ 105 w 1873"/>
              <a:gd name="T3" fmla="*/ 755 h 1366"/>
              <a:gd name="T4" fmla="*/ 92 w 1873"/>
              <a:gd name="T5" fmla="*/ 768 h 1366"/>
              <a:gd name="T6" fmla="*/ 70 w 1873"/>
              <a:gd name="T7" fmla="*/ 796 h 1366"/>
              <a:gd name="T8" fmla="*/ 50 w 1873"/>
              <a:gd name="T9" fmla="*/ 825 h 1366"/>
              <a:gd name="T10" fmla="*/ 33 w 1873"/>
              <a:gd name="T11" fmla="*/ 857 h 1366"/>
              <a:gd name="T12" fmla="*/ 20 w 1873"/>
              <a:gd name="T13" fmla="*/ 890 h 1366"/>
              <a:gd name="T14" fmla="*/ 11 w 1873"/>
              <a:gd name="T15" fmla="*/ 923 h 1366"/>
              <a:gd name="T16" fmla="*/ 4 w 1873"/>
              <a:gd name="T17" fmla="*/ 957 h 1366"/>
              <a:gd name="T18" fmla="*/ 0 w 1873"/>
              <a:gd name="T19" fmla="*/ 991 h 1366"/>
              <a:gd name="T20" fmla="*/ 0 w 1873"/>
              <a:gd name="T21" fmla="*/ 1025 h 1366"/>
              <a:gd name="T22" fmla="*/ 4 w 1873"/>
              <a:gd name="T23" fmla="*/ 1059 h 1366"/>
              <a:gd name="T24" fmla="*/ 11 w 1873"/>
              <a:gd name="T25" fmla="*/ 1093 h 1366"/>
              <a:gd name="T26" fmla="*/ 20 w 1873"/>
              <a:gd name="T27" fmla="*/ 1126 h 1366"/>
              <a:gd name="T28" fmla="*/ 33 w 1873"/>
              <a:gd name="T29" fmla="*/ 1158 h 1366"/>
              <a:gd name="T30" fmla="*/ 50 w 1873"/>
              <a:gd name="T31" fmla="*/ 1190 h 1366"/>
              <a:gd name="T32" fmla="*/ 70 w 1873"/>
              <a:gd name="T33" fmla="*/ 1219 h 1366"/>
              <a:gd name="T34" fmla="*/ 92 w 1873"/>
              <a:gd name="T35" fmla="*/ 1248 h 1366"/>
              <a:gd name="T36" fmla="*/ 105 w 1873"/>
              <a:gd name="T37" fmla="*/ 1261 h 1366"/>
              <a:gd name="T38" fmla="*/ 132 w 1873"/>
              <a:gd name="T39" fmla="*/ 1285 h 1366"/>
              <a:gd name="T40" fmla="*/ 161 w 1873"/>
              <a:gd name="T41" fmla="*/ 1306 h 1366"/>
              <a:gd name="T42" fmla="*/ 192 w 1873"/>
              <a:gd name="T43" fmla="*/ 1325 h 1366"/>
              <a:gd name="T44" fmla="*/ 223 w 1873"/>
              <a:gd name="T45" fmla="*/ 1339 h 1366"/>
              <a:gd name="T46" fmla="*/ 256 w 1873"/>
              <a:gd name="T47" fmla="*/ 1351 h 1366"/>
              <a:gd name="T48" fmla="*/ 290 w 1873"/>
              <a:gd name="T49" fmla="*/ 1359 h 1366"/>
              <a:gd name="T50" fmla="*/ 324 w 1873"/>
              <a:gd name="T51" fmla="*/ 1364 h 1366"/>
              <a:gd name="T52" fmla="*/ 358 w 1873"/>
              <a:gd name="T53" fmla="*/ 1366 h 1366"/>
              <a:gd name="T54" fmla="*/ 392 w 1873"/>
              <a:gd name="T55" fmla="*/ 1364 h 1366"/>
              <a:gd name="T56" fmla="*/ 427 w 1873"/>
              <a:gd name="T57" fmla="*/ 1359 h 1366"/>
              <a:gd name="T58" fmla="*/ 461 w 1873"/>
              <a:gd name="T59" fmla="*/ 1351 h 1366"/>
              <a:gd name="T60" fmla="*/ 493 w 1873"/>
              <a:gd name="T61" fmla="*/ 1339 h 1366"/>
              <a:gd name="T62" fmla="*/ 525 w 1873"/>
              <a:gd name="T63" fmla="*/ 1325 h 1366"/>
              <a:gd name="T64" fmla="*/ 556 w 1873"/>
              <a:gd name="T65" fmla="*/ 1306 h 1366"/>
              <a:gd name="T66" fmla="*/ 585 w 1873"/>
              <a:gd name="T67" fmla="*/ 1285 h 1366"/>
              <a:gd name="T68" fmla="*/ 612 w 1873"/>
              <a:gd name="T69" fmla="*/ 1261 h 1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873" h="1366">
                <a:moveTo>
                  <a:pt x="612" y="1261"/>
                </a:moveTo>
                <a:lnTo>
                  <a:pt x="1873" y="0"/>
                </a:lnTo>
                <a:lnTo>
                  <a:pt x="860" y="0"/>
                </a:lnTo>
                <a:lnTo>
                  <a:pt x="105" y="755"/>
                </a:lnTo>
                <a:lnTo>
                  <a:pt x="105" y="755"/>
                </a:lnTo>
                <a:lnTo>
                  <a:pt x="92" y="768"/>
                </a:lnTo>
                <a:lnTo>
                  <a:pt x="80" y="782"/>
                </a:lnTo>
                <a:lnTo>
                  <a:pt x="70" y="796"/>
                </a:lnTo>
                <a:lnTo>
                  <a:pt x="59" y="811"/>
                </a:lnTo>
                <a:lnTo>
                  <a:pt x="50" y="825"/>
                </a:lnTo>
                <a:lnTo>
                  <a:pt x="41" y="842"/>
                </a:lnTo>
                <a:lnTo>
                  <a:pt x="33" y="857"/>
                </a:lnTo>
                <a:lnTo>
                  <a:pt x="26" y="873"/>
                </a:lnTo>
                <a:lnTo>
                  <a:pt x="20" y="890"/>
                </a:lnTo>
                <a:lnTo>
                  <a:pt x="14" y="906"/>
                </a:lnTo>
                <a:lnTo>
                  <a:pt x="11" y="923"/>
                </a:lnTo>
                <a:lnTo>
                  <a:pt x="6" y="939"/>
                </a:lnTo>
                <a:lnTo>
                  <a:pt x="4" y="957"/>
                </a:lnTo>
                <a:lnTo>
                  <a:pt x="2" y="973"/>
                </a:lnTo>
                <a:lnTo>
                  <a:pt x="0" y="991"/>
                </a:lnTo>
                <a:lnTo>
                  <a:pt x="0" y="1007"/>
                </a:lnTo>
                <a:lnTo>
                  <a:pt x="0" y="1025"/>
                </a:lnTo>
                <a:lnTo>
                  <a:pt x="2" y="1042"/>
                </a:lnTo>
                <a:lnTo>
                  <a:pt x="4" y="1059"/>
                </a:lnTo>
                <a:lnTo>
                  <a:pt x="6" y="1076"/>
                </a:lnTo>
                <a:lnTo>
                  <a:pt x="11" y="1093"/>
                </a:lnTo>
                <a:lnTo>
                  <a:pt x="14" y="1109"/>
                </a:lnTo>
                <a:lnTo>
                  <a:pt x="20" y="1126"/>
                </a:lnTo>
                <a:lnTo>
                  <a:pt x="26" y="1142"/>
                </a:lnTo>
                <a:lnTo>
                  <a:pt x="33" y="1158"/>
                </a:lnTo>
                <a:lnTo>
                  <a:pt x="41" y="1174"/>
                </a:lnTo>
                <a:lnTo>
                  <a:pt x="50" y="1190"/>
                </a:lnTo>
                <a:lnTo>
                  <a:pt x="59" y="1204"/>
                </a:lnTo>
                <a:lnTo>
                  <a:pt x="70" y="1219"/>
                </a:lnTo>
                <a:lnTo>
                  <a:pt x="80" y="1234"/>
                </a:lnTo>
                <a:lnTo>
                  <a:pt x="92" y="1248"/>
                </a:lnTo>
                <a:lnTo>
                  <a:pt x="105" y="1261"/>
                </a:lnTo>
                <a:lnTo>
                  <a:pt x="105" y="1261"/>
                </a:lnTo>
                <a:lnTo>
                  <a:pt x="119" y="1273"/>
                </a:lnTo>
                <a:lnTo>
                  <a:pt x="132" y="1285"/>
                </a:lnTo>
                <a:lnTo>
                  <a:pt x="147" y="1297"/>
                </a:lnTo>
                <a:lnTo>
                  <a:pt x="161" y="1306"/>
                </a:lnTo>
                <a:lnTo>
                  <a:pt x="176" y="1316"/>
                </a:lnTo>
                <a:lnTo>
                  <a:pt x="192" y="1325"/>
                </a:lnTo>
                <a:lnTo>
                  <a:pt x="208" y="1332"/>
                </a:lnTo>
                <a:lnTo>
                  <a:pt x="223" y="1339"/>
                </a:lnTo>
                <a:lnTo>
                  <a:pt x="240" y="1346"/>
                </a:lnTo>
                <a:lnTo>
                  <a:pt x="256" y="1351"/>
                </a:lnTo>
                <a:lnTo>
                  <a:pt x="273" y="1356"/>
                </a:lnTo>
                <a:lnTo>
                  <a:pt x="290" y="1359"/>
                </a:lnTo>
                <a:lnTo>
                  <a:pt x="307" y="1363"/>
                </a:lnTo>
                <a:lnTo>
                  <a:pt x="324" y="1364"/>
                </a:lnTo>
                <a:lnTo>
                  <a:pt x="341" y="1365"/>
                </a:lnTo>
                <a:lnTo>
                  <a:pt x="358" y="1366"/>
                </a:lnTo>
                <a:lnTo>
                  <a:pt x="376" y="1365"/>
                </a:lnTo>
                <a:lnTo>
                  <a:pt x="392" y="1364"/>
                </a:lnTo>
                <a:lnTo>
                  <a:pt x="410" y="1363"/>
                </a:lnTo>
                <a:lnTo>
                  <a:pt x="427" y="1359"/>
                </a:lnTo>
                <a:lnTo>
                  <a:pt x="444" y="1356"/>
                </a:lnTo>
                <a:lnTo>
                  <a:pt x="461" y="1351"/>
                </a:lnTo>
                <a:lnTo>
                  <a:pt x="477" y="1346"/>
                </a:lnTo>
                <a:lnTo>
                  <a:pt x="493" y="1339"/>
                </a:lnTo>
                <a:lnTo>
                  <a:pt x="510" y="1332"/>
                </a:lnTo>
                <a:lnTo>
                  <a:pt x="525" y="1325"/>
                </a:lnTo>
                <a:lnTo>
                  <a:pt x="540" y="1316"/>
                </a:lnTo>
                <a:lnTo>
                  <a:pt x="556" y="1306"/>
                </a:lnTo>
                <a:lnTo>
                  <a:pt x="571" y="1297"/>
                </a:lnTo>
                <a:lnTo>
                  <a:pt x="585" y="1285"/>
                </a:lnTo>
                <a:lnTo>
                  <a:pt x="598" y="1273"/>
                </a:lnTo>
                <a:lnTo>
                  <a:pt x="612" y="1261"/>
                </a:lnTo>
                <a:lnTo>
                  <a:pt x="612" y="1261"/>
                </a:lnTo>
                <a:close/>
              </a:path>
            </a:pathLst>
          </a:cu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3" name="Freeform 6">
            <a:extLst>
              <a:ext uri="{FF2B5EF4-FFF2-40B4-BE49-F238E27FC236}">
                <a16:creationId xmlns:a16="http://schemas.microsoft.com/office/drawing/2014/main" id="{5C6990F3-97BB-446B-939B-ADE02116C489}"/>
              </a:ext>
            </a:extLst>
          </p:cNvPr>
          <p:cNvSpPr>
            <a:spLocks/>
          </p:cNvSpPr>
          <p:nvPr/>
        </p:nvSpPr>
        <p:spPr bwMode="auto">
          <a:xfrm>
            <a:off x="974470" y="8963344"/>
            <a:ext cx="865455" cy="637858"/>
          </a:xfrm>
          <a:custGeom>
            <a:avLst/>
            <a:gdLst>
              <a:gd name="T0" fmla="*/ 0 w 1944"/>
              <a:gd name="T1" fmla="*/ 1437 h 1437"/>
              <a:gd name="T2" fmla="*/ 1839 w 1944"/>
              <a:gd name="T3" fmla="*/ 612 h 1437"/>
              <a:gd name="T4" fmla="*/ 1852 w 1944"/>
              <a:gd name="T5" fmla="*/ 599 h 1437"/>
              <a:gd name="T6" fmla="*/ 1875 w 1944"/>
              <a:gd name="T7" fmla="*/ 571 h 1437"/>
              <a:gd name="T8" fmla="*/ 1894 w 1944"/>
              <a:gd name="T9" fmla="*/ 541 h 1437"/>
              <a:gd name="T10" fmla="*/ 1910 w 1944"/>
              <a:gd name="T11" fmla="*/ 510 h 1437"/>
              <a:gd name="T12" fmla="*/ 1924 w 1944"/>
              <a:gd name="T13" fmla="*/ 477 h 1437"/>
              <a:gd name="T14" fmla="*/ 1934 w 1944"/>
              <a:gd name="T15" fmla="*/ 444 h 1437"/>
              <a:gd name="T16" fmla="*/ 1941 w 1944"/>
              <a:gd name="T17" fmla="*/ 410 h 1437"/>
              <a:gd name="T18" fmla="*/ 1943 w 1944"/>
              <a:gd name="T19" fmla="*/ 376 h 1437"/>
              <a:gd name="T20" fmla="*/ 1943 w 1944"/>
              <a:gd name="T21" fmla="*/ 342 h 1437"/>
              <a:gd name="T22" fmla="*/ 1941 w 1944"/>
              <a:gd name="T23" fmla="*/ 308 h 1437"/>
              <a:gd name="T24" fmla="*/ 1934 w 1944"/>
              <a:gd name="T25" fmla="*/ 274 h 1437"/>
              <a:gd name="T26" fmla="*/ 1924 w 1944"/>
              <a:gd name="T27" fmla="*/ 241 h 1437"/>
              <a:gd name="T28" fmla="*/ 1910 w 1944"/>
              <a:gd name="T29" fmla="*/ 208 h 1437"/>
              <a:gd name="T30" fmla="*/ 1894 w 1944"/>
              <a:gd name="T31" fmla="*/ 176 h 1437"/>
              <a:gd name="T32" fmla="*/ 1875 w 1944"/>
              <a:gd name="T33" fmla="*/ 147 h 1437"/>
              <a:gd name="T34" fmla="*/ 1852 w 1944"/>
              <a:gd name="T35" fmla="*/ 119 h 1437"/>
              <a:gd name="T36" fmla="*/ 1839 w 1944"/>
              <a:gd name="T37" fmla="*/ 106 h 1437"/>
              <a:gd name="T38" fmla="*/ 1812 w 1944"/>
              <a:gd name="T39" fmla="*/ 81 h 1437"/>
              <a:gd name="T40" fmla="*/ 1782 w 1944"/>
              <a:gd name="T41" fmla="*/ 60 h 1437"/>
              <a:gd name="T42" fmla="*/ 1752 w 1944"/>
              <a:gd name="T43" fmla="*/ 41 h 1437"/>
              <a:gd name="T44" fmla="*/ 1720 w 1944"/>
              <a:gd name="T45" fmla="*/ 27 h 1437"/>
              <a:gd name="T46" fmla="*/ 1687 w 1944"/>
              <a:gd name="T47" fmla="*/ 16 h 1437"/>
              <a:gd name="T48" fmla="*/ 1654 w 1944"/>
              <a:gd name="T49" fmla="*/ 7 h 1437"/>
              <a:gd name="T50" fmla="*/ 1620 w 1944"/>
              <a:gd name="T51" fmla="*/ 3 h 1437"/>
              <a:gd name="T52" fmla="*/ 1585 w 1944"/>
              <a:gd name="T53" fmla="*/ 0 h 1437"/>
              <a:gd name="T54" fmla="*/ 1551 w 1944"/>
              <a:gd name="T55" fmla="*/ 3 h 1437"/>
              <a:gd name="T56" fmla="*/ 1517 w 1944"/>
              <a:gd name="T57" fmla="*/ 7 h 1437"/>
              <a:gd name="T58" fmla="*/ 1484 w 1944"/>
              <a:gd name="T59" fmla="*/ 16 h 1437"/>
              <a:gd name="T60" fmla="*/ 1451 w 1944"/>
              <a:gd name="T61" fmla="*/ 27 h 1437"/>
              <a:gd name="T62" fmla="*/ 1420 w 1944"/>
              <a:gd name="T63" fmla="*/ 41 h 1437"/>
              <a:gd name="T64" fmla="*/ 1389 w 1944"/>
              <a:gd name="T65" fmla="*/ 60 h 1437"/>
              <a:gd name="T66" fmla="*/ 1360 w 1944"/>
              <a:gd name="T67" fmla="*/ 81 h 1437"/>
              <a:gd name="T68" fmla="*/ 1333 w 1944"/>
              <a:gd name="T69" fmla="*/ 106 h 1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44" h="1437">
                <a:moveTo>
                  <a:pt x="1333" y="106"/>
                </a:moveTo>
                <a:lnTo>
                  <a:pt x="0" y="1437"/>
                </a:lnTo>
                <a:lnTo>
                  <a:pt x="1013" y="1437"/>
                </a:lnTo>
                <a:lnTo>
                  <a:pt x="1839" y="612"/>
                </a:lnTo>
                <a:lnTo>
                  <a:pt x="1839" y="612"/>
                </a:lnTo>
                <a:lnTo>
                  <a:pt x="1852" y="599"/>
                </a:lnTo>
                <a:lnTo>
                  <a:pt x="1863" y="585"/>
                </a:lnTo>
                <a:lnTo>
                  <a:pt x="1875" y="571"/>
                </a:lnTo>
                <a:lnTo>
                  <a:pt x="1884" y="556"/>
                </a:lnTo>
                <a:lnTo>
                  <a:pt x="1894" y="541"/>
                </a:lnTo>
                <a:lnTo>
                  <a:pt x="1903" y="525"/>
                </a:lnTo>
                <a:lnTo>
                  <a:pt x="1910" y="510"/>
                </a:lnTo>
                <a:lnTo>
                  <a:pt x="1917" y="493"/>
                </a:lnTo>
                <a:lnTo>
                  <a:pt x="1924" y="477"/>
                </a:lnTo>
                <a:lnTo>
                  <a:pt x="1929" y="460"/>
                </a:lnTo>
                <a:lnTo>
                  <a:pt x="1934" y="444"/>
                </a:lnTo>
                <a:lnTo>
                  <a:pt x="1937" y="428"/>
                </a:lnTo>
                <a:lnTo>
                  <a:pt x="1941" y="410"/>
                </a:lnTo>
                <a:lnTo>
                  <a:pt x="1942" y="394"/>
                </a:lnTo>
                <a:lnTo>
                  <a:pt x="1943" y="376"/>
                </a:lnTo>
                <a:lnTo>
                  <a:pt x="1944" y="360"/>
                </a:lnTo>
                <a:lnTo>
                  <a:pt x="1943" y="342"/>
                </a:lnTo>
                <a:lnTo>
                  <a:pt x="1942" y="324"/>
                </a:lnTo>
                <a:lnTo>
                  <a:pt x="1941" y="308"/>
                </a:lnTo>
                <a:lnTo>
                  <a:pt x="1937" y="290"/>
                </a:lnTo>
                <a:lnTo>
                  <a:pt x="1934" y="274"/>
                </a:lnTo>
                <a:lnTo>
                  <a:pt x="1929" y="257"/>
                </a:lnTo>
                <a:lnTo>
                  <a:pt x="1924" y="241"/>
                </a:lnTo>
                <a:lnTo>
                  <a:pt x="1917" y="225"/>
                </a:lnTo>
                <a:lnTo>
                  <a:pt x="1910" y="208"/>
                </a:lnTo>
                <a:lnTo>
                  <a:pt x="1903" y="193"/>
                </a:lnTo>
                <a:lnTo>
                  <a:pt x="1894" y="176"/>
                </a:lnTo>
                <a:lnTo>
                  <a:pt x="1884" y="162"/>
                </a:lnTo>
                <a:lnTo>
                  <a:pt x="1875" y="147"/>
                </a:lnTo>
                <a:lnTo>
                  <a:pt x="1863" y="133"/>
                </a:lnTo>
                <a:lnTo>
                  <a:pt x="1852" y="119"/>
                </a:lnTo>
                <a:lnTo>
                  <a:pt x="1839" y="106"/>
                </a:lnTo>
                <a:lnTo>
                  <a:pt x="1839" y="106"/>
                </a:lnTo>
                <a:lnTo>
                  <a:pt x="1826" y="93"/>
                </a:lnTo>
                <a:lnTo>
                  <a:pt x="1812" y="81"/>
                </a:lnTo>
                <a:lnTo>
                  <a:pt x="1798" y="70"/>
                </a:lnTo>
                <a:lnTo>
                  <a:pt x="1782" y="60"/>
                </a:lnTo>
                <a:lnTo>
                  <a:pt x="1768" y="51"/>
                </a:lnTo>
                <a:lnTo>
                  <a:pt x="1752" y="41"/>
                </a:lnTo>
                <a:lnTo>
                  <a:pt x="1737" y="34"/>
                </a:lnTo>
                <a:lnTo>
                  <a:pt x="1720" y="27"/>
                </a:lnTo>
                <a:lnTo>
                  <a:pt x="1704" y="20"/>
                </a:lnTo>
                <a:lnTo>
                  <a:pt x="1687" y="16"/>
                </a:lnTo>
                <a:lnTo>
                  <a:pt x="1671" y="11"/>
                </a:lnTo>
                <a:lnTo>
                  <a:pt x="1654" y="7"/>
                </a:lnTo>
                <a:lnTo>
                  <a:pt x="1637" y="4"/>
                </a:lnTo>
                <a:lnTo>
                  <a:pt x="1620" y="3"/>
                </a:lnTo>
                <a:lnTo>
                  <a:pt x="1603" y="2"/>
                </a:lnTo>
                <a:lnTo>
                  <a:pt x="1585" y="0"/>
                </a:lnTo>
                <a:lnTo>
                  <a:pt x="1569" y="2"/>
                </a:lnTo>
                <a:lnTo>
                  <a:pt x="1551" y="3"/>
                </a:lnTo>
                <a:lnTo>
                  <a:pt x="1535" y="4"/>
                </a:lnTo>
                <a:lnTo>
                  <a:pt x="1517" y="7"/>
                </a:lnTo>
                <a:lnTo>
                  <a:pt x="1501" y="11"/>
                </a:lnTo>
                <a:lnTo>
                  <a:pt x="1484" y="16"/>
                </a:lnTo>
                <a:lnTo>
                  <a:pt x="1468" y="20"/>
                </a:lnTo>
                <a:lnTo>
                  <a:pt x="1451" y="27"/>
                </a:lnTo>
                <a:lnTo>
                  <a:pt x="1435" y="34"/>
                </a:lnTo>
                <a:lnTo>
                  <a:pt x="1420" y="41"/>
                </a:lnTo>
                <a:lnTo>
                  <a:pt x="1403" y="51"/>
                </a:lnTo>
                <a:lnTo>
                  <a:pt x="1389" y="60"/>
                </a:lnTo>
                <a:lnTo>
                  <a:pt x="1374" y="70"/>
                </a:lnTo>
                <a:lnTo>
                  <a:pt x="1360" y="81"/>
                </a:lnTo>
                <a:lnTo>
                  <a:pt x="1346" y="93"/>
                </a:lnTo>
                <a:lnTo>
                  <a:pt x="1333" y="106"/>
                </a:lnTo>
                <a:lnTo>
                  <a:pt x="1333" y="106"/>
                </a:lnTo>
                <a:close/>
              </a:path>
            </a:pathLst>
          </a:cu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4" name="Freeform 7">
            <a:extLst>
              <a:ext uri="{FF2B5EF4-FFF2-40B4-BE49-F238E27FC236}">
                <a16:creationId xmlns:a16="http://schemas.microsoft.com/office/drawing/2014/main" id="{79EF38B5-7EE3-4B83-901A-3CFC9AA43184}"/>
              </a:ext>
            </a:extLst>
          </p:cNvPr>
          <p:cNvSpPr>
            <a:spLocks/>
          </p:cNvSpPr>
          <p:nvPr/>
        </p:nvSpPr>
        <p:spPr bwMode="auto">
          <a:xfrm>
            <a:off x="1" y="2"/>
            <a:ext cx="17068799" cy="9601199"/>
          </a:xfrm>
          <a:custGeom>
            <a:avLst/>
            <a:gdLst>
              <a:gd name="T0" fmla="*/ 30872 w 38360"/>
              <a:gd name="T1" fmla="*/ 11788 h 21600"/>
              <a:gd name="T2" fmla="*/ 30767 w 38360"/>
              <a:gd name="T3" fmla="*/ 11497 h 21600"/>
              <a:gd name="T4" fmla="*/ 32772 w 38360"/>
              <a:gd name="T5" fmla="*/ 9369 h 21600"/>
              <a:gd name="T6" fmla="*/ 32827 w 38360"/>
              <a:gd name="T7" fmla="*/ 9051 h 21600"/>
              <a:gd name="T8" fmla="*/ 32616 w 38360"/>
              <a:gd name="T9" fmla="*/ 8818 h 21600"/>
              <a:gd name="T10" fmla="*/ 32296 w 38360"/>
              <a:gd name="T11" fmla="*/ 8842 h 21600"/>
              <a:gd name="T12" fmla="*/ 28382 w 38360"/>
              <a:gd name="T13" fmla="*/ 12653 h 21600"/>
              <a:gd name="T14" fmla="*/ 28069 w 38360"/>
              <a:gd name="T15" fmla="*/ 12566 h 21600"/>
              <a:gd name="T16" fmla="*/ 27950 w 38360"/>
              <a:gd name="T17" fmla="*/ 12279 h 21600"/>
              <a:gd name="T18" fmla="*/ 32028 w 38360"/>
              <a:gd name="T19" fmla="*/ 8066 h 21600"/>
              <a:gd name="T20" fmla="*/ 32098 w 38360"/>
              <a:gd name="T21" fmla="*/ 7751 h 21600"/>
              <a:gd name="T22" fmla="*/ 31900 w 38360"/>
              <a:gd name="T23" fmla="*/ 7508 h 21600"/>
              <a:gd name="T24" fmla="*/ 31578 w 38360"/>
              <a:gd name="T25" fmla="*/ 7517 h 21600"/>
              <a:gd name="T26" fmla="*/ 29539 w 38360"/>
              <a:gd name="T27" fmla="*/ 9458 h 21600"/>
              <a:gd name="T28" fmla="*/ 29223 w 38360"/>
              <a:gd name="T29" fmla="*/ 9387 h 21600"/>
              <a:gd name="T30" fmla="*/ 29091 w 38360"/>
              <a:gd name="T31" fmla="*/ 9106 h 21600"/>
              <a:gd name="T32" fmla="*/ 30056 w 38360"/>
              <a:gd name="T33" fmla="*/ 7977 h 21600"/>
              <a:gd name="T34" fmla="*/ 29937 w 38360"/>
              <a:gd name="T35" fmla="*/ 7546 h 21600"/>
              <a:gd name="T36" fmla="*/ 29619 w 38360"/>
              <a:gd name="T37" fmla="*/ 7491 h 21600"/>
              <a:gd name="T38" fmla="*/ 28788 w 38360"/>
              <a:gd name="T39" fmla="*/ 8237 h 21600"/>
              <a:gd name="T40" fmla="*/ 28467 w 38360"/>
              <a:gd name="T41" fmla="*/ 8245 h 21600"/>
              <a:gd name="T42" fmla="*/ 28268 w 38360"/>
              <a:gd name="T43" fmla="*/ 8002 h 21600"/>
              <a:gd name="T44" fmla="*/ 28338 w 38360"/>
              <a:gd name="T45" fmla="*/ 7688 h 21600"/>
              <a:gd name="T46" fmla="*/ 30575 w 38360"/>
              <a:gd name="T47" fmla="*/ 5317 h 21600"/>
              <a:gd name="T48" fmla="*/ 30468 w 38360"/>
              <a:gd name="T49" fmla="*/ 5043 h 21600"/>
              <a:gd name="T50" fmla="*/ 30160 w 38360"/>
              <a:gd name="T51" fmla="*/ 4940 h 21600"/>
              <a:gd name="T52" fmla="*/ 29566 w 38360"/>
              <a:gd name="T53" fmla="*/ 5421 h 21600"/>
              <a:gd name="T54" fmla="*/ 29247 w 38360"/>
              <a:gd name="T55" fmla="*/ 5461 h 21600"/>
              <a:gd name="T56" fmla="*/ 29025 w 38360"/>
              <a:gd name="T57" fmla="*/ 5238 h 21600"/>
              <a:gd name="T58" fmla="*/ 29065 w 38360"/>
              <a:gd name="T59" fmla="*/ 4919 h 21600"/>
              <a:gd name="T60" fmla="*/ 9256 w 38360"/>
              <a:gd name="T61" fmla="*/ 9649 h 21600"/>
              <a:gd name="T62" fmla="*/ 9512 w 38360"/>
              <a:gd name="T63" fmla="*/ 9912 h 21600"/>
              <a:gd name="T64" fmla="*/ 9442 w 38360"/>
              <a:gd name="T65" fmla="*/ 10227 h 21600"/>
              <a:gd name="T66" fmla="*/ 7446 w 38360"/>
              <a:gd name="T67" fmla="*/ 12358 h 21600"/>
              <a:gd name="T68" fmla="*/ 7566 w 38360"/>
              <a:gd name="T69" fmla="*/ 12645 h 21600"/>
              <a:gd name="T70" fmla="*/ 7877 w 38360"/>
              <a:gd name="T71" fmla="*/ 12731 h 21600"/>
              <a:gd name="T72" fmla="*/ 11792 w 38360"/>
              <a:gd name="T73" fmla="*/ 8920 h 21600"/>
              <a:gd name="T74" fmla="*/ 12112 w 38360"/>
              <a:gd name="T75" fmla="*/ 8897 h 21600"/>
              <a:gd name="T76" fmla="*/ 12324 w 38360"/>
              <a:gd name="T77" fmla="*/ 9130 h 21600"/>
              <a:gd name="T78" fmla="*/ 12269 w 38360"/>
              <a:gd name="T79" fmla="*/ 9447 h 21600"/>
              <a:gd name="T80" fmla="*/ 8181 w 38360"/>
              <a:gd name="T81" fmla="*/ 13657 h 21600"/>
              <a:gd name="T82" fmla="*/ 8285 w 38360"/>
              <a:gd name="T83" fmla="*/ 13949 h 21600"/>
              <a:gd name="T84" fmla="*/ 8593 w 38360"/>
              <a:gd name="T85" fmla="*/ 14051 h 21600"/>
              <a:gd name="T86" fmla="*/ 10636 w 38360"/>
              <a:gd name="T87" fmla="*/ 12121 h 21600"/>
              <a:gd name="T88" fmla="*/ 10955 w 38360"/>
              <a:gd name="T89" fmla="*/ 12081 h 21600"/>
              <a:gd name="T90" fmla="*/ 11178 w 38360"/>
              <a:gd name="T91" fmla="*/ 12303 h 21600"/>
              <a:gd name="T92" fmla="*/ 11138 w 38360"/>
              <a:gd name="T93" fmla="*/ 12622 h 21600"/>
              <a:gd name="T94" fmla="*/ 10255 w 38360"/>
              <a:gd name="T95" fmla="*/ 13878 h 21600"/>
              <a:gd name="T96" fmla="*/ 10548 w 38360"/>
              <a:gd name="T97" fmla="*/ 14053 h 21600"/>
              <a:gd name="T98" fmla="*/ 11412 w 38360"/>
              <a:gd name="T99" fmla="*/ 13357 h 21600"/>
              <a:gd name="T100" fmla="*/ 11703 w 38360"/>
              <a:gd name="T101" fmla="*/ 13252 h 21600"/>
              <a:gd name="T102" fmla="*/ 11972 w 38360"/>
              <a:gd name="T103" fmla="*/ 13414 h 21600"/>
              <a:gd name="T104" fmla="*/ 12010 w 38360"/>
              <a:gd name="T105" fmla="*/ 13734 h 21600"/>
              <a:gd name="T106" fmla="*/ 9740 w 38360"/>
              <a:gd name="T107" fmla="*/ 16094 h 21600"/>
              <a:gd name="T108" fmla="*/ 9763 w 38360"/>
              <a:gd name="T109" fmla="*/ 16414 h 21600"/>
              <a:gd name="T110" fmla="*/ 10006 w 38360"/>
              <a:gd name="T111" fmla="*/ 16586 h 21600"/>
              <a:gd name="T112" fmla="*/ 10319 w 38360"/>
              <a:gd name="T113" fmla="*/ 16499 h 21600"/>
              <a:gd name="T114" fmla="*/ 10921 w 38360"/>
              <a:gd name="T115" fmla="*/ 16048 h 21600"/>
              <a:gd name="T116" fmla="*/ 11201 w 38360"/>
              <a:gd name="T117" fmla="*/ 16182 h 21600"/>
              <a:gd name="T118" fmla="*/ 11273 w 38360"/>
              <a:gd name="T119" fmla="*/ 1649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360" h="21600">
                <a:moveTo>
                  <a:pt x="31324" y="11836"/>
                </a:moveTo>
                <a:lnTo>
                  <a:pt x="31324" y="11836"/>
                </a:lnTo>
                <a:lnTo>
                  <a:pt x="31298" y="11851"/>
                </a:lnTo>
                <a:lnTo>
                  <a:pt x="31270" y="11864"/>
                </a:lnTo>
                <a:lnTo>
                  <a:pt x="31240" y="11876"/>
                </a:lnTo>
                <a:lnTo>
                  <a:pt x="31211" y="11884"/>
                </a:lnTo>
                <a:lnTo>
                  <a:pt x="31182" y="11890"/>
                </a:lnTo>
                <a:lnTo>
                  <a:pt x="31151" y="11892"/>
                </a:lnTo>
                <a:lnTo>
                  <a:pt x="31122" y="11893"/>
                </a:lnTo>
                <a:lnTo>
                  <a:pt x="31091" y="11891"/>
                </a:lnTo>
                <a:lnTo>
                  <a:pt x="31062" y="11887"/>
                </a:lnTo>
                <a:lnTo>
                  <a:pt x="31031" y="11880"/>
                </a:lnTo>
                <a:lnTo>
                  <a:pt x="31003" y="11871"/>
                </a:lnTo>
                <a:lnTo>
                  <a:pt x="30974" y="11859"/>
                </a:lnTo>
                <a:lnTo>
                  <a:pt x="30947" y="11845"/>
                </a:lnTo>
                <a:lnTo>
                  <a:pt x="30921" y="11829"/>
                </a:lnTo>
                <a:lnTo>
                  <a:pt x="30895" y="11809"/>
                </a:lnTo>
                <a:lnTo>
                  <a:pt x="30883" y="11798"/>
                </a:lnTo>
                <a:lnTo>
                  <a:pt x="30872" y="11788"/>
                </a:lnTo>
                <a:lnTo>
                  <a:pt x="30872" y="11788"/>
                </a:lnTo>
                <a:lnTo>
                  <a:pt x="30859" y="11774"/>
                </a:lnTo>
                <a:lnTo>
                  <a:pt x="30847" y="11760"/>
                </a:lnTo>
                <a:lnTo>
                  <a:pt x="30835" y="11745"/>
                </a:lnTo>
                <a:lnTo>
                  <a:pt x="30825" y="11730"/>
                </a:lnTo>
                <a:lnTo>
                  <a:pt x="30815" y="11715"/>
                </a:lnTo>
                <a:lnTo>
                  <a:pt x="30807" y="11700"/>
                </a:lnTo>
                <a:lnTo>
                  <a:pt x="30799" y="11683"/>
                </a:lnTo>
                <a:lnTo>
                  <a:pt x="30792" y="11668"/>
                </a:lnTo>
                <a:lnTo>
                  <a:pt x="30786" y="11652"/>
                </a:lnTo>
                <a:lnTo>
                  <a:pt x="30780" y="11634"/>
                </a:lnTo>
                <a:lnTo>
                  <a:pt x="30775" y="11617"/>
                </a:lnTo>
                <a:lnTo>
                  <a:pt x="30772" y="11600"/>
                </a:lnTo>
                <a:lnTo>
                  <a:pt x="30769" y="11583"/>
                </a:lnTo>
                <a:lnTo>
                  <a:pt x="30767" y="11566"/>
                </a:lnTo>
                <a:lnTo>
                  <a:pt x="30766" y="11548"/>
                </a:lnTo>
                <a:lnTo>
                  <a:pt x="30765" y="11531"/>
                </a:lnTo>
                <a:lnTo>
                  <a:pt x="30766" y="11514"/>
                </a:lnTo>
                <a:lnTo>
                  <a:pt x="30767" y="11497"/>
                </a:lnTo>
                <a:lnTo>
                  <a:pt x="30769" y="11479"/>
                </a:lnTo>
                <a:lnTo>
                  <a:pt x="30772" y="11461"/>
                </a:lnTo>
                <a:lnTo>
                  <a:pt x="30775" y="11445"/>
                </a:lnTo>
                <a:lnTo>
                  <a:pt x="30780" y="11429"/>
                </a:lnTo>
                <a:lnTo>
                  <a:pt x="30786" y="11411"/>
                </a:lnTo>
                <a:lnTo>
                  <a:pt x="30792" y="11394"/>
                </a:lnTo>
                <a:lnTo>
                  <a:pt x="30799" y="11378"/>
                </a:lnTo>
                <a:lnTo>
                  <a:pt x="30807" y="11363"/>
                </a:lnTo>
                <a:lnTo>
                  <a:pt x="30815" y="11348"/>
                </a:lnTo>
                <a:lnTo>
                  <a:pt x="30825" y="11332"/>
                </a:lnTo>
                <a:lnTo>
                  <a:pt x="30835" y="11317"/>
                </a:lnTo>
                <a:lnTo>
                  <a:pt x="30847" y="11303"/>
                </a:lnTo>
                <a:lnTo>
                  <a:pt x="30859" y="11289"/>
                </a:lnTo>
                <a:lnTo>
                  <a:pt x="30872" y="11275"/>
                </a:lnTo>
                <a:lnTo>
                  <a:pt x="32736" y="9411"/>
                </a:lnTo>
                <a:lnTo>
                  <a:pt x="32736" y="9411"/>
                </a:lnTo>
                <a:lnTo>
                  <a:pt x="32749" y="9397"/>
                </a:lnTo>
                <a:lnTo>
                  <a:pt x="32762" y="9383"/>
                </a:lnTo>
                <a:lnTo>
                  <a:pt x="32772" y="9369"/>
                </a:lnTo>
                <a:lnTo>
                  <a:pt x="32783" y="9353"/>
                </a:lnTo>
                <a:lnTo>
                  <a:pt x="32792" y="9338"/>
                </a:lnTo>
                <a:lnTo>
                  <a:pt x="32802" y="9323"/>
                </a:lnTo>
                <a:lnTo>
                  <a:pt x="32809" y="9306"/>
                </a:lnTo>
                <a:lnTo>
                  <a:pt x="32816" y="9290"/>
                </a:lnTo>
                <a:lnTo>
                  <a:pt x="32823" y="9274"/>
                </a:lnTo>
                <a:lnTo>
                  <a:pt x="32827" y="9257"/>
                </a:lnTo>
                <a:lnTo>
                  <a:pt x="32832" y="9241"/>
                </a:lnTo>
                <a:lnTo>
                  <a:pt x="32836" y="9223"/>
                </a:lnTo>
                <a:lnTo>
                  <a:pt x="32839" y="9207"/>
                </a:lnTo>
                <a:lnTo>
                  <a:pt x="32840" y="9189"/>
                </a:lnTo>
                <a:lnTo>
                  <a:pt x="32841" y="9171"/>
                </a:lnTo>
                <a:lnTo>
                  <a:pt x="32843" y="9154"/>
                </a:lnTo>
                <a:lnTo>
                  <a:pt x="32841" y="9136"/>
                </a:lnTo>
                <a:lnTo>
                  <a:pt x="32840" y="9120"/>
                </a:lnTo>
                <a:lnTo>
                  <a:pt x="32839" y="9102"/>
                </a:lnTo>
                <a:lnTo>
                  <a:pt x="32836" y="9085"/>
                </a:lnTo>
                <a:lnTo>
                  <a:pt x="32832" y="9068"/>
                </a:lnTo>
                <a:lnTo>
                  <a:pt x="32827" y="9051"/>
                </a:lnTo>
                <a:lnTo>
                  <a:pt x="32823" y="9034"/>
                </a:lnTo>
                <a:lnTo>
                  <a:pt x="32816" y="9018"/>
                </a:lnTo>
                <a:lnTo>
                  <a:pt x="32809" y="9001"/>
                </a:lnTo>
                <a:lnTo>
                  <a:pt x="32802" y="8986"/>
                </a:lnTo>
                <a:lnTo>
                  <a:pt x="32792" y="8970"/>
                </a:lnTo>
                <a:lnTo>
                  <a:pt x="32783" y="8954"/>
                </a:lnTo>
                <a:lnTo>
                  <a:pt x="32772" y="8940"/>
                </a:lnTo>
                <a:lnTo>
                  <a:pt x="32762" y="8925"/>
                </a:lnTo>
                <a:lnTo>
                  <a:pt x="32749" y="8911"/>
                </a:lnTo>
                <a:lnTo>
                  <a:pt x="32736" y="8898"/>
                </a:lnTo>
                <a:lnTo>
                  <a:pt x="32736" y="8898"/>
                </a:lnTo>
                <a:lnTo>
                  <a:pt x="32723" y="8885"/>
                </a:lnTo>
                <a:lnTo>
                  <a:pt x="32709" y="8873"/>
                </a:lnTo>
                <a:lnTo>
                  <a:pt x="32695" y="8862"/>
                </a:lnTo>
                <a:lnTo>
                  <a:pt x="32679" y="8851"/>
                </a:lnTo>
                <a:lnTo>
                  <a:pt x="32664" y="8842"/>
                </a:lnTo>
                <a:lnTo>
                  <a:pt x="32649" y="8833"/>
                </a:lnTo>
                <a:lnTo>
                  <a:pt x="32632" y="8825"/>
                </a:lnTo>
                <a:lnTo>
                  <a:pt x="32616" y="8818"/>
                </a:lnTo>
                <a:lnTo>
                  <a:pt x="32600" y="8812"/>
                </a:lnTo>
                <a:lnTo>
                  <a:pt x="32583" y="8806"/>
                </a:lnTo>
                <a:lnTo>
                  <a:pt x="32567" y="8802"/>
                </a:lnTo>
                <a:lnTo>
                  <a:pt x="32549" y="8798"/>
                </a:lnTo>
                <a:lnTo>
                  <a:pt x="32532" y="8796"/>
                </a:lnTo>
                <a:lnTo>
                  <a:pt x="32515" y="8794"/>
                </a:lnTo>
                <a:lnTo>
                  <a:pt x="32497" y="8792"/>
                </a:lnTo>
                <a:lnTo>
                  <a:pt x="32480" y="8792"/>
                </a:lnTo>
                <a:lnTo>
                  <a:pt x="32462" y="8792"/>
                </a:lnTo>
                <a:lnTo>
                  <a:pt x="32446" y="8794"/>
                </a:lnTo>
                <a:lnTo>
                  <a:pt x="32428" y="8796"/>
                </a:lnTo>
                <a:lnTo>
                  <a:pt x="32411" y="8798"/>
                </a:lnTo>
                <a:lnTo>
                  <a:pt x="32394" y="8802"/>
                </a:lnTo>
                <a:lnTo>
                  <a:pt x="32377" y="8806"/>
                </a:lnTo>
                <a:lnTo>
                  <a:pt x="32360" y="8812"/>
                </a:lnTo>
                <a:lnTo>
                  <a:pt x="32344" y="8818"/>
                </a:lnTo>
                <a:lnTo>
                  <a:pt x="32327" y="8825"/>
                </a:lnTo>
                <a:lnTo>
                  <a:pt x="32312" y="8833"/>
                </a:lnTo>
                <a:lnTo>
                  <a:pt x="32296" y="8842"/>
                </a:lnTo>
                <a:lnTo>
                  <a:pt x="32280" y="8851"/>
                </a:lnTo>
                <a:lnTo>
                  <a:pt x="32266" y="8862"/>
                </a:lnTo>
                <a:lnTo>
                  <a:pt x="32251" y="8873"/>
                </a:lnTo>
                <a:lnTo>
                  <a:pt x="32237" y="8885"/>
                </a:lnTo>
                <a:lnTo>
                  <a:pt x="32224" y="8898"/>
                </a:lnTo>
                <a:lnTo>
                  <a:pt x="28568" y="12553"/>
                </a:lnTo>
                <a:lnTo>
                  <a:pt x="28568" y="12553"/>
                </a:lnTo>
                <a:lnTo>
                  <a:pt x="28554" y="12566"/>
                </a:lnTo>
                <a:lnTo>
                  <a:pt x="28540" y="12578"/>
                </a:lnTo>
                <a:lnTo>
                  <a:pt x="28526" y="12589"/>
                </a:lnTo>
                <a:lnTo>
                  <a:pt x="28511" y="12599"/>
                </a:lnTo>
                <a:lnTo>
                  <a:pt x="28496" y="12609"/>
                </a:lnTo>
                <a:lnTo>
                  <a:pt x="28480" y="12618"/>
                </a:lnTo>
                <a:lnTo>
                  <a:pt x="28465" y="12626"/>
                </a:lnTo>
                <a:lnTo>
                  <a:pt x="28449" y="12633"/>
                </a:lnTo>
                <a:lnTo>
                  <a:pt x="28432" y="12639"/>
                </a:lnTo>
                <a:lnTo>
                  <a:pt x="28415" y="12645"/>
                </a:lnTo>
                <a:lnTo>
                  <a:pt x="28398" y="12648"/>
                </a:lnTo>
                <a:lnTo>
                  <a:pt x="28382" y="12653"/>
                </a:lnTo>
                <a:lnTo>
                  <a:pt x="28364" y="12655"/>
                </a:lnTo>
                <a:lnTo>
                  <a:pt x="28347" y="12657"/>
                </a:lnTo>
                <a:lnTo>
                  <a:pt x="28329" y="12659"/>
                </a:lnTo>
                <a:lnTo>
                  <a:pt x="28312" y="12659"/>
                </a:lnTo>
                <a:lnTo>
                  <a:pt x="28295" y="12659"/>
                </a:lnTo>
                <a:lnTo>
                  <a:pt x="28277" y="12657"/>
                </a:lnTo>
                <a:lnTo>
                  <a:pt x="28260" y="12655"/>
                </a:lnTo>
                <a:lnTo>
                  <a:pt x="28243" y="12653"/>
                </a:lnTo>
                <a:lnTo>
                  <a:pt x="28226" y="12648"/>
                </a:lnTo>
                <a:lnTo>
                  <a:pt x="28209" y="12645"/>
                </a:lnTo>
                <a:lnTo>
                  <a:pt x="28192" y="12639"/>
                </a:lnTo>
                <a:lnTo>
                  <a:pt x="28175" y="12633"/>
                </a:lnTo>
                <a:lnTo>
                  <a:pt x="28160" y="12626"/>
                </a:lnTo>
                <a:lnTo>
                  <a:pt x="28143" y="12618"/>
                </a:lnTo>
                <a:lnTo>
                  <a:pt x="28128" y="12609"/>
                </a:lnTo>
                <a:lnTo>
                  <a:pt x="28113" y="12599"/>
                </a:lnTo>
                <a:lnTo>
                  <a:pt x="28098" y="12589"/>
                </a:lnTo>
                <a:lnTo>
                  <a:pt x="28084" y="12578"/>
                </a:lnTo>
                <a:lnTo>
                  <a:pt x="28069" y="12566"/>
                </a:lnTo>
                <a:lnTo>
                  <a:pt x="28055" y="12553"/>
                </a:lnTo>
                <a:lnTo>
                  <a:pt x="28055" y="12553"/>
                </a:lnTo>
                <a:lnTo>
                  <a:pt x="28042" y="12539"/>
                </a:lnTo>
                <a:lnTo>
                  <a:pt x="28031" y="12525"/>
                </a:lnTo>
                <a:lnTo>
                  <a:pt x="28020" y="12511"/>
                </a:lnTo>
                <a:lnTo>
                  <a:pt x="28010" y="12495"/>
                </a:lnTo>
                <a:lnTo>
                  <a:pt x="28000" y="12480"/>
                </a:lnTo>
                <a:lnTo>
                  <a:pt x="27991" y="12465"/>
                </a:lnTo>
                <a:lnTo>
                  <a:pt x="27983" y="12450"/>
                </a:lnTo>
                <a:lnTo>
                  <a:pt x="27976" y="12433"/>
                </a:lnTo>
                <a:lnTo>
                  <a:pt x="27970" y="12417"/>
                </a:lnTo>
                <a:lnTo>
                  <a:pt x="27965" y="12399"/>
                </a:lnTo>
                <a:lnTo>
                  <a:pt x="27960" y="12383"/>
                </a:lnTo>
                <a:lnTo>
                  <a:pt x="27957" y="12366"/>
                </a:lnTo>
                <a:lnTo>
                  <a:pt x="27953" y="12349"/>
                </a:lnTo>
                <a:lnTo>
                  <a:pt x="27951" y="12331"/>
                </a:lnTo>
                <a:lnTo>
                  <a:pt x="27950" y="12314"/>
                </a:lnTo>
                <a:lnTo>
                  <a:pt x="27950" y="12297"/>
                </a:lnTo>
                <a:lnTo>
                  <a:pt x="27950" y="12279"/>
                </a:lnTo>
                <a:lnTo>
                  <a:pt x="27951" y="12262"/>
                </a:lnTo>
                <a:lnTo>
                  <a:pt x="27953" y="12244"/>
                </a:lnTo>
                <a:lnTo>
                  <a:pt x="27957" y="12228"/>
                </a:lnTo>
                <a:lnTo>
                  <a:pt x="27960" y="12210"/>
                </a:lnTo>
                <a:lnTo>
                  <a:pt x="27965" y="12194"/>
                </a:lnTo>
                <a:lnTo>
                  <a:pt x="27970" y="12176"/>
                </a:lnTo>
                <a:lnTo>
                  <a:pt x="27976" y="12160"/>
                </a:lnTo>
                <a:lnTo>
                  <a:pt x="27983" y="12144"/>
                </a:lnTo>
                <a:lnTo>
                  <a:pt x="27991" y="12128"/>
                </a:lnTo>
                <a:lnTo>
                  <a:pt x="28000" y="12113"/>
                </a:lnTo>
                <a:lnTo>
                  <a:pt x="28010" y="12098"/>
                </a:lnTo>
                <a:lnTo>
                  <a:pt x="28020" y="12082"/>
                </a:lnTo>
                <a:lnTo>
                  <a:pt x="28031" y="12068"/>
                </a:lnTo>
                <a:lnTo>
                  <a:pt x="28042" y="12054"/>
                </a:lnTo>
                <a:lnTo>
                  <a:pt x="28055" y="12040"/>
                </a:lnTo>
                <a:lnTo>
                  <a:pt x="32003" y="8094"/>
                </a:lnTo>
                <a:lnTo>
                  <a:pt x="32003" y="8094"/>
                </a:lnTo>
                <a:lnTo>
                  <a:pt x="32016" y="8080"/>
                </a:lnTo>
                <a:lnTo>
                  <a:pt x="32028" y="8066"/>
                </a:lnTo>
                <a:lnTo>
                  <a:pt x="32040" y="8052"/>
                </a:lnTo>
                <a:lnTo>
                  <a:pt x="32049" y="8036"/>
                </a:lnTo>
                <a:lnTo>
                  <a:pt x="32060" y="8021"/>
                </a:lnTo>
                <a:lnTo>
                  <a:pt x="32068" y="8006"/>
                </a:lnTo>
                <a:lnTo>
                  <a:pt x="32076" y="7990"/>
                </a:lnTo>
                <a:lnTo>
                  <a:pt x="32083" y="7974"/>
                </a:lnTo>
                <a:lnTo>
                  <a:pt x="32089" y="7958"/>
                </a:lnTo>
                <a:lnTo>
                  <a:pt x="32095" y="7940"/>
                </a:lnTo>
                <a:lnTo>
                  <a:pt x="32098" y="7924"/>
                </a:lnTo>
                <a:lnTo>
                  <a:pt x="32103" y="7906"/>
                </a:lnTo>
                <a:lnTo>
                  <a:pt x="32105" y="7890"/>
                </a:lnTo>
                <a:lnTo>
                  <a:pt x="32108" y="7872"/>
                </a:lnTo>
                <a:lnTo>
                  <a:pt x="32109" y="7855"/>
                </a:lnTo>
                <a:lnTo>
                  <a:pt x="32109" y="7837"/>
                </a:lnTo>
                <a:lnTo>
                  <a:pt x="32109" y="7821"/>
                </a:lnTo>
                <a:lnTo>
                  <a:pt x="32108" y="7803"/>
                </a:lnTo>
                <a:lnTo>
                  <a:pt x="32105" y="7785"/>
                </a:lnTo>
                <a:lnTo>
                  <a:pt x="32103" y="7768"/>
                </a:lnTo>
                <a:lnTo>
                  <a:pt x="32098" y="7751"/>
                </a:lnTo>
                <a:lnTo>
                  <a:pt x="32095" y="7735"/>
                </a:lnTo>
                <a:lnTo>
                  <a:pt x="32089" y="7717"/>
                </a:lnTo>
                <a:lnTo>
                  <a:pt x="32083" y="7701"/>
                </a:lnTo>
                <a:lnTo>
                  <a:pt x="32076" y="7684"/>
                </a:lnTo>
                <a:lnTo>
                  <a:pt x="32068" y="7669"/>
                </a:lnTo>
                <a:lnTo>
                  <a:pt x="32060" y="7654"/>
                </a:lnTo>
                <a:lnTo>
                  <a:pt x="32049" y="7639"/>
                </a:lnTo>
                <a:lnTo>
                  <a:pt x="32040" y="7623"/>
                </a:lnTo>
                <a:lnTo>
                  <a:pt x="32028" y="7609"/>
                </a:lnTo>
                <a:lnTo>
                  <a:pt x="32016" y="7595"/>
                </a:lnTo>
                <a:lnTo>
                  <a:pt x="32003" y="7581"/>
                </a:lnTo>
                <a:lnTo>
                  <a:pt x="32003" y="7581"/>
                </a:lnTo>
                <a:lnTo>
                  <a:pt x="31989" y="7568"/>
                </a:lnTo>
                <a:lnTo>
                  <a:pt x="31975" y="7556"/>
                </a:lnTo>
                <a:lnTo>
                  <a:pt x="31961" y="7545"/>
                </a:lnTo>
                <a:lnTo>
                  <a:pt x="31946" y="7535"/>
                </a:lnTo>
                <a:lnTo>
                  <a:pt x="31930" y="7525"/>
                </a:lnTo>
                <a:lnTo>
                  <a:pt x="31915" y="7517"/>
                </a:lnTo>
                <a:lnTo>
                  <a:pt x="31900" y="7508"/>
                </a:lnTo>
                <a:lnTo>
                  <a:pt x="31884" y="7501"/>
                </a:lnTo>
                <a:lnTo>
                  <a:pt x="31867" y="7495"/>
                </a:lnTo>
                <a:lnTo>
                  <a:pt x="31849" y="7490"/>
                </a:lnTo>
                <a:lnTo>
                  <a:pt x="31833" y="7486"/>
                </a:lnTo>
                <a:lnTo>
                  <a:pt x="31815" y="7481"/>
                </a:lnTo>
                <a:lnTo>
                  <a:pt x="31799" y="7479"/>
                </a:lnTo>
                <a:lnTo>
                  <a:pt x="31781" y="7477"/>
                </a:lnTo>
                <a:lnTo>
                  <a:pt x="31764" y="7475"/>
                </a:lnTo>
                <a:lnTo>
                  <a:pt x="31747" y="7475"/>
                </a:lnTo>
                <a:lnTo>
                  <a:pt x="31730" y="7475"/>
                </a:lnTo>
                <a:lnTo>
                  <a:pt x="31712" y="7477"/>
                </a:lnTo>
                <a:lnTo>
                  <a:pt x="31695" y="7479"/>
                </a:lnTo>
                <a:lnTo>
                  <a:pt x="31678" y="7481"/>
                </a:lnTo>
                <a:lnTo>
                  <a:pt x="31660" y="7486"/>
                </a:lnTo>
                <a:lnTo>
                  <a:pt x="31644" y="7490"/>
                </a:lnTo>
                <a:lnTo>
                  <a:pt x="31626" y="7495"/>
                </a:lnTo>
                <a:lnTo>
                  <a:pt x="31610" y="7501"/>
                </a:lnTo>
                <a:lnTo>
                  <a:pt x="31595" y="7508"/>
                </a:lnTo>
                <a:lnTo>
                  <a:pt x="31578" y="7517"/>
                </a:lnTo>
                <a:lnTo>
                  <a:pt x="31563" y="7525"/>
                </a:lnTo>
                <a:lnTo>
                  <a:pt x="31548" y="7535"/>
                </a:lnTo>
                <a:lnTo>
                  <a:pt x="31533" y="7545"/>
                </a:lnTo>
                <a:lnTo>
                  <a:pt x="31518" y="7556"/>
                </a:lnTo>
                <a:lnTo>
                  <a:pt x="31504" y="7568"/>
                </a:lnTo>
                <a:lnTo>
                  <a:pt x="31490" y="7581"/>
                </a:lnTo>
                <a:lnTo>
                  <a:pt x="29709" y="9363"/>
                </a:lnTo>
                <a:lnTo>
                  <a:pt x="29709" y="9363"/>
                </a:lnTo>
                <a:lnTo>
                  <a:pt x="29695" y="9376"/>
                </a:lnTo>
                <a:lnTo>
                  <a:pt x="29681" y="9387"/>
                </a:lnTo>
                <a:lnTo>
                  <a:pt x="29667" y="9398"/>
                </a:lnTo>
                <a:lnTo>
                  <a:pt x="29652" y="9409"/>
                </a:lnTo>
                <a:lnTo>
                  <a:pt x="29637" y="9418"/>
                </a:lnTo>
                <a:lnTo>
                  <a:pt x="29621" y="9427"/>
                </a:lnTo>
                <a:lnTo>
                  <a:pt x="29605" y="9436"/>
                </a:lnTo>
                <a:lnTo>
                  <a:pt x="29589" y="9443"/>
                </a:lnTo>
                <a:lnTo>
                  <a:pt x="29572" y="9448"/>
                </a:lnTo>
                <a:lnTo>
                  <a:pt x="29556" y="9453"/>
                </a:lnTo>
                <a:lnTo>
                  <a:pt x="29539" y="9458"/>
                </a:lnTo>
                <a:lnTo>
                  <a:pt x="29522" y="9461"/>
                </a:lnTo>
                <a:lnTo>
                  <a:pt x="29505" y="9465"/>
                </a:lnTo>
                <a:lnTo>
                  <a:pt x="29488" y="9467"/>
                </a:lnTo>
                <a:lnTo>
                  <a:pt x="29470" y="9468"/>
                </a:lnTo>
                <a:lnTo>
                  <a:pt x="29452" y="9468"/>
                </a:lnTo>
                <a:lnTo>
                  <a:pt x="29435" y="9468"/>
                </a:lnTo>
                <a:lnTo>
                  <a:pt x="29418" y="9467"/>
                </a:lnTo>
                <a:lnTo>
                  <a:pt x="29401" y="9465"/>
                </a:lnTo>
                <a:lnTo>
                  <a:pt x="29383" y="9463"/>
                </a:lnTo>
                <a:lnTo>
                  <a:pt x="29367" y="9458"/>
                </a:lnTo>
                <a:lnTo>
                  <a:pt x="29349" y="9453"/>
                </a:lnTo>
                <a:lnTo>
                  <a:pt x="29333" y="9448"/>
                </a:lnTo>
                <a:lnTo>
                  <a:pt x="29316" y="9443"/>
                </a:lnTo>
                <a:lnTo>
                  <a:pt x="29300" y="9436"/>
                </a:lnTo>
                <a:lnTo>
                  <a:pt x="29284" y="9427"/>
                </a:lnTo>
                <a:lnTo>
                  <a:pt x="29268" y="9418"/>
                </a:lnTo>
                <a:lnTo>
                  <a:pt x="29253" y="9409"/>
                </a:lnTo>
                <a:lnTo>
                  <a:pt x="29239" y="9398"/>
                </a:lnTo>
                <a:lnTo>
                  <a:pt x="29223" y="9387"/>
                </a:lnTo>
                <a:lnTo>
                  <a:pt x="29211" y="9376"/>
                </a:lnTo>
                <a:lnTo>
                  <a:pt x="29196" y="9363"/>
                </a:lnTo>
                <a:lnTo>
                  <a:pt x="29196" y="9363"/>
                </a:lnTo>
                <a:lnTo>
                  <a:pt x="29184" y="9349"/>
                </a:lnTo>
                <a:lnTo>
                  <a:pt x="29172" y="9335"/>
                </a:lnTo>
                <a:lnTo>
                  <a:pt x="29160" y="9321"/>
                </a:lnTo>
                <a:lnTo>
                  <a:pt x="29149" y="9305"/>
                </a:lnTo>
                <a:lnTo>
                  <a:pt x="29140" y="9290"/>
                </a:lnTo>
                <a:lnTo>
                  <a:pt x="29132" y="9275"/>
                </a:lnTo>
                <a:lnTo>
                  <a:pt x="29124" y="9258"/>
                </a:lnTo>
                <a:lnTo>
                  <a:pt x="29117" y="9243"/>
                </a:lnTo>
                <a:lnTo>
                  <a:pt x="29111" y="9227"/>
                </a:lnTo>
                <a:lnTo>
                  <a:pt x="29105" y="9209"/>
                </a:lnTo>
                <a:lnTo>
                  <a:pt x="29100" y="9193"/>
                </a:lnTo>
                <a:lnTo>
                  <a:pt x="29097" y="9175"/>
                </a:lnTo>
                <a:lnTo>
                  <a:pt x="29094" y="9159"/>
                </a:lnTo>
                <a:lnTo>
                  <a:pt x="29092" y="9141"/>
                </a:lnTo>
                <a:lnTo>
                  <a:pt x="29091" y="9123"/>
                </a:lnTo>
                <a:lnTo>
                  <a:pt x="29091" y="9106"/>
                </a:lnTo>
                <a:lnTo>
                  <a:pt x="29091" y="9089"/>
                </a:lnTo>
                <a:lnTo>
                  <a:pt x="29092" y="9072"/>
                </a:lnTo>
                <a:lnTo>
                  <a:pt x="29094" y="9054"/>
                </a:lnTo>
                <a:lnTo>
                  <a:pt x="29097" y="9036"/>
                </a:lnTo>
                <a:lnTo>
                  <a:pt x="29100" y="9020"/>
                </a:lnTo>
                <a:lnTo>
                  <a:pt x="29105" y="9004"/>
                </a:lnTo>
                <a:lnTo>
                  <a:pt x="29111" y="8986"/>
                </a:lnTo>
                <a:lnTo>
                  <a:pt x="29117" y="8970"/>
                </a:lnTo>
                <a:lnTo>
                  <a:pt x="29124" y="8953"/>
                </a:lnTo>
                <a:lnTo>
                  <a:pt x="29132" y="8938"/>
                </a:lnTo>
                <a:lnTo>
                  <a:pt x="29140" y="8923"/>
                </a:lnTo>
                <a:lnTo>
                  <a:pt x="29149" y="8907"/>
                </a:lnTo>
                <a:lnTo>
                  <a:pt x="29160" y="8892"/>
                </a:lnTo>
                <a:lnTo>
                  <a:pt x="29172" y="8878"/>
                </a:lnTo>
                <a:lnTo>
                  <a:pt x="29184" y="8864"/>
                </a:lnTo>
                <a:lnTo>
                  <a:pt x="29196" y="8850"/>
                </a:lnTo>
                <a:lnTo>
                  <a:pt x="30044" y="8002"/>
                </a:lnTo>
                <a:lnTo>
                  <a:pt x="30044" y="8002"/>
                </a:lnTo>
                <a:lnTo>
                  <a:pt x="30056" y="7977"/>
                </a:lnTo>
                <a:lnTo>
                  <a:pt x="30066" y="7951"/>
                </a:lnTo>
                <a:lnTo>
                  <a:pt x="30073" y="7923"/>
                </a:lnTo>
                <a:lnTo>
                  <a:pt x="30079" y="7896"/>
                </a:lnTo>
                <a:lnTo>
                  <a:pt x="30083" y="7867"/>
                </a:lnTo>
                <a:lnTo>
                  <a:pt x="30084" y="7839"/>
                </a:lnTo>
                <a:lnTo>
                  <a:pt x="30083" y="7812"/>
                </a:lnTo>
                <a:lnTo>
                  <a:pt x="30080" y="7784"/>
                </a:lnTo>
                <a:lnTo>
                  <a:pt x="30076" y="7756"/>
                </a:lnTo>
                <a:lnTo>
                  <a:pt x="30067" y="7729"/>
                </a:lnTo>
                <a:lnTo>
                  <a:pt x="30058" y="7703"/>
                </a:lnTo>
                <a:lnTo>
                  <a:pt x="30048" y="7676"/>
                </a:lnTo>
                <a:lnTo>
                  <a:pt x="30033" y="7651"/>
                </a:lnTo>
                <a:lnTo>
                  <a:pt x="30017" y="7627"/>
                </a:lnTo>
                <a:lnTo>
                  <a:pt x="29999" y="7605"/>
                </a:lnTo>
                <a:lnTo>
                  <a:pt x="29979" y="7582"/>
                </a:lnTo>
                <a:lnTo>
                  <a:pt x="29979" y="7582"/>
                </a:lnTo>
                <a:lnTo>
                  <a:pt x="29965" y="7569"/>
                </a:lnTo>
                <a:lnTo>
                  <a:pt x="29951" y="7558"/>
                </a:lnTo>
                <a:lnTo>
                  <a:pt x="29937" y="7546"/>
                </a:lnTo>
                <a:lnTo>
                  <a:pt x="29922" y="7535"/>
                </a:lnTo>
                <a:lnTo>
                  <a:pt x="29907" y="7526"/>
                </a:lnTo>
                <a:lnTo>
                  <a:pt x="29891" y="7518"/>
                </a:lnTo>
                <a:lnTo>
                  <a:pt x="29875" y="7509"/>
                </a:lnTo>
                <a:lnTo>
                  <a:pt x="29860" y="7502"/>
                </a:lnTo>
                <a:lnTo>
                  <a:pt x="29842" y="7497"/>
                </a:lnTo>
                <a:lnTo>
                  <a:pt x="29826" y="7491"/>
                </a:lnTo>
                <a:lnTo>
                  <a:pt x="29809" y="7486"/>
                </a:lnTo>
                <a:lnTo>
                  <a:pt x="29792" y="7482"/>
                </a:lnTo>
                <a:lnTo>
                  <a:pt x="29775" y="7480"/>
                </a:lnTo>
                <a:lnTo>
                  <a:pt x="29758" y="7478"/>
                </a:lnTo>
                <a:lnTo>
                  <a:pt x="29740" y="7477"/>
                </a:lnTo>
                <a:lnTo>
                  <a:pt x="29722" y="7475"/>
                </a:lnTo>
                <a:lnTo>
                  <a:pt x="29706" y="7477"/>
                </a:lnTo>
                <a:lnTo>
                  <a:pt x="29688" y="7478"/>
                </a:lnTo>
                <a:lnTo>
                  <a:pt x="29671" y="7480"/>
                </a:lnTo>
                <a:lnTo>
                  <a:pt x="29653" y="7482"/>
                </a:lnTo>
                <a:lnTo>
                  <a:pt x="29637" y="7486"/>
                </a:lnTo>
                <a:lnTo>
                  <a:pt x="29619" y="7491"/>
                </a:lnTo>
                <a:lnTo>
                  <a:pt x="29603" y="7497"/>
                </a:lnTo>
                <a:lnTo>
                  <a:pt x="29586" y="7502"/>
                </a:lnTo>
                <a:lnTo>
                  <a:pt x="29570" y="7509"/>
                </a:lnTo>
                <a:lnTo>
                  <a:pt x="29554" y="7518"/>
                </a:lnTo>
                <a:lnTo>
                  <a:pt x="29538" y="7526"/>
                </a:lnTo>
                <a:lnTo>
                  <a:pt x="29523" y="7535"/>
                </a:lnTo>
                <a:lnTo>
                  <a:pt x="29509" y="7546"/>
                </a:lnTo>
                <a:lnTo>
                  <a:pt x="29495" y="7558"/>
                </a:lnTo>
                <a:lnTo>
                  <a:pt x="29481" y="7569"/>
                </a:lnTo>
                <a:lnTo>
                  <a:pt x="29466" y="7582"/>
                </a:lnTo>
                <a:lnTo>
                  <a:pt x="29154" y="7894"/>
                </a:lnTo>
                <a:lnTo>
                  <a:pt x="28876" y="8173"/>
                </a:lnTo>
                <a:lnTo>
                  <a:pt x="28876" y="8173"/>
                </a:lnTo>
                <a:lnTo>
                  <a:pt x="28863" y="8186"/>
                </a:lnTo>
                <a:lnTo>
                  <a:pt x="28849" y="8197"/>
                </a:lnTo>
                <a:lnTo>
                  <a:pt x="28834" y="8208"/>
                </a:lnTo>
                <a:lnTo>
                  <a:pt x="28820" y="8218"/>
                </a:lnTo>
                <a:lnTo>
                  <a:pt x="28804" y="8228"/>
                </a:lnTo>
                <a:lnTo>
                  <a:pt x="28788" y="8237"/>
                </a:lnTo>
                <a:lnTo>
                  <a:pt x="28773" y="8245"/>
                </a:lnTo>
                <a:lnTo>
                  <a:pt x="28756" y="8252"/>
                </a:lnTo>
                <a:lnTo>
                  <a:pt x="28740" y="8258"/>
                </a:lnTo>
                <a:lnTo>
                  <a:pt x="28723" y="8263"/>
                </a:lnTo>
                <a:lnTo>
                  <a:pt x="28706" y="8268"/>
                </a:lnTo>
                <a:lnTo>
                  <a:pt x="28689" y="8272"/>
                </a:lnTo>
                <a:lnTo>
                  <a:pt x="28672" y="8275"/>
                </a:lnTo>
                <a:lnTo>
                  <a:pt x="28654" y="8277"/>
                </a:lnTo>
                <a:lnTo>
                  <a:pt x="28638" y="8278"/>
                </a:lnTo>
                <a:lnTo>
                  <a:pt x="28620" y="8278"/>
                </a:lnTo>
                <a:lnTo>
                  <a:pt x="28602" y="8278"/>
                </a:lnTo>
                <a:lnTo>
                  <a:pt x="28585" y="8277"/>
                </a:lnTo>
                <a:lnTo>
                  <a:pt x="28568" y="8275"/>
                </a:lnTo>
                <a:lnTo>
                  <a:pt x="28551" y="8272"/>
                </a:lnTo>
                <a:lnTo>
                  <a:pt x="28533" y="8268"/>
                </a:lnTo>
                <a:lnTo>
                  <a:pt x="28517" y="8263"/>
                </a:lnTo>
                <a:lnTo>
                  <a:pt x="28500" y="8258"/>
                </a:lnTo>
                <a:lnTo>
                  <a:pt x="28484" y="8252"/>
                </a:lnTo>
                <a:lnTo>
                  <a:pt x="28467" y="8245"/>
                </a:lnTo>
                <a:lnTo>
                  <a:pt x="28451" y="8237"/>
                </a:lnTo>
                <a:lnTo>
                  <a:pt x="28436" y="8228"/>
                </a:lnTo>
                <a:lnTo>
                  <a:pt x="28420" y="8218"/>
                </a:lnTo>
                <a:lnTo>
                  <a:pt x="28405" y="8208"/>
                </a:lnTo>
                <a:lnTo>
                  <a:pt x="28391" y="8197"/>
                </a:lnTo>
                <a:lnTo>
                  <a:pt x="28377" y="8186"/>
                </a:lnTo>
                <a:lnTo>
                  <a:pt x="28364" y="8173"/>
                </a:lnTo>
                <a:lnTo>
                  <a:pt x="28364" y="8173"/>
                </a:lnTo>
                <a:lnTo>
                  <a:pt x="28351" y="8159"/>
                </a:lnTo>
                <a:lnTo>
                  <a:pt x="28338" y="8144"/>
                </a:lnTo>
                <a:lnTo>
                  <a:pt x="28328" y="8130"/>
                </a:lnTo>
                <a:lnTo>
                  <a:pt x="28317" y="8115"/>
                </a:lnTo>
                <a:lnTo>
                  <a:pt x="28308" y="8100"/>
                </a:lnTo>
                <a:lnTo>
                  <a:pt x="28298" y="8085"/>
                </a:lnTo>
                <a:lnTo>
                  <a:pt x="28291" y="8068"/>
                </a:lnTo>
                <a:lnTo>
                  <a:pt x="28284" y="8053"/>
                </a:lnTo>
                <a:lnTo>
                  <a:pt x="28277" y="8036"/>
                </a:lnTo>
                <a:lnTo>
                  <a:pt x="28273" y="8019"/>
                </a:lnTo>
                <a:lnTo>
                  <a:pt x="28268" y="8002"/>
                </a:lnTo>
                <a:lnTo>
                  <a:pt x="28264" y="7985"/>
                </a:lnTo>
                <a:lnTo>
                  <a:pt x="28261" y="7968"/>
                </a:lnTo>
                <a:lnTo>
                  <a:pt x="28258" y="7951"/>
                </a:lnTo>
                <a:lnTo>
                  <a:pt x="28257" y="7933"/>
                </a:lnTo>
                <a:lnTo>
                  <a:pt x="28257" y="7916"/>
                </a:lnTo>
                <a:lnTo>
                  <a:pt x="28257" y="7899"/>
                </a:lnTo>
                <a:lnTo>
                  <a:pt x="28258" y="7882"/>
                </a:lnTo>
                <a:lnTo>
                  <a:pt x="28261" y="7864"/>
                </a:lnTo>
                <a:lnTo>
                  <a:pt x="28264" y="7846"/>
                </a:lnTo>
                <a:lnTo>
                  <a:pt x="28268" y="7830"/>
                </a:lnTo>
                <a:lnTo>
                  <a:pt x="28273" y="7813"/>
                </a:lnTo>
                <a:lnTo>
                  <a:pt x="28277" y="7796"/>
                </a:lnTo>
                <a:lnTo>
                  <a:pt x="28284" y="7779"/>
                </a:lnTo>
                <a:lnTo>
                  <a:pt x="28291" y="7763"/>
                </a:lnTo>
                <a:lnTo>
                  <a:pt x="28298" y="7748"/>
                </a:lnTo>
                <a:lnTo>
                  <a:pt x="28308" y="7732"/>
                </a:lnTo>
                <a:lnTo>
                  <a:pt x="28317" y="7717"/>
                </a:lnTo>
                <a:lnTo>
                  <a:pt x="28328" y="7702"/>
                </a:lnTo>
                <a:lnTo>
                  <a:pt x="28338" y="7688"/>
                </a:lnTo>
                <a:lnTo>
                  <a:pt x="28351" y="7674"/>
                </a:lnTo>
                <a:lnTo>
                  <a:pt x="28364" y="7660"/>
                </a:lnTo>
                <a:lnTo>
                  <a:pt x="30468" y="5555"/>
                </a:lnTo>
                <a:lnTo>
                  <a:pt x="30468" y="5555"/>
                </a:lnTo>
                <a:lnTo>
                  <a:pt x="30481" y="5542"/>
                </a:lnTo>
                <a:lnTo>
                  <a:pt x="30494" y="5528"/>
                </a:lnTo>
                <a:lnTo>
                  <a:pt x="30504" y="5513"/>
                </a:lnTo>
                <a:lnTo>
                  <a:pt x="30515" y="5499"/>
                </a:lnTo>
                <a:lnTo>
                  <a:pt x="30524" y="5484"/>
                </a:lnTo>
                <a:lnTo>
                  <a:pt x="30534" y="5467"/>
                </a:lnTo>
                <a:lnTo>
                  <a:pt x="30541" y="5452"/>
                </a:lnTo>
                <a:lnTo>
                  <a:pt x="30548" y="5436"/>
                </a:lnTo>
                <a:lnTo>
                  <a:pt x="30555" y="5419"/>
                </a:lnTo>
                <a:lnTo>
                  <a:pt x="30559" y="5403"/>
                </a:lnTo>
                <a:lnTo>
                  <a:pt x="30564" y="5385"/>
                </a:lnTo>
                <a:lnTo>
                  <a:pt x="30568" y="5369"/>
                </a:lnTo>
                <a:lnTo>
                  <a:pt x="30571" y="5351"/>
                </a:lnTo>
                <a:lnTo>
                  <a:pt x="30572" y="5333"/>
                </a:lnTo>
                <a:lnTo>
                  <a:pt x="30575" y="5317"/>
                </a:lnTo>
                <a:lnTo>
                  <a:pt x="30575" y="5299"/>
                </a:lnTo>
                <a:lnTo>
                  <a:pt x="30575" y="5282"/>
                </a:lnTo>
                <a:lnTo>
                  <a:pt x="30572" y="5264"/>
                </a:lnTo>
                <a:lnTo>
                  <a:pt x="30571" y="5248"/>
                </a:lnTo>
                <a:lnTo>
                  <a:pt x="30568" y="5230"/>
                </a:lnTo>
                <a:lnTo>
                  <a:pt x="30564" y="5212"/>
                </a:lnTo>
                <a:lnTo>
                  <a:pt x="30559" y="5196"/>
                </a:lnTo>
                <a:lnTo>
                  <a:pt x="30555" y="5180"/>
                </a:lnTo>
                <a:lnTo>
                  <a:pt x="30548" y="5163"/>
                </a:lnTo>
                <a:lnTo>
                  <a:pt x="30541" y="5147"/>
                </a:lnTo>
                <a:lnTo>
                  <a:pt x="30534" y="5130"/>
                </a:lnTo>
                <a:lnTo>
                  <a:pt x="30524" y="5115"/>
                </a:lnTo>
                <a:lnTo>
                  <a:pt x="30515" y="5100"/>
                </a:lnTo>
                <a:lnTo>
                  <a:pt x="30504" y="5085"/>
                </a:lnTo>
                <a:lnTo>
                  <a:pt x="30494" y="5070"/>
                </a:lnTo>
                <a:lnTo>
                  <a:pt x="30481" y="5056"/>
                </a:lnTo>
                <a:lnTo>
                  <a:pt x="30468" y="5043"/>
                </a:lnTo>
                <a:lnTo>
                  <a:pt x="30468" y="5043"/>
                </a:lnTo>
                <a:lnTo>
                  <a:pt x="30468" y="5043"/>
                </a:lnTo>
                <a:lnTo>
                  <a:pt x="30455" y="5031"/>
                </a:lnTo>
                <a:lnTo>
                  <a:pt x="30441" y="5018"/>
                </a:lnTo>
                <a:lnTo>
                  <a:pt x="30427" y="5007"/>
                </a:lnTo>
                <a:lnTo>
                  <a:pt x="30411" y="4997"/>
                </a:lnTo>
                <a:lnTo>
                  <a:pt x="30396" y="4987"/>
                </a:lnTo>
                <a:lnTo>
                  <a:pt x="30381" y="4978"/>
                </a:lnTo>
                <a:lnTo>
                  <a:pt x="30364" y="4971"/>
                </a:lnTo>
                <a:lnTo>
                  <a:pt x="30348" y="4964"/>
                </a:lnTo>
                <a:lnTo>
                  <a:pt x="30332" y="4957"/>
                </a:lnTo>
                <a:lnTo>
                  <a:pt x="30315" y="4952"/>
                </a:lnTo>
                <a:lnTo>
                  <a:pt x="30299" y="4947"/>
                </a:lnTo>
                <a:lnTo>
                  <a:pt x="30281" y="4944"/>
                </a:lnTo>
                <a:lnTo>
                  <a:pt x="30265" y="4940"/>
                </a:lnTo>
                <a:lnTo>
                  <a:pt x="30247" y="4939"/>
                </a:lnTo>
                <a:lnTo>
                  <a:pt x="30229" y="4937"/>
                </a:lnTo>
                <a:lnTo>
                  <a:pt x="30212" y="4937"/>
                </a:lnTo>
                <a:lnTo>
                  <a:pt x="30194" y="4937"/>
                </a:lnTo>
                <a:lnTo>
                  <a:pt x="30178" y="4939"/>
                </a:lnTo>
                <a:lnTo>
                  <a:pt x="30160" y="4940"/>
                </a:lnTo>
                <a:lnTo>
                  <a:pt x="30143" y="4944"/>
                </a:lnTo>
                <a:lnTo>
                  <a:pt x="30126" y="4947"/>
                </a:lnTo>
                <a:lnTo>
                  <a:pt x="30109" y="4952"/>
                </a:lnTo>
                <a:lnTo>
                  <a:pt x="30092" y="4957"/>
                </a:lnTo>
                <a:lnTo>
                  <a:pt x="30076" y="4964"/>
                </a:lnTo>
                <a:lnTo>
                  <a:pt x="30059" y="4971"/>
                </a:lnTo>
                <a:lnTo>
                  <a:pt x="30044" y="4978"/>
                </a:lnTo>
                <a:lnTo>
                  <a:pt x="30028" y="4987"/>
                </a:lnTo>
                <a:lnTo>
                  <a:pt x="30012" y="4997"/>
                </a:lnTo>
                <a:lnTo>
                  <a:pt x="29998" y="5007"/>
                </a:lnTo>
                <a:lnTo>
                  <a:pt x="29983" y="5018"/>
                </a:lnTo>
                <a:lnTo>
                  <a:pt x="29969" y="5031"/>
                </a:lnTo>
                <a:lnTo>
                  <a:pt x="29956" y="5043"/>
                </a:lnTo>
                <a:lnTo>
                  <a:pt x="29624" y="5374"/>
                </a:lnTo>
                <a:lnTo>
                  <a:pt x="29624" y="5374"/>
                </a:lnTo>
                <a:lnTo>
                  <a:pt x="29610" y="5387"/>
                </a:lnTo>
                <a:lnTo>
                  <a:pt x="29596" y="5400"/>
                </a:lnTo>
                <a:lnTo>
                  <a:pt x="29581" y="5411"/>
                </a:lnTo>
                <a:lnTo>
                  <a:pt x="29566" y="5421"/>
                </a:lnTo>
                <a:lnTo>
                  <a:pt x="29551" y="5431"/>
                </a:lnTo>
                <a:lnTo>
                  <a:pt x="29536" y="5440"/>
                </a:lnTo>
                <a:lnTo>
                  <a:pt x="29520" y="5447"/>
                </a:lnTo>
                <a:lnTo>
                  <a:pt x="29504" y="5454"/>
                </a:lnTo>
                <a:lnTo>
                  <a:pt x="29488" y="5461"/>
                </a:lnTo>
                <a:lnTo>
                  <a:pt x="29471" y="5466"/>
                </a:lnTo>
                <a:lnTo>
                  <a:pt x="29454" y="5471"/>
                </a:lnTo>
                <a:lnTo>
                  <a:pt x="29437" y="5474"/>
                </a:lnTo>
                <a:lnTo>
                  <a:pt x="29419" y="5478"/>
                </a:lnTo>
                <a:lnTo>
                  <a:pt x="29402" y="5480"/>
                </a:lnTo>
                <a:lnTo>
                  <a:pt x="29384" y="5481"/>
                </a:lnTo>
                <a:lnTo>
                  <a:pt x="29368" y="5481"/>
                </a:lnTo>
                <a:lnTo>
                  <a:pt x="29350" y="5481"/>
                </a:lnTo>
                <a:lnTo>
                  <a:pt x="29333" y="5480"/>
                </a:lnTo>
                <a:lnTo>
                  <a:pt x="29315" y="5478"/>
                </a:lnTo>
                <a:lnTo>
                  <a:pt x="29299" y="5474"/>
                </a:lnTo>
                <a:lnTo>
                  <a:pt x="29281" y="5471"/>
                </a:lnTo>
                <a:lnTo>
                  <a:pt x="29265" y="5466"/>
                </a:lnTo>
                <a:lnTo>
                  <a:pt x="29247" y="5461"/>
                </a:lnTo>
                <a:lnTo>
                  <a:pt x="29230" y="5454"/>
                </a:lnTo>
                <a:lnTo>
                  <a:pt x="29215" y="5447"/>
                </a:lnTo>
                <a:lnTo>
                  <a:pt x="29199" y="5440"/>
                </a:lnTo>
                <a:lnTo>
                  <a:pt x="29184" y="5431"/>
                </a:lnTo>
                <a:lnTo>
                  <a:pt x="29168" y="5421"/>
                </a:lnTo>
                <a:lnTo>
                  <a:pt x="29153" y="5411"/>
                </a:lnTo>
                <a:lnTo>
                  <a:pt x="29139" y="5400"/>
                </a:lnTo>
                <a:lnTo>
                  <a:pt x="29125" y="5387"/>
                </a:lnTo>
                <a:lnTo>
                  <a:pt x="29111" y="5374"/>
                </a:lnTo>
                <a:lnTo>
                  <a:pt x="29111" y="5374"/>
                </a:lnTo>
                <a:lnTo>
                  <a:pt x="29098" y="5362"/>
                </a:lnTo>
                <a:lnTo>
                  <a:pt x="29086" y="5347"/>
                </a:lnTo>
                <a:lnTo>
                  <a:pt x="29076" y="5333"/>
                </a:lnTo>
                <a:lnTo>
                  <a:pt x="29065" y="5318"/>
                </a:lnTo>
                <a:lnTo>
                  <a:pt x="29056" y="5303"/>
                </a:lnTo>
                <a:lnTo>
                  <a:pt x="29046" y="5288"/>
                </a:lnTo>
                <a:lnTo>
                  <a:pt x="29038" y="5271"/>
                </a:lnTo>
                <a:lnTo>
                  <a:pt x="29031" y="5255"/>
                </a:lnTo>
                <a:lnTo>
                  <a:pt x="29025" y="5238"/>
                </a:lnTo>
                <a:lnTo>
                  <a:pt x="29020" y="5222"/>
                </a:lnTo>
                <a:lnTo>
                  <a:pt x="29016" y="5205"/>
                </a:lnTo>
                <a:lnTo>
                  <a:pt x="29012" y="5188"/>
                </a:lnTo>
                <a:lnTo>
                  <a:pt x="29009" y="5171"/>
                </a:lnTo>
                <a:lnTo>
                  <a:pt x="29006" y="5154"/>
                </a:lnTo>
                <a:lnTo>
                  <a:pt x="29005" y="5136"/>
                </a:lnTo>
                <a:lnTo>
                  <a:pt x="29005" y="5119"/>
                </a:lnTo>
                <a:lnTo>
                  <a:pt x="29005" y="5101"/>
                </a:lnTo>
                <a:lnTo>
                  <a:pt x="29006" y="5085"/>
                </a:lnTo>
                <a:lnTo>
                  <a:pt x="29009" y="5067"/>
                </a:lnTo>
                <a:lnTo>
                  <a:pt x="29012" y="5049"/>
                </a:lnTo>
                <a:lnTo>
                  <a:pt x="29016" y="5033"/>
                </a:lnTo>
                <a:lnTo>
                  <a:pt x="29020" y="5015"/>
                </a:lnTo>
                <a:lnTo>
                  <a:pt x="29025" y="4999"/>
                </a:lnTo>
                <a:lnTo>
                  <a:pt x="29031" y="4982"/>
                </a:lnTo>
                <a:lnTo>
                  <a:pt x="29039" y="4966"/>
                </a:lnTo>
                <a:lnTo>
                  <a:pt x="29046" y="4951"/>
                </a:lnTo>
                <a:lnTo>
                  <a:pt x="29056" y="4934"/>
                </a:lnTo>
                <a:lnTo>
                  <a:pt x="29065" y="4919"/>
                </a:lnTo>
                <a:lnTo>
                  <a:pt x="29076" y="4905"/>
                </a:lnTo>
                <a:lnTo>
                  <a:pt x="29086" y="4890"/>
                </a:lnTo>
                <a:lnTo>
                  <a:pt x="29098" y="4876"/>
                </a:lnTo>
                <a:lnTo>
                  <a:pt x="29111" y="4863"/>
                </a:lnTo>
                <a:lnTo>
                  <a:pt x="33974" y="0"/>
                </a:lnTo>
                <a:lnTo>
                  <a:pt x="0" y="0"/>
                </a:lnTo>
                <a:lnTo>
                  <a:pt x="0" y="18728"/>
                </a:lnTo>
                <a:lnTo>
                  <a:pt x="8964" y="9694"/>
                </a:lnTo>
                <a:lnTo>
                  <a:pt x="8964" y="9694"/>
                </a:lnTo>
                <a:lnTo>
                  <a:pt x="8991" y="9679"/>
                </a:lnTo>
                <a:lnTo>
                  <a:pt x="9019" y="9666"/>
                </a:lnTo>
                <a:lnTo>
                  <a:pt x="9047" y="9654"/>
                </a:lnTo>
                <a:lnTo>
                  <a:pt x="9077" y="9646"/>
                </a:lnTo>
                <a:lnTo>
                  <a:pt x="9106" y="9640"/>
                </a:lnTo>
                <a:lnTo>
                  <a:pt x="9137" y="9637"/>
                </a:lnTo>
                <a:lnTo>
                  <a:pt x="9167" y="9636"/>
                </a:lnTo>
                <a:lnTo>
                  <a:pt x="9196" y="9639"/>
                </a:lnTo>
                <a:lnTo>
                  <a:pt x="9227" y="9642"/>
                </a:lnTo>
                <a:lnTo>
                  <a:pt x="9256" y="9649"/>
                </a:lnTo>
                <a:lnTo>
                  <a:pt x="9286" y="9659"/>
                </a:lnTo>
                <a:lnTo>
                  <a:pt x="9314" y="9670"/>
                </a:lnTo>
                <a:lnTo>
                  <a:pt x="9341" y="9684"/>
                </a:lnTo>
                <a:lnTo>
                  <a:pt x="9368" y="9701"/>
                </a:lnTo>
                <a:lnTo>
                  <a:pt x="9392" y="9721"/>
                </a:lnTo>
                <a:lnTo>
                  <a:pt x="9405" y="9731"/>
                </a:lnTo>
                <a:lnTo>
                  <a:pt x="9417" y="9742"/>
                </a:lnTo>
                <a:lnTo>
                  <a:pt x="9417" y="9742"/>
                </a:lnTo>
                <a:lnTo>
                  <a:pt x="9430" y="9756"/>
                </a:lnTo>
                <a:lnTo>
                  <a:pt x="9442" y="9770"/>
                </a:lnTo>
                <a:lnTo>
                  <a:pt x="9452" y="9784"/>
                </a:lnTo>
                <a:lnTo>
                  <a:pt x="9463" y="9799"/>
                </a:lnTo>
                <a:lnTo>
                  <a:pt x="9472" y="9815"/>
                </a:lnTo>
                <a:lnTo>
                  <a:pt x="9482" y="9830"/>
                </a:lnTo>
                <a:lnTo>
                  <a:pt x="9489" y="9846"/>
                </a:lnTo>
                <a:lnTo>
                  <a:pt x="9496" y="9862"/>
                </a:lnTo>
                <a:lnTo>
                  <a:pt x="9503" y="9878"/>
                </a:lnTo>
                <a:lnTo>
                  <a:pt x="9508" y="9896"/>
                </a:lnTo>
                <a:lnTo>
                  <a:pt x="9512" y="9912"/>
                </a:lnTo>
                <a:lnTo>
                  <a:pt x="9516" y="9930"/>
                </a:lnTo>
                <a:lnTo>
                  <a:pt x="9519" y="9946"/>
                </a:lnTo>
                <a:lnTo>
                  <a:pt x="9522" y="9964"/>
                </a:lnTo>
                <a:lnTo>
                  <a:pt x="9523" y="9981"/>
                </a:lnTo>
                <a:lnTo>
                  <a:pt x="9523" y="9999"/>
                </a:lnTo>
                <a:lnTo>
                  <a:pt x="9523" y="10015"/>
                </a:lnTo>
                <a:lnTo>
                  <a:pt x="9522" y="10033"/>
                </a:lnTo>
                <a:lnTo>
                  <a:pt x="9519" y="10051"/>
                </a:lnTo>
                <a:lnTo>
                  <a:pt x="9516" y="10068"/>
                </a:lnTo>
                <a:lnTo>
                  <a:pt x="9512" y="10085"/>
                </a:lnTo>
                <a:lnTo>
                  <a:pt x="9508" y="10101"/>
                </a:lnTo>
                <a:lnTo>
                  <a:pt x="9503" y="10119"/>
                </a:lnTo>
                <a:lnTo>
                  <a:pt x="9496" y="10135"/>
                </a:lnTo>
                <a:lnTo>
                  <a:pt x="9489" y="10152"/>
                </a:lnTo>
                <a:lnTo>
                  <a:pt x="9482" y="10167"/>
                </a:lnTo>
                <a:lnTo>
                  <a:pt x="9472" y="10182"/>
                </a:lnTo>
                <a:lnTo>
                  <a:pt x="9463" y="10197"/>
                </a:lnTo>
                <a:lnTo>
                  <a:pt x="9452" y="10213"/>
                </a:lnTo>
                <a:lnTo>
                  <a:pt x="9442" y="10227"/>
                </a:lnTo>
                <a:lnTo>
                  <a:pt x="9430" y="10241"/>
                </a:lnTo>
                <a:lnTo>
                  <a:pt x="9417" y="10255"/>
                </a:lnTo>
                <a:lnTo>
                  <a:pt x="7552" y="12119"/>
                </a:lnTo>
                <a:lnTo>
                  <a:pt x="7552" y="12119"/>
                </a:lnTo>
                <a:lnTo>
                  <a:pt x="7539" y="12133"/>
                </a:lnTo>
                <a:lnTo>
                  <a:pt x="7527" y="12147"/>
                </a:lnTo>
                <a:lnTo>
                  <a:pt x="7515" y="12161"/>
                </a:lnTo>
                <a:lnTo>
                  <a:pt x="7506" y="12176"/>
                </a:lnTo>
                <a:lnTo>
                  <a:pt x="7495" y="12191"/>
                </a:lnTo>
                <a:lnTo>
                  <a:pt x="7487" y="12207"/>
                </a:lnTo>
                <a:lnTo>
                  <a:pt x="7479" y="12223"/>
                </a:lnTo>
                <a:lnTo>
                  <a:pt x="7472" y="12240"/>
                </a:lnTo>
                <a:lnTo>
                  <a:pt x="7466" y="12256"/>
                </a:lnTo>
                <a:lnTo>
                  <a:pt x="7460" y="12272"/>
                </a:lnTo>
                <a:lnTo>
                  <a:pt x="7457" y="12289"/>
                </a:lnTo>
                <a:lnTo>
                  <a:pt x="7452" y="12306"/>
                </a:lnTo>
                <a:lnTo>
                  <a:pt x="7450" y="12323"/>
                </a:lnTo>
                <a:lnTo>
                  <a:pt x="7447" y="12341"/>
                </a:lnTo>
                <a:lnTo>
                  <a:pt x="7446" y="12358"/>
                </a:lnTo>
                <a:lnTo>
                  <a:pt x="7446" y="12376"/>
                </a:lnTo>
                <a:lnTo>
                  <a:pt x="7446" y="12393"/>
                </a:lnTo>
                <a:lnTo>
                  <a:pt x="7447" y="12410"/>
                </a:lnTo>
                <a:lnTo>
                  <a:pt x="7450" y="12427"/>
                </a:lnTo>
                <a:lnTo>
                  <a:pt x="7452" y="12445"/>
                </a:lnTo>
                <a:lnTo>
                  <a:pt x="7457" y="12461"/>
                </a:lnTo>
                <a:lnTo>
                  <a:pt x="7460" y="12479"/>
                </a:lnTo>
                <a:lnTo>
                  <a:pt x="7466" y="12495"/>
                </a:lnTo>
                <a:lnTo>
                  <a:pt x="7472" y="12512"/>
                </a:lnTo>
                <a:lnTo>
                  <a:pt x="7479" y="12528"/>
                </a:lnTo>
                <a:lnTo>
                  <a:pt x="7487" y="12544"/>
                </a:lnTo>
                <a:lnTo>
                  <a:pt x="7495" y="12560"/>
                </a:lnTo>
                <a:lnTo>
                  <a:pt x="7506" y="12575"/>
                </a:lnTo>
                <a:lnTo>
                  <a:pt x="7515" y="12589"/>
                </a:lnTo>
                <a:lnTo>
                  <a:pt x="7527" y="12605"/>
                </a:lnTo>
                <a:lnTo>
                  <a:pt x="7539" y="12618"/>
                </a:lnTo>
                <a:lnTo>
                  <a:pt x="7552" y="12632"/>
                </a:lnTo>
                <a:lnTo>
                  <a:pt x="7552" y="12632"/>
                </a:lnTo>
                <a:lnTo>
                  <a:pt x="7566" y="12645"/>
                </a:lnTo>
                <a:lnTo>
                  <a:pt x="7580" y="12656"/>
                </a:lnTo>
                <a:lnTo>
                  <a:pt x="7594" y="12668"/>
                </a:lnTo>
                <a:lnTo>
                  <a:pt x="7609" y="12679"/>
                </a:lnTo>
                <a:lnTo>
                  <a:pt x="7625" y="12688"/>
                </a:lnTo>
                <a:lnTo>
                  <a:pt x="7640" y="12696"/>
                </a:lnTo>
                <a:lnTo>
                  <a:pt x="7655" y="12704"/>
                </a:lnTo>
                <a:lnTo>
                  <a:pt x="7672" y="12711"/>
                </a:lnTo>
                <a:lnTo>
                  <a:pt x="7688" y="12717"/>
                </a:lnTo>
                <a:lnTo>
                  <a:pt x="7706" y="12723"/>
                </a:lnTo>
                <a:lnTo>
                  <a:pt x="7722" y="12728"/>
                </a:lnTo>
                <a:lnTo>
                  <a:pt x="7738" y="12731"/>
                </a:lnTo>
                <a:lnTo>
                  <a:pt x="7756" y="12734"/>
                </a:lnTo>
                <a:lnTo>
                  <a:pt x="7774" y="12736"/>
                </a:lnTo>
                <a:lnTo>
                  <a:pt x="7791" y="12737"/>
                </a:lnTo>
                <a:lnTo>
                  <a:pt x="7808" y="12737"/>
                </a:lnTo>
                <a:lnTo>
                  <a:pt x="7825" y="12737"/>
                </a:lnTo>
                <a:lnTo>
                  <a:pt x="7843" y="12736"/>
                </a:lnTo>
                <a:lnTo>
                  <a:pt x="7861" y="12734"/>
                </a:lnTo>
                <a:lnTo>
                  <a:pt x="7877" y="12731"/>
                </a:lnTo>
                <a:lnTo>
                  <a:pt x="7895" y="12728"/>
                </a:lnTo>
                <a:lnTo>
                  <a:pt x="7911" y="12723"/>
                </a:lnTo>
                <a:lnTo>
                  <a:pt x="7929" y="12717"/>
                </a:lnTo>
                <a:lnTo>
                  <a:pt x="7945" y="12711"/>
                </a:lnTo>
                <a:lnTo>
                  <a:pt x="7960" y="12704"/>
                </a:lnTo>
                <a:lnTo>
                  <a:pt x="7977" y="12696"/>
                </a:lnTo>
                <a:lnTo>
                  <a:pt x="7992" y="12688"/>
                </a:lnTo>
                <a:lnTo>
                  <a:pt x="8007" y="12679"/>
                </a:lnTo>
                <a:lnTo>
                  <a:pt x="8023" y="12668"/>
                </a:lnTo>
                <a:lnTo>
                  <a:pt x="8037" y="12656"/>
                </a:lnTo>
                <a:lnTo>
                  <a:pt x="8051" y="12645"/>
                </a:lnTo>
                <a:lnTo>
                  <a:pt x="8065" y="12632"/>
                </a:lnTo>
                <a:lnTo>
                  <a:pt x="11720" y="8977"/>
                </a:lnTo>
                <a:lnTo>
                  <a:pt x="11720" y="8977"/>
                </a:lnTo>
                <a:lnTo>
                  <a:pt x="11733" y="8964"/>
                </a:lnTo>
                <a:lnTo>
                  <a:pt x="11747" y="8952"/>
                </a:lnTo>
                <a:lnTo>
                  <a:pt x="11761" y="8940"/>
                </a:lnTo>
                <a:lnTo>
                  <a:pt x="11777" y="8931"/>
                </a:lnTo>
                <a:lnTo>
                  <a:pt x="11792" y="8920"/>
                </a:lnTo>
                <a:lnTo>
                  <a:pt x="11807" y="8912"/>
                </a:lnTo>
                <a:lnTo>
                  <a:pt x="11824" y="8904"/>
                </a:lnTo>
                <a:lnTo>
                  <a:pt x="11840" y="8897"/>
                </a:lnTo>
                <a:lnTo>
                  <a:pt x="11857" y="8891"/>
                </a:lnTo>
                <a:lnTo>
                  <a:pt x="11873" y="8885"/>
                </a:lnTo>
                <a:lnTo>
                  <a:pt x="11889" y="8882"/>
                </a:lnTo>
                <a:lnTo>
                  <a:pt x="11907" y="8877"/>
                </a:lnTo>
                <a:lnTo>
                  <a:pt x="11925" y="8875"/>
                </a:lnTo>
                <a:lnTo>
                  <a:pt x="11941" y="8872"/>
                </a:lnTo>
                <a:lnTo>
                  <a:pt x="11959" y="8871"/>
                </a:lnTo>
                <a:lnTo>
                  <a:pt x="11976" y="8871"/>
                </a:lnTo>
                <a:lnTo>
                  <a:pt x="11994" y="8871"/>
                </a:lnTo>
                <a:lnTo>
                  <a:pt x="12011" y="8872"/>
                </a:lnTo>
                <a:lnTo>
                  <a:pt x="12028" y="8875"/>
                </a:lnTo>
                <a:lnTo>
                  <a:pt x="12046" y="8877"/>
                </a:lnTo>
                <a:lnTo>
                  <a:pt x="12062" y="8882"/>
                </a:lnTo>
                <a:lnTo>
                  <a:pt x="12080" y="8885"/>
                </a:lnTo>
                <a:lnTo>
                  <a:pt x="12096" y="8891"/>
                </a:lnTo>
                <a:lnTo>
                  <a:pt x="12112" y="8897"/>
                </a:lnTo>
                <a:lnTo>
                  <a:pt x="12129" y="8904"/>
                </a:lnTo>
                <a:lnTo>
                  <a:pt x="12145" y="8912"/>
                </a:lnTo>
                <a:lnTo>
                  <a:pt x="12161" y="8920"/>
                </a:lnTo>
                <a:lnTo>
                  <a:pt x="12176" y="8931"/>
                </a:lnTo>
                <a:lnTo>
                  <a:pt x="12190" y="8940"/>
                </a:lnTo>
                <a:lnTo>
                  <a:pt x="12205" y="8952"/>
                </a:lnTo>
                <a:lnTo>
                  <a:pt x="12219" y="8964"/>
                </a:lnTo>
                <a:lnTo>
                  <a:pt x="12232" y="8977"/>
                </a:lnTo>
                <a:lnTo>
                  <a:pt x="12232" y="8977"/>
                </a:lnTo>
                <a:lnTo>
                  <a:pt x="12245" y="8991"/>
                </a:lnTo>
                <a:lnTo>
                  <a:pt x="12257" y="9005"/>
                </a:lnTo>
                <a:lnTo>
                  <a:pt x="12269" y="9019"/>
                </a:lnTo>
                <a:lnTo>
                  <a:pt x="12279" y="9034"/>
                </a:lnTo>
                <a:lnTo>
                  <a:pt x="12289" y="9049"/>
                </a:lnTo>
                <a:lnTo>
                  <a:pt x="12297" y="9065"/>
                </a:lnTo>
                <a:lnTo>
                  <a:pt x="12305" y="9080"/>
                </a:lnTo>
                <a:lnTo>
                  <a:pt x="12312" y="9096"/>
                </a:lnTo>
                <a:lnTo>
                  <a:pt x="12318" y="9113"/>
                </a:lnTo>
                <a:lnTo>
                  <a:pt x="12324" y="9130"/>
                </a:lnTo>
                <a:lnTo>
                  <a:pt x="12328" y="9147"/>
                </a:lnTo>
                <a:lnTo>
                  <a:pt x="12332" y="9163"/>
                </a:lnTo>
                <a:lnTo>
                  <a:pt x="12334" y="9181"/>
                </a:lnTo>
                <a:lnTo>
                  <a:pt x="12337" y="9198"/>
                </a:lnTo>
                <a:lnTo>
                  <a:pt x="12338" y="9216"/>
                </a:lnTo>
                <a:lnTo>
                  <a:pt x="12339" y="9232"/>
                </a:lnTo>
                <a:lnTo>
                  <a:pt x="12338" y="9250"/>
                </a:lnTo>
                <a:lnTo>
                  <a:pt x="12337" y="9268"/>
                </a:lnTo>
                <a:lnTo>
                  <a:pt x="12334" y="9285"/>
                </a:lnTo>
                <a:lnTo>
                  <a:pt x="12332" y="9302"/>
                </a:lnTo>
                <a:lnTo>
                  <a:pt x="12328" y="9319"/>
                </a:lnTo>
                <a:lnTo>
                  <a:pt x="12324" y="9336"/>
                </a:lnTo>
                <a:lnTo>
                  <a:pt x="12318" y="9353"/>
                </a:lnTo>
                <a:lnTo>
                  <a:pt x="12312" y="9370"/>
                </a:lnTo>
                <a:lnTo>
                  <a:pt x="12305" y="9385"/>
                </a:lnTo>
                <a:lnTo>
                  <a:pt x="12297" y="9402"/>
                </a:lnTo>
                <a:lnTo>
                  <a:pt x="12289" y="9417"/>
                </a:lnTo>
                <a:lnTo>
                  <a:pt x="12279" y="9432"/>
                </a:lnTo>
                <a:lnTo>
                  <a:pt x="12269" y="9447"/>
                </a:lnTo>
                <a:lnTo>
                  <a:pt x="12257" y="9461"/>
                </a:lnTo>
                <a:lnTo>
                  <a:pt x="12245" y="9475"/>
                </a:lnTo>
                <a:lnTo>
                  <a:pt x="12232" y="9490"/>
                </a:lnTo>
                <a:lnTo>
                  <a:pt x="8285" y="13436"/>
                </a:lnTo>
                <a:lnTo>
                  <a:pt x="8285" y="13436"/>
                </a:lnTo>
                <a:lnTo>
                  <a:pt x="8273" y="13450"/>
                </a:lnTo>
                <a:lnTo>
                  <a:pt x="8261" y="13464"/>
                </a:lnTo>
                <a:lnTo>
                  <a:pt x="8249" y="13478"/>
                </a:lnTo>
                <a:lnTo>
                  <a:pt x="8239" y="13493"/>
                </a:lnTo>
                <a:lnTo>
                  <a:pt x="8229" y="13508"/>
                </a:lnTo>
                <a:lnTo>
                  <a:pt x="8221" y="13524"/>
                </a:lnTo>
                <a:lnTo>
                  <a:pt x="8213" y="13540"/>
                </a:lnTo>
                <a:lnTo>
                  <a:pt x="8206" y="13555"/>
                </a:lnTo>
                <a:lnTo>
                  <a:pt x="8200" y="13572"/>
                </a:lnTo>
                <a:lnTo>
                  <a:pt x="8194" y="13589"/>
                </a:lnTo>
                <a:lnTo>
                  <a:pt x="8189" y="13606"/>
                </a:lnTo>
                <a:lnTo>
                  <a:pt x="8186" y="13623"/>
                </a:lnTo>
                <a:lnTo>
                  <a:pt x="8182" y="13640"/>
                </a:lnTo>
                <a:lnTo>
                  <a:pt x="8181" y="13657"/>
                </a:lnTo>
                <a:lnTo>
                  <a:pt x="8180" y="13675"/>
                </a:lnTo>
                <a:lnTo>
                  <a:pt x="8179" y="13693"/>
                </a:lnTo>
                <a:lnTo>
                  <a:pt x="8180" y="13709"/>
                </a:lnTo>
                <a:lnTo>
                  <a:pt x="8181" y="13727"/>
                </a:lnTo>
                <a:lnTo>
                  <a:pt x="8182" y="13744"/>
                </a:lnTo>
                <a:lnTo>
                  <a:pt x="8186" y="13762"/>
                </a:lnTo>
                <a:lnTo>
                  <a:pt x="8189" y="13778"/>
                </a:lnTo>
                <a:lnTo>
                  <a:pt x="8194" y="13795"/>
                </a:lnTo>
                <a:lnTo>
                  <a:pt x="8200" y="13812"/>
                </a:lnTo>
                <a:lnTo>
                  <a:pt x="8206" y="13829"/>
                </a:lnTo>
                <a:lnTo>
                  <a:pt x="8213" y="13845"/>
                </a:lnTo>
                <a:lnTo>
                  <a:pt x="8221" y="13860"/>
                </a:lnTo>
                <a:lnTo>
                  <a:pt x="8229" y="13876"/>
                </a:lnTo>
                <a:lnTo>
                  <a:pt x="8239" y="13891"/>
                </a:lnTo>
                <a:lnTo>
                  <a:pt x="8249" y="13906"/>
                </a:lnTo>
                <a:lnTo>
                  <a:pt x="8261" y="13920"/>
                </a:lnTo>
                <a:lnTo>
                  <a:pt x="8273" y="13934"/>
                </a:lnTo>
                <a:lnTo>
                  <a:pt x="8285" y="13949"/>
                </a:lnTo>
                <a:lnTo>
                  <a:pt x="8285" y="13949"/>
                </a:lnTo>
                <a:lnTo>
                  <a:pt x="8298" y="13961"/>
                </a:lnTo>
                <a:lnTo>
                  <a:pt x="8312" y="13973"/>
                </a:lnTo>
                <a:lnTo>
                  <a:pt x="8327" y="13985"/>
                </a:lnTo>
                <a:lnTo>
                  <a:pt x="8342" y="13994"/>
                </a:lnTo>
                <a:lnTo>
                  <a:pt x="8357" y="14005"/>
                </a:lnTo>
                <a:lnTo>
                  <a:pt x="8372" y="14013"/>
                </a:lnTo>
                <a:lnTo>
                  <a:pt x="8389" y="14021"/>
                </a:lnTo>
                <a:lnTo>
                  <a:pt x="8405" y="14028"/>
                </a:lnTo>
                <a:lnTo>
                  <a:pt x="8422" y="14034"/>
                </a:lnTo>
                <a:lnTo>
                  <a:pt x="8438" y="14040"/>
                </a:lnTo>
                <a:lnTo>
                  <a:pt x="8456" y="14044"/>
                </a:lnTo>
                <a:lnTo>
                  <a:pt x="8472" y="14048"/>
                </a:lnTo>
                <a:lnTo>
                  <a:pt x="8490" y="14051"/>
                </a:lnTo>
                <a:lnTo>
                  <a:pt x="8506" y="14053"/>
                </a:lnTo>
                <a:lnTo>
                  <a:pt x="8524" y="14054"/>
                </a:lnTo>
                <a:lnTo>
                  <a:pt x="8541" y="14054"/>
                </a:lnTo>
                <a:lnTo>
                  <a:pt x="8559" y="14054"/>
                </a:lnTo>
                <a:lnTo>
                  <a:pt x="8577" y="14053"/>
                </a:lnTo>
                <a:lnTo>
                  <a:pt x="8593" y="14051"/>
                </a:lnTo>
                <a:lnTo>
                  <a:pt x="8611" y="14048"/>
                </a:lnTo>
                <a:lnTo>
                  <a:pt x="8628" y="14044"/>
                </a:lnTo>
                <a:lnTo>
                  <a:pt x="8645" y="14040"/>
                </a:lnTo>
                <a:lnTo>
                  <a:pt x="8661" y="14034"/>
                </a:lnTo>
                <a:lnTo>
                  <a:pt x="8678" y="14028"/>
                </a:lnTo>
                <a:lnTo>
                  <a:pt x="8694" y="14021"/>
                </a:lnTo>
                <a:lnTo>
                  <a:pt x="8710" y="14013"/>
                </a:lnTo>
                <a:lnTo>
                  <a:pt x="8726" y="14005"/>
                </a:lnTo>
                <a:lnTo>
                  <a:pt x="8741" y="13994"/>
                </a:lnTo>
                <a:lnTo>
                  <a:pt x="8756" y="13985"/>
                </a:lnTo>
                <a:lnTo>
                  <a:pt x="8770" y="13973"/>
                </a:lnTo>
                <a:lnTo>
                  <a:pt x="8784" y="13961"/>
                </a:lnTo>
                <a:lnTo>
                  <a:pt x="8797" y="13949"/>
                </a:lnTo>
                <a:lnTo>
                  <a:pt x="10579" y="12167"/>
                </a:lnTo>
                <a:lnTo>
                  <a:pt x="10579" y="12167"/>
                </a:lnTo>
                <a:lnTo>
                  <a:pt x="10592" y="12154"/>
                </a:lnTo>
                <a:lnTo>
                  <a:pt x="10606" y="12142"/>
                </a:lnTo>
                <a:lnTo>
                  <a:pt x="10622" y="12132"/>
                </a:lnTo>
                <a:lnTo>
                  <a:pt x="10636" y="12121"/>
                </a:lnTo>
                <a:lnTo>
                  <a:pt x="10651" y="12112"/>
                </a:lnTo>
                <a:lnTo>
                  <a:pt x="10667" y="12102"/>
                </a:lnTo>
                <a:lnTo>
                  <a:pt x="10683" y="12094"/>
                </a:lnTo>
                <a:lnTo>
                  <a:pt x="10699" y="12087"/>
                </a:lnTo>
                <a:lnTo>
                  <a:pt x="10715" y="12081"/>
                </a:lnTo>
                <a:lnTo>
                  <a:pt x="10732" y="12076"/>
                </a:lnTo>
                <a:lnTo>
                  <a:pt x="10750" y="12072"/>
                </a:lnTo>
                <a:lnTo>
                  <a:pt x="10766" y="12067"/>
                </a:lnTo>
                <a:lnTo>
                  <a:pt x="10784" y="12065"/>
                </a:lnTo>
                <a:lnTo>
                  <a:pt x="10801" y="12062"/>
                </a:lnTo>
                <a:lnTo>
                  <a:pt x="10818" y="12061"/>
                </a:lnTo>
                <a:lnTo>
                  <a:pt x="10835" y="12061"/>
                </a:lnTo>
                <a:lnTo>
                  <a:pt x="10853" y="12061"/>
                </a:lnTo>
                <a:lnTo>
                  <a:pt x="10870" y="12062"/>
                </a:lnTo>
                <a:lnTo>
                  <a:pt x="10888" y="12065"/>
                </a:lnTo>
                <a:lnTo>
                  <a:pt x="10904" y="12067"/>
                </a:lnTo>
                <a:lnTo>
                  <a:pt x="10922" y="12072"/>
                </a:lnTo>
                <a:lnTo>
                  <a:pt x="10939" y="12076"/>
                </a:lnTo>
                <a:lnTo>
                  <a:pt x="10955" y="12081"/>
                </a:lnTo>
                <a:lnTo>
                  <a:pt x="10971" y="12087"/>
                </a:lnTo>
                <a:lnTo>
                  <a:pt x="10988" y="12094"/>
                </a:lnTo>
                <a:lnTo>
                  <a:pt x="11004" y="12102"/>
                </a:lnTo>
                <a:lnTo>
                  <a:pt x="11020" y="12112"/>
                </a:lnTo>
                <a:lnTo>
                  <a:pt x="11035" y="12121"/>
                </a:lnTo>
                <a:lnTo>
                  <a:pt x="11050" y="12132"/>
                </a:lnTo>
                <a:lnTo>
                  <a:pt x="11064" y="12142"/>
                </a:lnTo>
                <a:lnTo>
                  <a:pt x="11078" y="12154"/>
                </a:lnTo>
                <a:lnTo>
                  <a:pt x="11092" y="12167"/>
                </a:lnTo>
                <a:lnTo>
                  <a:pt x="11092" y="12167"/>
                </a:lnTo>
                <a:lnTo>
                  <a:pt x="11104" y="12181"/>
                </a:lnTo>
                <a:lnTo>
                  <a:pt x="11117" y="12195"/>
                </a:lnTo>
                <a:lnTo>
                  <a:pt x="11128" y="12209"/>
                </a:lnTo>
                <a:lnTo>
                  <a:pt x="11138" y="12224"/>
                </a:lnTo>
                <a:lnTo>
                  <a:pt x="11147" y="12240"/>
                </a:lnTo>
                <a:lnTo>
                  <a:pt x="11157" y="12255"/>
                </a:lnTo>
                <a:lnTo>
                  <a:pt x="11164" y="12271"/>
                </a:lnTo>
                <a:lnTo>
                  <a:pt x="11171" y="12287"/>
                </a:lnTo>
                <a:lnTo>
                  <a:pt x="11178" y="12303"/>
                </a:lnTo>
                <a:lnTo>
                  <a:pt x="11183" y="12321"/>
                </a:lnTo>
                <a:lnTo>
                  <a:pt x="11187" y="12337"/>
                </a:lnTo>
                <a:lnTo>
                  <a:pt x="11191" y="12355"/>
                </a:lnTo>
                <a:lnTo>
                  <a:pt x="11194" y="12371"/>
                </a:lnTo>
                <a:lnTo>
                  <a:pt x="11197" y="12389"/>
                </a:lnTo>
                <a:lnTo>
                  <a:pt x="11198" y="12406"/>
                </a:lnTo>
                <a:lnTo>
                  <a:pt x="11198" y="12424"/>
                </a:lnTo>
                <a:lnTo>
                  <a:pt x="11198" y="12440"/>
                </a:lnTo>
                <a:lnTo>
                  <a:pt x="11197" y="12458"/>
                </a:lnTo>
                <a:lnTo>
                  <a:pt x="11194" y="12475"/>
                </a:lnTo>
                <a:lnTo>
                  <a:pt x="11191" y="12493"/>
                </a:lnTo>
                <a:lnTo>
                  <a:pt x="11187" y="12510"/>
                </a:lnTo>
                <a:lnTo>
                  <a:pt x="11183" y="12526"/>
                </a:lnTo>
                <a:lnTo>
                  <a:pt x="11178" y="12544"/>
                </a:lnTo>
                <a:lnTo>
                  <a:pt x="11171" y="12560"/>
                </a:lnTo>
                <a:lnTo>
                  <a:pt x="11164" y="12576"/>
                </a:lnTo>
                <a:lnTo>
                  <a:pt x="11157" y="12592"/>
                </a:lnTo>
                <a:lnTo>
                  <a:pt x="11147" y="12607"/>
                </a:lnTo>
                <a:lnTo>
                  <a:pt x="11138" y="12622"/>
                </a:lnTo>
                <a:lnTo>
                  <a:pt x="11128" y="12637"/>
                </a:lnTo>
                <a:lnTo>
                  <a:pt x="11117" y="12652"/>
                </a:lnTo>
                <a:lnTo>
                  <a:pt x="11104" y="12666"/>
                </a:lnTo>
                <a:lnTo>
                  <a:pt x="11092" y="12680"/>
                </a:lnTo>
                <a:lnTo>
                  <a:pt x="10245" y="13527"/>
                </a:lnTo>
                <a:lnTo>
                  <a:pt x="10245" y="13527"/>
                </a:lnTo>
                <a:lnTo>
                  <a:pt x="10232" y="13553"/>
                </a:lnTo>
                <a:lnTo>
                  <a:pt x="10222" y="13579"/>
                </a:lnTo>
                <a:lnTo>
                  <a:pt x="10214" y="13607"/>
                </a:lnTo>
                <a:lnTo>
                  <a:pt x="10210" y="13634"/>
                </a:lnTo>
                <a:lnTo>
                  <a:pt x="10206" y="13662"/>
                </a:lnTo>
                <a:lnTo>
                  <a:pt x="10204" y="13690"/>
                </a:lnTo>
                <a:lnTo>
                  <a:pt x="10205" y="13717"/>
                </a:lnTo>
                <a:lnTo>
                  <a:pt x="10208" y="13745"/>
                </a:lnTo>
                <a:lnTo>
                  <a:pt x="10213" y="13774"/>
                </a:lnTo>
                <a:lnTo>
                  <a:pt x="10220" y="13801"/>
                </a:lnTo>
                <a:lnTo>
                  <a:pt x="10229" y="13826"/>
                </a:lnTo>
                <a:lnTo>
                  <a:pt x="10241" y="13853"/>
                </a:lnTo>
                <a:lnTo>
                  <a:pt x="10255" y="13878"/>
                </a:lnTo>
                <a:lnTo>
                  <a:pt x="10271" y="13903"/>
                </a:lnTo>
                <a:lnTo>
                  <a:pt x="10289" y="13925"/>
                </a:lnTo>
                <a:lnTo>
                  <a:pt x="10309" y="13947"/>
                </a:lnTo>
                <a:lnTo>
                  <a:pt x="10309" y="13947"/>
                </a:lnTo>
                <a:lnTo>
                  <a:pt x="10322" y="13960"/>
                </a:lnTo>
                <a:lnTo>
                  <a:pt x="10336" y="13972"/>
                </a:lnTo>
                <a:lnTo>
                  <a:pt x="10352" y="13984"/>
                </a:lnTo>
                <a:lnTo>
                  <a:pt x="10366" y="13994"/>
                </a:lnTo>
                <a:lnTo>
                  <a:pt x="10381" y="14004"/>
                </a:lnTo>
                <a:lnTo>
                  <a:pt x="10397" y="14012"/>
                </a:lnTo>
                <a:lnTo>
                  <a:pt x="10413" y="14020"/>
                </a:lnTo>
                <a:lnTo>
                  <a:pt x="10429" y="14027"/>
                </a:lnTo>
                <a:lnTo>
                  <a:pt x="10445" y="14033"/>
                </a:lnTo>
                <a:lnTo>
                  <a:pt x="10462" y="14039"/>
                </a:lnTo>
                <a:lnTo>
                  <a:pt x="10480" y="14044"/>
                </a:lnTo>
                <a:lnTo>
                  <a:pt x="10496" y="14047"/>
                </a:lnTo>
                <a:lnTo>
                  <a:pt x="10514" y="14049"/>
                </a:lnTo>
                <a:lnTo>
                  <a:pt x="10531" y="14052"/>
                </a:lnTo>
                <a:lnTo>
                  <a:pt x="10548" y="14053"/>
                </a:lnTo>
                <a:lnTo>
                  <a:pt x="10565" y="14054"/>
                </a:lnTo>
                <a:lnTo>
                  <a:pt x="10583" y="14053"/>
                </a:lnTo>
                <a:lnTo>
                  <a:pt x="10600" y="14052"/>
                </a:lnTo>
                <a:lnTo>
                  <a:pt x="10617" y="14049"/>
                </a:lnTo>
                <a:lnTo>
                  <a:pt x="10634" y="14047"/>
                </a:lnTo>
                <a:lnTo>
                  <a:pt x="10652" y="14044"/>
                </a:lnTo>
                <a:lnTo>
                  <a:pt x="10669" y="14039"/>
                </a:lnTo>
                <a:lnTo>
                  <a:pt x="10685" y="14033"/>
                </a:lnTo>
                <a:lnTo>
                  <a:pt x="10701" y="14027"/>
                </a:lnTo>
                <a:lnTo>
                  <a:pt x="10718" y="14020"/>
                </a:lnTo>
                <a:lnTo>
                  <a:pt x="10734" y="14012"/>
                </a:lnTo>
                <a:lnTo>
                  <a:pt x="10750" y="14004"/>
                </a:lnTo>
                <a:lnTo>
                  <a:pt x="10765" y="13994"/>
                </a:lnTo>
                <a:lnTo>
                  <a:pt x="10780" y="13984"/>
                </a:lnTo>
                <a:lnTo>
                  <a:pt x="10794" y="13972"/>
                </a:lnTo>
                <a:lnTo>
                  <a:pt x="10808" y="13960"/>
                </a:lnTo>
                <a:lnTo>
                  <a:pt x="10821" y="13947"/>
                </a:lnTo>
                <a:lnTo>
                  <a:pt x="11135" y="13635"/>
                </a:lnTo>
                <a:lnTo>
                  <a:pt x="11412" y="13357"/>
                </a:lnTo>
                <a:lnTo>
                  <a:pt x="11412" y="13357"/>
                </a:lnTo>
                <a:lnTo>
                  <a:pt x="11426" y="13344"/>
                </a:lnTo>
                <a:lnTo>
                  <a:pt x="11440" y="13332"/>
                </a:lnTo>
                <a:lnTo>
                  <a:pt x="11454" y="13322"/>
                </a:lnTo>
                <a:lnTo>
                  <a:pt x="11469" y="13311"/>
                </a:lnTo>
                <a:lnTo>
                  <a:pt x="11484" y="13302"/>
                </a:lnTo>
                <a:lnTo>
                  <a:pt x="11500" y="13292"/>
                </a:lnTo>
                <a:lnTo>
                  <a:pt x="11516" y="13284"/>
                </a:lnTo>
                <a:lnTo>
                  <a:pt x="11533" y="13277"/>
                </a:lnTo>
                <a:lnTo>
                  <a:pt x="11549" y="13271"/>
                </a:lnTo>
                <a:lnTo>
                  <a:pt x="11565" y="13267"/>
                </a:lnTo>
                <a:lnTo>
                  <a:pt x="11582" y="13262"/>
                </a:lnTo>
                <a:lnTo>
                  <a:pt x="11599" y="13257"/>
                </a:lnTo>
                <a:lnTo>
                  <a:pt x="11616" y="13255"/>
                </a:lnTo>
                <a:lnTo>
                  <a:pt x="11633" y="13252"/>
                </a:lnTo>
                <a:lnTo>
                  <a:pt x="11651" y="13251"/>
                </a:lnTo>
                <a:lnTo>
                  <a:pt x="11669" y="13251"/>
                </a:lnTo>
                <a:lnTo>
                  <a:pt x="11686" y="13251"/>
                </a:lnTo>
                <a:lnTo>
                  <a:pt x="11703" y="13252"/>
                </a:lnTo>
                <a:lnTo>
                  <a:pt x="11720" y="13255"/>
                </a:lnTo>
                <a:lnTo>
                  <a:pt x="11738" y="13257"/>
                </a:lnTo>
                <a:lnTo>
                  <a:pt x="11754" y="13262"/>
                </a:lnTo>
                <a:lnTo>
                  <a:pt x="11772" y="13267"/>
                </a:lnTo>
                <a:lnTo>
                  <a:pt x="11788" y="13271"/>
                </a:lnTo>
                <a:lnTo>
                  <a:pt x="11805" y="13277"/>
                </a:lnTo>
                <a:lnTo>
                  <a:pt x="11821" y="13284"/>
                </a:lnTo>
                <a:lnTo>
                  <a:pt x="11837" y="13292"/>
                </a:lnTo>
                <a:lnTo>
                  <a:pt x="11853" y="13302"/>
                </a:lnTo>
                <a:lnTo>
                  <a:pt x="11868" y="13311"/>
                </a:lnTo>
                <a:lnTo>
                  <a:pt x="11882" y="13322"/>
                </a:lnTo>
                <a:lnTo>
                  <a:pt x="11898" y="13332"/>
                </a:lnTo>
                <a:lnTo>
                  <a:pt x="11912" y="13344"/>
                </a:lnTo>
                <a:lnTo>
                  <a:pt x="11925" y="13357"/>
                </a:lnTo>
                <a:lnTo>
                  <a:pt x="11925" y="13357"/>
                </a:lnTo>
                <a:lnTo>
                  <a:pt x="11938" y="13371"/>
                </a:lnTo>
                <a:lnTo>
                  <a:pt x="11949" y="13385"/>
                </a:lnTo>
                <a:lnTo>
                  <a:pt x="11961" y="13399"/>
                </a:lnTo>
                <a:lnTo>
                  <a:pt x="11972" y="13414"/>
                </a:lnTo>
                <a:lnTo>
                  <a:pt x="11981" y="13430"/>
                </a:lnTo>
                <a:lnTo>
                  <a:pt x="11989" y="13445"/>
                </a:lnTo>
                <a:lnTo>
                  <a:pt x="11997" y="13461"/>
                </a:lnTo>
                <a:lnTo>
                  <a:pt x="12004" y="13477"/>
                </a:lnTo>
                <a:lnTo>
                  <a:pt x="12010" y="13493"/>
                </a:lnTo>
                <a:lnTo>
                  <a:pt x="12016" y="13511"/>
                </a:lnTo>
                <a:lnTo>
                  <a:pt x="12021" y="13527"/>
                </a:lnTo>
                <a:lnTo>
                  <a:pt x="12024" y="13545"/>
                </a:lnTo>
                <a:lnTo>
                  <a:pt x="12027" y="13561"/>
                </a:lnTo>
                <a:lnTo>
                  <a:pt x="12029" y="13579"/>
                </a:lnTo>
                <a:lnTo>
                  <a:pt x="12030" y="13596"/>
                </a:lnTo>
                <a:lnTo>
                  <a:pt x="12030" y="13614"/>
                </a:lnTo>
                <a:lnTo>
                  <a:pt x="12030" y="13630"/>
                </a:lnTo>
                <a:lnTo>
                  <a:pt x="12029" y="13648"/>
                </a:lnTo>
                <a:lnTo>
                  <a:pt x="12027" y="13666"/>
                </a:lnTo>
                <a:lnTo>
                  <a:pt x="12024" y="13683"/>
                </a:lnTo>
                <a:lnTo>
                  <a:pt x="12021" y="13700"/>
                </a:lnTo>
                <a:lnTo>
                  <a:pt x="12016" y="13716"/>
                </a:lnTo>
                <a:lnTo>
                  <a:pt x="12010" y="13734"/>
                </a:lnTo>
                <a:lnTo>
                  <a:pt x="12004" y="13750"/>
                </a:lnTo>
                <a:lnTo>
                  <a:pt x="11997" y="13767"/>
                </a:lnTo>
                <a:lnTo>
                  <a:pt x="11989" y="13782"/>
                </a:lnTo>
                <a:lnTo>
                  <a:pt x="11981" y="13797"/>
                </a:lnTo>
                <a:lnTo>
                  <a:pt x="11972" y="13812"/>
                </a:lnTo>
                <a:lnTo>
                  <a:pt x="11961" y="13828"/>
                </a:lnTo>
                <a:lnTo>
                  <a:pt x="11949" y="13842"/>
                </a:lnTo>
                <a:lnTo>
                  <a:pt x="11938" y="13856"/>
                </a:lnTo>
                <a:lnTo>
                  <a:pt x="11925" y="13870"/>
                </a:lnTo>
                <a:lnTo>
                  <a:pt x="9820" y="15974"/>
                </a:lnTo>
                <a:lnTo>
                  <a:pt x="9820" y="15974"/>
                </a:lnTo>
                <a:lnTo>
                  <a:pt x="9807" y="15987"/>
                </a:lnTo>
                <a:lnTo>
                  <a:pt x="9795" y="16001"/>
                </a:lnTo>
                <a:lnTo>
                  <a:pt x="9783" y="16017"/>
                </a:lnTo>
                <a:lnTo>
                  <a:pt x="9773" y="16031"/>
                </a:lnTo>
                <a:lnTo>
                  <a:pt x="9763" y="16046"/>
                </a:lnTo>
                <a:lnTo>
                  <a:pt x="9755" y="16062"/>
                </a:lnTo>
                <a:lnTo>
                  <a:pt x="9747" y="16078"/>
                </a:lnTo>
                <a:lnTo>
                  <a:pt x="9740" y="16094"/>
                </a:lnTo>
                <a:lnTo>
                  <a:pt x="9734" y="16111"/>
                </a:lnTo>
                <a:lnTo>
                  <a:pt x="9728" y="16127"/>
                </a:lnTo>
                <a:lnTo>
                  <a:pt x="9724" y="16145"/>
                </a:lnTo>
                <a:lnTo>
                  <a:pt x="9720" y="16161"/>
                </a:lnTo>
                <a:lnTo>
                  <a:pt x="9718" y="16179"/>
                </a:lnTo>
                <a:lnTo>
                  <a:pt x="9715" y="16196"/>
                </a:lnTo>
                <a:lnTo>
                  <a:pt x="9714" y="16213"/>
                </a:lnTo>
                <a:lnTo>
                  <a:pt x="9714" y="16230"/>
                </a:lnTo>
                <a:lnTo>
                  <a:pt x="9714" y="16248"/>
                </a:lnTo>
                <a:lnTo>
                  <a:pt x="9715" y="16265"/>
                </a:lnTo>
                <a:lnTo>
                  <a:pt x="9718" y="16282"/>
                </a:lnTo>
                <a:lnTo>
                  <a:pt x="9720" y="16299"/>
                </a:lnTo>
                <a:lnTo>
                  <a:pt x="9724" y="16317"/>
                </a:lnTo>
                <a:lnTo>
                  <a:pt x="9728" y="16334"/>
                </a:lnTo>
                <a:lnTo>
                  <a:pt x="9734" y="16350"/>
                </a:lnTo>
                <a:lnTo>
                  <a:pt x="9740" y="16366"/>
                </a:lnTo>
                <a:lnTo>
                  <a:pt x="9747" y="16383"/>
                </a:lnTo>
                <a:lnTo>
                  <a:pt x="9755" y="16399"/>
                </a:lnTo>
                <a:lnTo>
                  <a:pt x="9763" y="16414"/>
                </a:lnTo>
                <a:lnTo>
                  <a:pt x="9773" y="16430"/>
                </a:lnTo>
                <a:lnTo>
                  <a:pt x="9783" y="16445"/>
                </a:lnTo>
                <a:lnTo>
                  <a:pt x="9795" y="16459"/>
                </a:lnTo>
                <a:lnTo>
                  <a:pt x="9807" y="16473"/>
                </a:lnTo>
                <a:lnTo>
                  <a:pt x="9820" y="16486"/>
                </a:lnTo>
                <a:lnTo>
                  <a:pt x="9820" y="16486"/>
                </a:lnTo>
                <a:lnTo>
                  <a:pt x="9820" y="16486"/>
                </a:lnTo>
                <a:lnTo>
                  <a:pt x="9834" y="16499"/>
                </a:lnTo>
                <a:lnTo>
                  <a:pt x="9847" y="16512"/>
                </a:lnTo>
                <a:lnTo>
                  <a:pt x="9862" y="16522"/>
                </a:lnTo>
                <a:lnTo>
                  <a:pt x="9876" y="16533"/>
                </a:lnTo>
                <a:lnTo>
                  <a:pt x="9891" y="16542"/>
                </a:lnTo>
                <a:lnTo>
                  <a:pt x="9908" y="16552"/>
                </a:lnTo>
                <a:lnTo>
                  <a:pt x="9923" y="16559"/>
                </a:lnTo>
                <a:lnTo>
                  <a:pt x="9940" y="16566"/>
                </a:lnTo>
                <a:lnTo>
                  <a:pt x="9956" y="16573"/>
                </a:lnTo>
                <a:lnTo>
                  <a:pt x="9972" y="16578"/>
                </a:lnTo>
                <a:lnTo>
                  <a:pt x="9990" y="16582"/>
                </a:lnTo>
                <a:lnTo>
                  <a:pt x="10006" y="16586"/>
                </a:lnTo>
                <a:lnTo>
                  <a:pt x="10024" y="16589"/>
                </a:lnTo>
                <a:lnTo>
                  <a:pt x="10042" y="16591"/>
                </a:lnTo>
                <a:lnTo>
                  <a:pt x="10059" y="16593"/>
                </a:lnTo>
                <a:lnTo>
                  <a:pt x="10076" y="16593"/>
                </a:lnTo>
                <a:lnTo>
                  <a:pt x="10093" y="16593"/>
                </a:lnTo>
                <a:lnTo>
                  <a:pt x="10111" y="16591"/>
                </a:lnTo>
                <a:lnTo>
                  <a:pt x="10129" y="16589"/>
                </a:lnTo>
                <a:lnTo>
                  <a:pt x="10145" y="16586"/>
                </a:lnTo>
                <a:lnTo>
                  <a:pt x="10163" y="16582"/>
                </a:lnTo>
                <a:lnTo>
                  <a:pt x="10179" y="16578"/>
                </a:lnTo>
                <a:lnTo>
                  <a:pt x="10195" y="16573"/>
                </a:lnTo>
                <a:lnTo>
                  <a:pt x="10213" y="16566"/>
                </a:lnTo>
                <a:lnTo>
                  <a:pt x="10228" y="16559"/>
                </a:lnTo>
                <a:lnTo>
                  <a:pt x="10245" y="16552"/>
                </a:lnTo>
                <a:lnTo>
                  <a:pt x="10260" y="16542"/>
                </a:lnTo>
                <a:lnTo>
                  <a:pt x="10275" y="16533"/>
                </a:lnTo>
                <a:lnTo>
                  <a:pt x="10291" y="16522"/>
                </a:lnTo>
                <a:lnTo>
                  <a:pt x="10305" y="16512"/>
                </a:lnTo>
                <a:lnTo>
                  <a:pt x="10319" y="16499"/>
                </a:lnTo>
                <a:lnTo>
                  <a:pt x="10333" y="16486"/>
                </a:lnTo>
                <a:lnTo>
                  <a:pt x="10665" y="16155"/>
                </a:lnTo>
                <a:lnTo>
                  <a:pt x="10665" y="16155"/>
                </a:lnTo>
                <a:lnTo>
                  <a:pt x="10678" y="16142"/>
                </a:lnTo>
                <a:lnTo>
                  <a:pt x="10692" y="16129"/>
                </a:lnTo>
                <a:lnTo>
                  <a:pt x="10706" y="16119"/>
                </a:lnTo>
                <a:lnTo>
                  <a:pt x="10721" y="16108"/>
                </a:lnTo>
                <a:lnTo>
                  <a:pt x="10737" y="16099"/>
                </a:lnTo>
                <a:lnTo>
                  <a:pt x="10752" y="16089"/>
                </a:lnTo>
                <a:lnTo>
                  <a:pt x="10768" y="16082"/>
                </a:lnTo>
                <a:lnTo>
                  <a:pt x="10785" y="16075"/>
                </a:lnTo>
                <a:lnTo>
                  <a:pt x="10801" y="16068"/>
                </a:lnTo>
                <a:lnTo>
                  <a:pt x="10818" y="16064"/>
                </a:lnTo>
                <a:lnTo>
                  <a:pt x="10834" y="16059"/>
                </a:lnTo>
                <a:lnTo>
                  <a:pt x="10852" y="16055"/>
                </a:lnTo>
                <a:lnTo>
                  <a:pt x="10869" y="16052"/>
                </a:lnTo>
                <a:lnTo>
                  <a:pt x="10886" y="16049"/>
                </a:lnTo>
                <a:lnTo>
                  <a:pt x="10903" y="16048"/>
                </a:lnTo>
                <a:lnTo>
                  <a:pt x="10921" y="16048"/>
                </a:lnTo>
                <a:lnTo>
                  <a:pt x="10939" y="16048"/>
                </a:lnTo>
                <a:lnTo>
                  <a:pt x="10956" y="16049"/>
                </a:lnTo>
                <a:lnTo>
                  <a:pt x="10973" y="16052"/>
                </a:lnTo>
                <a:lnTo>
                  <a:pt x="10990" y="16055"/>
                </a:lnTo>
                <a:lnTo>
                  <a:pt x="11007" y="16059"/>
                </a:lnTo>
                <a:lnTo>
                  <a:pt x="11024" y="16064"/>
                </a:lnTo>
                <a:lnTo>
                  <a:pt x="11041" y="16068"/>
                </a:lnTo>
                <a:lnTo>
                  <a:pt x="11057" y="16075"/>
                </a:lnTo>
                <a:lnTo>
                  <a:pt x="11074" y="16082"/>
                </a:lnTo>
                <a:lnTo>
                  <a:pt x="11089" y="16089"/>
                </a:lnTo>
                <a:lnTo>
                  <a:pt x="11105" y="16099"/>
                </a:lnTo>
                <a:lnTo>
                  <a:pt x="11120" y="16108"/>
                </a:lnTo>
                <a:lnTo>
                  <a:pt x="11135" y="16119"/>
                </a:lnTo>
                <a:lnTo>
                  <a:pt x="11150" y="16129"/>
                </a:lnTo>
                <a:lnTo>
                  <a:pt x="11164" y="16142"/>
                </a:lnTo>
                <a:lnTo>
                  <a:pt x="11177" y="16155"/>
                </a:lnTo>
                <a:lnTo>
                  <a:pt x="11177" y="16155"/>
                </a:lnTo>
                <a:lnTo>
                  <a:pt x="11190" y="16168"/>
                </a:lnTo>
                <a:lnTo>
                  <a:pt x="11201" y="16182"/>
                </a:lnTo>
                <a:lnTo>
                  <a:pt x="11213" y="16196"/>
                </a:lnTo>
                <a:lnTo>
                  <a:pt x="11224" y="16211"/>
                </a:lnTo>
                <a:lnTo>
                  <a:pt x="11233" y="16227"/>
                </a:lnTo>
                <a:lnTo>
                  <a:pt x="11241" y="16242"/>
                </a:lnTo>
                <a:lnTo>
                  <a:pt x="11250" y="16258"/>
                </a:lnTo>
                <a:lnTo>
                  <a:pt x="11257" y="16275"/>
                </a:lnTo>
                <a:lnTo>
                  <a:pt x="11263" y="16291"/>
                </a:lnTo>
                <a:lnTo>
                  <a:pt x="11268" y="16308"/>
                </a:lnTo>
                <a:lnTo>
                  <a:pt x="11273" y="16324"/>
                </a:lnTo>
                <a:lnTo>
                  <a:pt x="11277" y="16342"/>
                </a:lnTo>
                <a:lnTo>
                  <a:pt x="11279" y="16358"/>
                </a:lnTo>
                <a:lnTo>
                  <a:pt x="11281" y="16376"/>
                </a:lnTo>
                <a:lnTo>
                  <a:pt x="11282" y="16393"/>
                </a:lnTo>
                <a:lnTo>
                  <a:pt x="11284" y="16411"/>
                </a:lnTo>
                <a:lnTo>
                  <a:pt x="11282" y="16429"/>
                </a:lnTo>
                <a:lnTo>
                  <a:pt x="11281" y="16445"/>
                </a:lnTo>
                <a:lnTo>
                  <a:pt x="11279" y="16463"/>
                </a:lnTo>
                <a:lnTo>
                  <a:pt x="11277" y="16480"/>
                </a:lnTo>
                <a:lnTo>
                  <a:pt x="11273" y="16497"/>
                </a:lnTo>
                <a:lnTo>
                  <a:pt x="11268" y="16514"/>
                </a:lnTo>
                <a:lnTo>
                  <a:pt x="11263" y="16531"/>
                </a:lnTo>
                <a:lnTo>
                  <a:pt x="11257" y="16547"/>
                </a:lnTo>
                <a:lnTo>
                  <a:pt x="11250" y="16564"/>
                </a:lnTo>
                <a:lnTo>
                  <a:pt x="11241" y="16579"/>
                </a:lnTo>
                <a:lnTo>
                  <a:pt x="11233" y="16595"/>
                </a:lnTo>
                <a:lnTo>
                  <a:pt x="11224" y="16611"/>
                </a:lnTo>
                <a:lnTo>
                  <a:pt x="11213" y="16625"/>
                </a:lnTo>
                <a:lnTo>
                  <a:pt x="11201" y="16640"/>
                </a:lnTo>
                <a:lnTo>
                  <a:pt x="11190" y="16654"/>
                </a:lnTo>
                <a:lnTo>
                  <a:pt x="11177" y="16667"/>
                </a:lnTo>
                <a:lnTo>
                  <a:pt x="6243" y="21600"/>
                </a:lnTo>
                <a:lnTo>
                  <a:pt x="38360" y="21600"/>
                </a:lnTo>
                <a:lnTo>
                  <a:pt x="38360" y="4745"/>
                </a:lnTo>
                <a:lnTo>
                  <a:pt x="31324" y="1183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3500000" scaled="1"/>
          </a:gra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  <a:noAutofit/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5" name="Freeform 8">
            <a:extLst>
              <a:ext uri="{FF2B5EF4-FFF2-40B4-BE49-F238E27FC236}">
                <a16:creationId xmlns:a16="http://schemas.microsoft.com/office/drawing/2014/main" id="{99924383-696E-4743-8DDE-479092B95FFD}"/>
              </a:ext>
            </a:extLst>
          </p:cNvPr>
          <p:cNvSpPr>
            <a:spLocks/>
          </p:cNvSpPr>
          <p:nvPr/>
        </p:nvSpPr>
        <p:spPr bwMode="auto">
          <a:xfrm>
            <a:off x="13146447" y="2"/>
            <a:ext cx="1250347" cy="1017905"/>
          </a:xfrm>
          <a:custGeom>
            <a:avLst/>
            <a:gdLst>
              <a:gd name="T0" fmla="*/ 104 w 2812"/>
              <a:gd name="T1" fmla="*/ 2183 h 2288"/>
              <a:gd name="T2" fmla="*/ 131 w 2812"/>
              <a:gd name="T3" fmla="*/ 2208 h 2288"/>
              <a:gd name="T4" fmla="*/ 161 w 2812"/>
              <a:gd name="T5" fmla="*/ 2229 h 2288"/>
              <a:gd name="T6" fmla="*/ 191 w 2812"/>
              <a:gd name="T7" fmla="*/ 2247 h 2288"/>
              <a:gd name="T8" fmla="*/ 223 w 2812"/>
              <a:gd name="T9" fmla="*/ 2262 h 2288"/>
              <a:gd name="T10" fmla="*/ 256 w 2812"/>
              <a:gd name="T11" fmla="*/ 2273 h 2288"/>
              <a:gd name="T12" fmla="*/ 290 w 2812"/>
              <a:gd name="T13" fmla="*/ 2282 h 2288"/>
              <a:gd name="T14" fmla="*/ 324 w 2812"/>
              <a:gd name="T15" fmla="*/ 2286 h 2288"/>
              <a:gd name="T16" fmla="*/ 358 w 2812"/>
              <a:gd name="T17" fmla="*/ 2288 h 2288"/>
              <a:gd name="T18" fmla="*/ 392 w 2812"/>
              <a:gd name="T19" fmla="*/ 2286 h 2288"/>
              <a:gd name="T20" fmla="*/ 426 w 2812"/>
              <a:gd name="T21" fmla="*/ 2282 h 2288"/>
              <a:gd name="T22" fmla="*/ 460 w 2812"/>
              <a:gd name="T23" fmla="*/ 2273 h 2288"/>
              <a:gd name="T24" fmla="*/ 493 w 2812"/>
              <a:gd name="T25" fmla="*/ 2262 h 2288"/>
              <a:gd name="T26" fmla="*/ 524 w 2812"/>
              <a:gd name="T27" fmla="*/ 2247 h 2288"/>
              <a:gd name="T28" fmla="*/ 555 w 2812"/>
              <a:gd name="T29" fmla="*/ 2229 h 2288"/>
              <a:gd name="T30" fmla="*/ 583 w 2812"/>
              <a:gd name="T31" fmla="*/ 2208 h 2288"/>
              <a:gd name="T32" fmla="*/ 611 w 2812"/>
              <a:gd name="T33" fmla="*/ 2183 h 2288"/>
              <a:gd name="T34" fmla="*/ 1778 w 2812"/>
              <a:gd name="T35" fmla="*/ 0 h 2288"/>
              <a:gd name="T36" fmla="*/ 104 w 2812"/>
              <a:gd name="T37" fmla="*/ 1676 h 2288"/>
              <a:gd name="T38" fmla="*/ 80 w 2812"/>
              <a:gd name="T39" fmla="*/ 1704 h 2288"/>
              <a:gd name="T40" fmla="*/ 58 w 2812"/>
              <a:gd name="T41" fmla="*/ 1732 h 2288"/>
              <a:gd name="T42" fmla="*/ 41 w 2812"/>
              <a:gd name="T43" fmla="*/ 1763 h 2288"/>
              <a:gd name="T44" fmla="*/ 26 w 2812"/>
              <a:gd name="T45" fmla="*/ 1795 h 2288"/>
              <a:gd name="T46" fmla="*/ 14 w 2812"/>
              <a:gd name="T47" fmla="*/ 1827 h 2288"/>
              <a:gd name="T48" fmla="*/ 6 w 2812"/>
              <a:gd name="T49" fmla="*/ 1862 h 2288"/>
              <a:gd name="T50" fmla="*/ 1 w 2812"/>
              <a:gd name="T51" fmla="*/ 1896 h 2288"/>
              <a:gd name="T52" fmla="*/ 0 w 2812"/>
              <a:gd name="T53" fmla="*/ 1930 h 2288"/>
              <a:gd name="T54" fmla="*/ 1 w 2812"/>
              <a:gd name="T55" fmla="*/ 1964 h 2288"/>
              <a:gd name="T56" fmla="*/ 6 w 2812"/>
              <a:gd name="T57" fmla="*/ 1998 h 2288"/>
              <a:gd name="T58" fmla="*/ 14 w 2812"/>
              <a:gd name="T59" fmla="*/ 2032 h 2288"/>
              <a:gd name="T60" fmla="*/ 26 w 2812"/>
              <a:gd name="T61" fmla="*/ 2065 h 2288"/>
              <a:gd name="T62" fmla="*/ 41 w 2812"/>
              <a:gd name="T63" fmla="*/ 2096 h 2288"/>
              <a:gd name="T64" fmla="*/ 58 w 2812"/>
              <a:gd name="T65" fmla="*/ 2127 h 2288"/>
              <a:gd name="T66" fmla="*/ 80 w 2812"/>
              <a:gd name="T67" fmla="*/ 2156 h 2288"/>
              <a:gd name="T68" fmla="*/ 104 w 2812"/>
              <a:gd name="T69" fmla="*/ 2183 h 2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12" h="2288">
                <a:moveTo>
                  <a:pt x="104" y="2183"/>
                </a:moveTo>
                <a:lnTo>
                  <a:pt x="104" y="2183"/>
                </a:lnTo>
                <a:lnTo>
                  <a:pt x="117" y="2196"/>
                </a:lnTo>
                <a:lnTo>
                  <a:pt x="131" y="2208"/>
                </a:lnTo>
                <a:lnTo>
                  <a:pt x="145" y="2218"/>
                </a:lnTo>
                <a:lnTo>
                  <a:pt x="161" y="2229"/>
                </a:lnTo>
                <a:lnTo>
                  <a:pt x="176" y="2238"/>
                </a:lnTo>
                <a:lnTo>
                  <a:pt x="191" y="2247"/>
                </a:lnTo>
                <a:lnTo>
                  <a:pt x="206" y="2255"/>
                </a:lnTo>
                <a:lnTo>
                  <a:pt x="223" y="2262"/>
                </a:lnTo>
                <a:lnTo>
                  <a:pt x="239" y="2268"/>
                </a:lnTo>
                <a:lnTo>
                  <a:pt x="256" y="2273"/>
                </a:lnTo>
                <a:lnTo>
                  <a:pt x="272" y="2278"/>
                </a:lnTo>
                <a:lnTo>
                  <a:pt x="290" y="2282"/>
                </a:lnTo>
                <a:lnTo>
                  <a:pt x="306" y="2284"/>
                </a:lnTo>
                <a:lnTo>
                  <a:pt x="324" y="2286"/>
                </a:lnTo>
                <a:lnTo>
                  <a:pt x="340" y="2288"/>
                </a:lnTo>
                <a:lnTo>
                  <a:pt x="358" y="2288"/>
                </a:lnTo>
                <a:lnTo>
                  <a:pt x="374" y="2288"/>
                </a:lnTo>
                <a:lnTo>
                  <a:pt x="392" y="2286"/>
                </a:lnTo>
                <a:lnTo>
                  <a:pt x="409" y="2284"/>
                </a:lnTo>
                <a:lnTo>
                  <a:pt x="426" y="2282"/>
                </a:lnTo>
                <a:lnTo>
                  <a:pt x="442" y="2278"/>
                </a:lnTo>
                <a:lnTo>
                  <a:pt x="460" y="2273"/>
                </a:lnTo>
                <a:lnTo>
                  <a:pt x="476" y="2268"/>
                </a:lnTo>
                <a:lnTo>
                  <a:pt x="493" y="2262"/>
                </a:lnTo>
                <a:lnTo>
                  <a:pt x="508" y="2255"/>
                </a:lnTo>
                <a:lnTo>
                  <a:pt x="524" y="2247"/>
                </a:lnTo>
                <a:lnTo>
                  <a:pt x="540" y="2238"/>
                </a:lnTo>
                <a:lnTo>
                  <a:pt x="555" y="2229"/>
                </a:lnTo>
                <a:lnTo>
                  <a:pt x="569" y="2218"/>
                </a:lnTo>
                <a:lnTo>
                  <a:pt x="583" y="2208"/>
                </a:lnTo>
                <a:lnTo>
                  <a:pt x="597" y="2196"/>
                </a:lnTo>
                <a:lnTo>
                  <a:pt x="611" y="2183"/>
                </a:lnTo>
                <a:lnTo>
                  <a:pt x="2812" y="0"/>
                </a:lnTo>
                <a:lnTo>
                  <a:pt x="1778" y="0"/>
                </a:lnTo>
                <a:lnTo>
                  <a:pt x="104" y="1676"/>
                </a:lnTo>
                <a:lnTo>
                  <a:pt x="104" y="1676"/>
                </a:lnTo>
                <a:lnTo>
                  <a:pt x="91" y="1690"/>
                </a:lnTo>
                <a:lnTo>
                  <a:pt x="80" y="1704"/>
                </a:lnTo>
                <a:lnTo>
                  <a:pt x="69" y="1718"/>
                </a:lnTo>
                <a:lnTo>
                  <a:pt x="58" y="1732"/>
                </a:lnTo>
                <a:lnTo>
                  <a:pt x="49" y="1748"/>
                </a:lnTo>
                <a:lnTo>
                  <a:pt x="41" y="1763"/>
                </a:lnTo>
                <a:lnTo>
                  <a:pt x="33" y="1779"/>
                </a:lnTo>
                <a:lnTo>
                  <a:pt x="26" y="1795"/>
                </a:lnTo>
                <a:lnTo>
                  <a:pt x="20" y="1811"/>
                </a:lnTo>
                <a:lnTo>
                  <a:pt x="14" y="1827"/>
                </a:lnTo>
                <a:lnTo>
                  <a:pt x="9" y="1845"/>
                </a:lnTo>
                <a:lnTo>
                  <a:pt x="6" y="1862"/>
                </a:lnTo>
                <a:lnTo>
                  <a:pt x="3" y="1878"/>
                </a:lnTo>
                <a:lnTo>
                  <a:pt x="1" y="1896"/>
                </a:lnTo>
                <a:lnTo>
                  <a:pt x="0" y="1913"/>
                </a:lnTo>
                <a:lnTo>
                  <a:pt x="0" y="1930"/>
                </a:lnTo>
                <a:lnTo>
                  <a:pt x="0" y="1947"/>
                </a:lnTo>
                <a:lnTo>
                  <a:pt x="1" y="1964"/>
                </a:lnTo>
                <a:lnTo>
                  <a:pt x="3" y="1981"/>
                </a:lnTo>
                <a:lnTo>
                  <a:pt x="6" y="1998"/>
                </a:lnTo>
                <a:lnTo>
                  <a:pt x="9" y="2015"/>
                </a:lnTo>
                <a:lnTo>
                  <a:pt x="14" y="2032"/>
                </a:lnTo>
                <a:lnTo>
                  <a:pt x="20" y="2048"/>
                </a:lnTo>
                <a:lnTo>
                  <a:pt x="26" y="2065"/>
                </a:lnTo>
                <a:lnTo>
                  <a:pt x="33" y="2081"/>
                </a:lnTo>
                <a:lnTo>
                  <a:pt x="41" y="2096"/>
                </a:lnTo>
                <a:lnTo>
                  <a:pt x="49" y="2112"/>
                </a:lnTo>
                <a:lnTo>
                  <a:pt x="58" y="2127"/>
                </a:lnTo>
                <a:lnTo>
                  <a:pt x="69" y="2142"/>
                </a:lnTo>
                <a:lnTo>
                  <a:pt x="80" y="2156"/>
                </a:lnTo>
                <a:lnTo>
                  <a:pt x="91" y="2170"/>
                </a:lnTo>
                <a:lnTo>
                  <a:pt x="104" y="2183"/>
                </a:lnTo>
                <a:lnTo>
                  <a:pt x="104" y="218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6" name="Freeform 9">
            <a:extLst>
              <a:ext uri="{FF2B5EF4-FFF2-40B4-BE49-F238E27FC236}">
                <a16:creationId xmlns:a16="http://schemas.microsoft.com/office/drawing/2014/main" id="{60BD6040-2403-444E-A327-F857C7AC5D9B}"/>
              </a:ext>
            </a:extLst>
          </p:cNvPr>
          <p:cNvSpPr>
            <a:spLocks/>
          </p:cNvSpPr>
          <p:nvPr/>
        </p:nvSpPr>
        <p:spPr bwMode="auto">
          <a:xfrm>
            <a:off x="16385782" y="2640332"/>
            <a:ext cx="683019" cy="911225"/>
          </a:xfrm>
          <a:custGeom>
            <a:avLst/>
            <a:gdLst>
              <a:gd name="T0" fmla="*/ 105 w 1535"/>
              <a:gd name="T1" fmla="*/ 1944 h 2050"/>
              <a:gd name="T2" fmla="*/ 133 w 1535"/>
              <a:gd name="T3" fmla="*/ 1969 h 2050"/>
              <a:gd name="T4" fmla="*/ 163 w 1535"/>
              <a:gd name="T5" fmla="*/ 1990 h 2050"/>
              <a:gd name="T6" fmla="*/ 193 w 1535"/>
              <a:gd name="T7" fmla="*/ 2009 h 2050"/>
              <a:gd name="T8" fmla="*/ 226 w 1535"/>
              <a:gd name="T9" fmla="*/ 2024 h 2050"/>
              <a:gd name="T10" fmla="*/ 259 w 1535"/>
              <a:gd name="T11" fmla="*/ 2036 h 2050"/>
              <a:gd name="T12" fmla="*/ 293 w 1535"/>
              <a:gd name="T13" fmla="*/ 2044 h 2050"/>
              <a:gd name="T14" fmla="*/ 328 w 1535"/>
              <a:gd name="T15" fmla="*/ 2049 h 2050"/>
              <a:gd name="T16" fmla="*/ 362 w 1535"/>
              <a:gd name="T17" fmla="*/ 2050 h 2050"/>
              <a:gd name="T18" fmla="*/ 397 w 1535"/>
              <a:gd name="T19" fmla="*/ 2049 h 2050"/>
              <a:gd name="T20" fmla="*/ 432 w 1535"/>
              <a:gd name="T21" fmla="*/ 2044 h 2050"/>
              <a:gd name="T22" fmla="*/ 466 w 1535"/>
              <a:gd name="T23" fmla="*/ 2036 h 2050"/>
              <a:gd name="T24" fmla="*/ 500 w 1535"/>
              <a:gd name="T25" fmla="*/ 2024 h 2050"/>
              <a:gd name="T26" fmla="*/ 531 w 1535"/>
              <a:gd name="T27" fmla="*/ 2009 h 2050"/>
              <a:gd name="T28" fmla="*/ 563 w 1535"/>
              <a:gd name="T29" fmla="*/ 1990 h 2050"/>
              <a:gd name="T30" fmla="*/ 592 w 1535"/>
              <a:gd name="T31" fmla="*/ 1969 h 2050"/>
              <a:gd name="T32" fmla="*/ 619 w 1535"/>
              <a:gd name="T33" fmla="*/ 1944 h 2050"/>
              <a:gd name="T34" fmla="*/ 1535 w 1535"/>
              <a:gd name="T35" fmla="*/ 0 h 2050"/>
              <a:gd name="T36" fmla="*/ 105 w 1535"/>
              <a:gd name="T37" fmla="*/ 1430 h 2050"/>
              <a:gd name="T38" fmla="*/ 81 w 1535"/>
              <a:gd name="T39" fmla="*/ 1457 h 2050"/>
              <a:gd name="T40" fmla="*/ 59 w 1535"/>
              <a:gd name="T41" fmla="*/ 1486 h 2050"/>
              <a:gd name="T42" fmla="*/ 41 w 1535"/>
              <a:gd name="T43" fmla="*/ 1518 h 2050"/>
              <a:gd name="T44" fmla="*/ 25 w 1535"/>
              <a:gd name="T45" fmla="*/ 1550 h 2050"/>
              <a:gd name="T46" fmla="*/ 14 w 1535"/>
              <a:gd name="T47" fmla="*/ 1584 h 2050"/>
              <a:gd name="T48" fmla="*/ 5 w 1535"/>
              <a:gd name="T49" fmla="*/ 1618 h 2050"/>
              <a:gd name="T50" fmla="*/ 1 w 1535"/>
              <a:gd name="T51" fmla="*/ 1652 h 2050"/>
              <a:gd name="T52" fmla="*/ 0 w 1535"/>
              <a:gd name="T53" fmla="*/ 1687 h 2050"/>
              <a:gd name="T54" fmla="*/ 1 w 1535"/>
              <a:gd name="T55" fmla="*/ 1721 h 2050"/>
              <a:gd name="T56" fmla="*/ 5 w 1535"/>
              <a:gd name="T57" fmla="*/ 1756 h 2050"/>
              <a:gd name="T58" fmla="*/ 14 w 1535"/>
              <a:gd name="T59" fmla="*/ 1790 h 2050"/>
              <a:gd name="T60" fmla="*/ 25 w 1535"/>
              <a:gd name="T61" fmla="*/ 1823 h 2050"/>
              <a:gd name="T62" fmla="*/ 41 w 1535"/>
              <a:gd name="T63" fmla="*/ 1856 h 2050"/>
              <a:gd name="T64" fmla="*/ 59 w 1535"/>
              <a:gd name="T65" fmla="*/ 1887 h 2050"/>
              <a:gd name="T66" fmla="*/ 81 w 1535"/>
              <a:gd name="T67" fmla="*/ 1916 h 2050"/>
              <a:gd name="T68" fmla="*/ 105 w 1535"/>
              <a:gd name="T69" fmla="*/ 1944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35" h="2050">
                <a:moveTo>
                  <a:pt x="105" y="1944"/>
                </a:moveTo>
                <a:lnTo>
                  <a:pt x="105" y="1944"/>
                </a:lnTo>
                <a:lnTo>
                  <a:pt x="119" y="1957"/>
                </a:lnTo>
                <a:lnTo>
                  <a:pt x="133" y="1969"/>
                </a:lnTo>
                <a:lnTo>
                  <a:pt x="147" y="1980"/>
                </a:lnTo>
                <a:lnTo>
                  <a:pt x="163" y="1990"/>
                </a:lnTo>
                <a:lnTo>
                  <a:pt x="178" y="2000"/>
                </a:lnTo>
                <a:lnTo>
                  <a:pt x="193" y="2009"/>
                </a:lnTo>
                <a:lnTo>
                  <a:pt x="210" y="2017"/>
                </a:lnTo>
                <a:lnTo>
                  <a:pt x="226" y="2024"/>
                </a:lnTo>
                <a:lnTo>
                  <a:pt x="243" y="2030"/>
                </a:lnTo>
                <a:lnTo>
                  <a:pt x="259" y="2036"/>
                </a:lnTo>
                <a:lnTo>
                  <a:pt x="277" y="2040"/>
                </a:lnTo>
                <a:lnTo>
                  <a:pt x="293" y="2044"/>
                </a:lnTo>
                <a:lnTo>
                  <a:pt x="311" y="2046"/>
                </a:lnTo>
                <a:lnTo>
                  <a:pt x="328" y="2049"/>
                </a:lnTo>
                <a:lnTo>
                  <a:pt x="345" y="2050"/>
                </a:lnTo>
                <a:lnTo>
                  <a:pt x="362" y="2050"/>
                </a:lnTo>
                <a:lnTo>
                  <a:pt x="380" y="2050"/>
                </a:lnTo>
                <a:lnTo>
                  <a:pt x="397" y="2049"/>
                </a:lnTo>
                <a:lnTo>
                  <a:pt x="415" y="2046"/>
                </a:lnTo>
                <a:lnTo>
                  <a:pt x="432" y="2044"/>
                </a:lnTo>
                <a:lnTo>
                  <a:pt x="449" y="2040"/>
                </a:lnTo>
                <a:lnTo>
                  <a:pt x="466" y="2036"/>
                </a:lnTo>
                <a:lnTo>
                  <a:pt x="483" y="2030"/>
                </a:lnTo>
                <a:lnTo>
                  <a:pt x="500" y="2024"/>
                </a:lnTo>
                <a:lnTo>
                  <a:pt x="516" y="2017"/>
                </a:lnTo>
                <a:lnTo>
                  <a:pt x="531" y="2009"/>
                </a:lnTo>
                <a:lnTo>
                  <a:pt x="548" y="2000"/>
                </a:lnTo>
                <a:lnTo>
                  <a:pt x="563" y="1990"/>
                </a:lnTo>
                <a:lnTo>
                  <a:pt x="577" y="1980"/>
                </a:lnTo>
                <a:lnTo>
                  <a:pt x="592" y="1969"/>
                </a:lnTo>
                <a:lnTo>
                  <a:pt x="606" y="1957"/>
                </a:lnTo>
                <a:lnTo>
                  <a:pt x="619" y="1944"/>
                </a:lnTo>
                <a:lnTo>
                  <a:pt x="1535" y="1029"/>
                </a:lnTo>
                <a:lnTo>
                  <a:pt x="1535" y="0"/>
                </a:lnTo>
                <a:lnTo>
                  <a:pt x="105" y="1430"/>
                </a:lnTo>
                <a:lnTo>
                  <a:pt x="105" y="1430"/>
                </a:lnTo>
                <a:lnTo>
                  <a:pt x="92" y="1443"/>
                </a:lnTo>
                <a:lnTo>
                  <a:pt x="81" y="1457"/>
                </a:lnTo>
                <a:lnTo>
                  <a:pt x="70" y="1472"/>
                </a:lnTo>
                <a:lnTo>
                  <a:pt x="59" y="1486"/>
                </a:lnTo>
                <a:lnTo>
                  <a:pt x="50" y="1502"/>
                </a:lnTo>
                <a:lnTo>
                  <a:pt x="41" y="1518"/>
                </a:lnTo>
                <a:lnTo>
                  <a:pt x="32" y="1533"/>
                </a:lnTo>
                <a:lnTo>
                  <a:pt x="25" y="1550"/>
                </a:lnTo>
                <a:lnTo>
                  <a:pt x="19" y="1566"/>
                </a:lnTo>
                <a:lnTo>
                  <a:pt x="14" y="1584"/>
                </a:lnTo>
                <a:lnTo>
                  <a:pt x="10" y="1600"/>
                </a:lnTo>
                <a:lnTo>
                  <a:pt x="5" y="1618"/>
                </a:lnTo>
                <a:lnTo>
                  <a:pt x="3" y="1634"/>
                </a:lnTo>
                <a:lnTo>
                  <a:pt x="1" y="1652"/>
                </a:lnTo>
                <a:lnTo>
                  <a:pt x="0" y="1669"/>
                </a:lnTo>
                <a:lnTo>
                  <a:pt x="0" y="1687"/>
                </a:lnTo>
                <a:lnTo>
                  <a:pt x="0" y="1705"/>
                </a:lnTo>
                <a:lnTo>
                  <a:pt x="1" y="1721"/>
                </a:lnTo>
                <a:lnTo>
                  <a:pt x="3" y="1739"/>
                </a:lnTo>
                <a:lnTo>
                  <a:pt x="5" y="1756"/>
                </a:lnTo>
                <a:lnTo>
                  <a:pt x="10" y="1773"/>
                </a:lnTo>
                <a:lnTo>
                  <a:pt x="14" y="1790"/>
                </a:lnTo>
                <a:lnTo>
                  <a:pt x="19" y="1807"/>
                </a:lnTo>
                <a:lnTo>
                  <a:pt x="25" y="1823"/>
                </a:lnTo>
                <a:lnTo>
                  <a:pt x="32" y="1840"/>
                </a:lnTo>
                <a:lnTo>
                  <a:pt x="41" y="1856"/>
                </a:lnTo>
                <a:lnTo>
                  <a:pt x="50" y="1871"/>
                </a:lnTo>
                <a:lnTo>
                  <a:pt x="59" y="1887"/>
                </a:lnTo>
                <a:lnTo>
                  <a:pt x="70" y="1902"/>
                </a:lnTo>
                <a:lnTo>
                  <a:pt x="81" y="1916"/>
                </a:lnTo>
                <a:lnTo>
                  <a:pt x="92" y="1930"/>
                </a:lnTo>
                <a:lnTo>
                  <a:pt x="105" y="1944"/>
                </a:lnTo>
                <a:lnTo>
                  <a:pt x="105" y="194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7" name="Freeform 10">
            <a:extLst>
              <a:ext uri="{FF2B5EF4-FFF2-40B4-BE49-F238E27FC236}">
                <a16:creationId xmlns:a16="http://schemas.microsoft.com/office/drawing/2014/main" id="{92D91279-8E26-48F1-8665-209728DDB359}"/>
              </a:ext>
            </a:extLst>
          </p:cNvPr>
          <p:cNvSpPr>
            <a:spLocks/>
          </p:cNvSpPr>
          <p:nvPr/>
        </p:nvSpPr>
        <p:spPr bwMode="auto">
          <a:xfrm>
            <a:off x="3439568" y="8552180"/>
            <a:ext cx="1283720" cy="1049020"/>
          </a:xfrm>
          <a:custGeom>
            <a:avLst/>
            <a:gdLst>
              <a:gd name="T0" fmla="*/ 2781 w 2886"/>
              <a:gd name="T1" fmla="*/ 104 h 2358"/>
              <a:gd name="T2" fmla="*/ 2754 w 2886"/>
              <a:gd name="T3" fmla="*/ 80 h 2358"/>
              <a:gd name="T4" fmla="*/ 2725 w 2886"/>
              <a:gd name="T5" fmla="*/ 59 h 2358"/>
              <a:gd name="T6" fmla="*/ 2694 w 2886"/>
              <a:gd name="T7" fmla="*/ 41 h 2358"/>
              <a:gd name="T8" fmla="*/ 2662 w 2886"/>
              <a:gd name="T9" fmla="*/ 26 h 2358"/>
              <a:gd name="T10" fmla="*/ 2630 w 2886"/>
              <a:gd name="T11" fmla="*/ 14 h 2358"/>
              <a:gd name="T12" fmla="*/ 2596 w 2886"/>
              <a:gd name="T13" fmla="*/ 6 h 2358"/>
              <a:gd name="T14" fmla="*/ 2562 w 2886"/>
              <a:gd name="T15" fmla="*/ 1 h 2358"/>
              <a:gd name="T16" fmla="*/ 2527 w 2886"/>
              <a:gd name="T17" fmla="*/ 0 h 2358"/>
              <a:gd name="T18" fmla="*/ 2493 w 2886"/>
              <a:gd name="T19" fmla="*/ 1 h 2358"/>
              <a:gd name="T20" fmla="*/ 2459 w 2886"/>
              <a:gd name="T21" fmla="*/ 6 h 2358"/>
              <a:gd name="T22" fmla="*/ 2425 w 2886"/>
              <a:gd name="T23" fmla="*/ 14 h 2358"/>
              <a:gd name="T24" fmla="*/ 2392 w 2886"/>
              <a:gd name="T25" fmla="*/ 26 h 2358"/>
              <a:gd name="T26" fmla="*/ 2361 w 2886"/>
              <a:gd name="T27" fmla="*/ 41 h 2358"/>
              <a:gd name="T28" fmla="*/ 2330 w 2886"/>
              <a:gd name="T29" fmla="*/ 59 h 2358"/>
              <a:gd name="T30" fmla="*/ 2301 w 2886"/>
              <a:gd name="T31" fmla="*/ 80 h 2358"/>
              <a:gd name="T32" fmla="*/ 2274 w 2886"/>
              <a:gd name="T33" fmla="*/ 104 h 2358"/>
              <a:gd name="T34" fmla="*/ 1035 w 2886"/>
              <a:gd name="T35" fmla="*/ 2358 h 2358"/>
              <a:gd name="T36" fmla="*/ 2781 w 2886"/>
              <a:gd name="T37" fmla="*/ 612 h 2358"/>
              <a:gd name="T38" fmla="*/ 2806 w 2886"/>
              <a:gd name="T39" fmla="*/ 583 h 2358"/>
              <a:gd name="T40" fmla="*/ 2827 w 2886"/>
              <a:gd name="T41" fmla="*/ 555 h 2358"/>
              <a:gd name="T42" fmla="*/ 2844 w 2886"/>
              <a:gd name="T43" fmla="*/ 525 h 2358"/>
              <a:gd name="T44" fmla="*/ 2860 w 2886"/>
              <a:gd name="T45" fmla="*/ 493 h 2358"/>
              <a:gd name="T46" fmla="*/ 2871 w 2886"/>
              <a:gd name="T47" fmla="*/ 460 h 2358"/>
              <a:gd name="T48" fmla="*/ 2880 w 2886"/>
              <a:gd name="T49" fmla="*/ 426 h 2358"/>
              <a:gd name="T50" fmla="*/ 2884 w 2886"/>
              <a:gd name="T51" fmla="*/ 392 h 2358"/>
              <a:gd name="T52" fmla="*/ 2886 w 2886"/>
              <a:gd name="T53" fmla="*/ 358 h 2358"/>
              <a:gd name="T54" fmla="*/ 2884 w 2886"/>
              <a:gd name="T55" fmla="*/ 324 h 2358"/>
              <a:gd name="T56" fmla="*/ 2880 w 2886"/>
              <a:gd name="T57" fmla="*/ 290 h 2358"/>
              <a:gd name="T58" fmla="*/ 2871 w 2886"/>
              <a:gd name="T59" fmla="*/ 256 h 2358"/>
              <a:gd name="T60" fmla="*/ 2860 w 2886"/>
              <a:gd name="T61" fmla="*/ 223 h 2358"/>
              <a:gd name="T62" fmla="*/ 2844 w 2886"/>
              <a:gd name="T63" fmla="*/ 191 h 2358"/>
              <a:gd name="T64" fmla="*/ 2827 w 2886"/>
              <a:gd name="T65" fmla="*/ 161 h 2358"/>
              <a:gd name="T66" fmla="*/ 2806 w 2886"/>
              <a:gd name="T67" fmla="*/ 131 h 2358"/>
              <a:gd name="T68" fmla="*/ 2781 w 2886"/>
              <a:gd name="T69" fmla="*/ 104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886" h="2358">
                <a:moveTo>
                  <a:pt x="2781" y="104"/>
                </a:moveTo>
                <a:lnTo>
                  <a:pt x="2781" y="104"/>
                </a:lnTo>
                <a:lnTo>
                  <a:pt x="2767" y="92"/>
                </a:lnTo>
                <a:lnTo>
                  <a:pt x="2754" y="80"/>
                </a:lnTo>
                <a:lnTo>
                  <a:pt x="2739" y="69"/>
                </a:lnTo>
                <a:lnTo>
                  <a:pt x="2725" y="59"/>
                </a:lnTo>
                <a:lnTo>
                  <a:pt x="2709" y="49"/>
                </a:lnTo>
                <a:lnTo>
                  <a:pt x="2694" y="41"/>
                </a:lnTo>
                <a:lnTo>
                  <a:pt x="2678" y="33"/>
                </a:lnTo>
                <a:lnTo>
                  <a:pt x="2662" y="26"/>
                </a:lnTo>
                <a:lnTo>
                  <a:pt x="2646" y="20"/>
                </a:lnTo>
                <a:lnTo>
                  <a:pt x="2630" y="14"/>
                </a:lnTo>
                <a:lnTo>
                  <a:pt x="2613" y="9"/>
                </a:lnTo>
                <a:lnTo>
                  <a:pt x="2596" y="6"/>
                </a:lnTo>
                <a:lnTo>
                  <a:pt x="2579" y="4"/>
                </a:lnTo>
                <a:lnTo>
                  <a:pt x="2562" y="1"/>
                </a:lnTo>
                <a:lnTo>
                  <a:pt x="2545" y="0"/>
                </a:lnTo>
                <a:lnTo>
                  <a:pt x="2527" y="0"/>
                </a:lnTo>
                <a:lnTo>
                  <a:pt x="2510" y="0"/>
                </a:lnTo>
                <a:lnTo>
                  <a:pt x="2493" y="1"/>
                </a:lnTo>
                <a:lnTo>
                  <a:pt x="2476" y="4"/>
                </a:lnTo>
                <a:lnTo>
                  <a:pt x="2459" y="6"/>
                </a:lnTo>
                <a:lnTo>
                  <a:pt x="2442" y="9"/>
                </a:lnTo>
                <a:lnTo>
                  <a:pt x="2425" y="14"/>
                </a:lnTo>
                <a:lnTo>
                  <a:pt x="2409" y="20"/>
                </a:lnTo>
                <a:lnTo>
                  <a:pt x="2392" y="26"/>
                </a:lnTo>
                <a:lnTo>
                  <a:pt x="2376" y="33"/>
                </a:lnTo>
                <a:lnTo>
                  <a:pt x="2361" y="41"/>
                </a:lnTo>
                <a:lnTo>
                  <a:pt x="2346" y="49"/>
                </a:lnTo>
                <a:lnTo>
                  <a:pt x="2330" y="59"/>
                </a:lnTo>
                <a:lnTo>
                  <a:pt x="2315" y="69"/>
                </a:lnTo>
                <a:lnTo>
                  <a:pt x="2301" y="80"/>
                </a:lnTo>
                <a:lnTo>
                  <a:pt x="2287" y="92"/>
                </a:lnTo>
                <a:lnTo>
                  <a:pt x="2274" y="104"/>
                </a:lnTo>
                <a:lnTo>
                  <a:pt x="0" y="2358"/>
                </a:lnTo>
                <a:lnTo>
                  <a:pt x="1035" y="2358"/>
                </a:lnTo>
                <a:lnTo>
                  <a:pt x="2781" y="612"/>
                </a:lnTo>
                <a:lnTo>
                  <a:pt x="2781" y="612"/>
                </a:lnTo>
                <a:lnTo>
                  <a:pt x="2794" y="597"/>
                </a:lnTo>
                <a:lnTo>
                  <a:pt x="2806" y="583"/>
                </a:lnTo>
                <a:lnTo>
                  <a:pt x="2816" y="569"/>
                </a:lnTo>
                <a:lnTo>
                  <a:pt x="2827" y="555"/>
                </a:lnTo>
                <a:lnTo>
                  <a:pt x="2836" y="540"/>
                </a:lnTo>
                <a:lnTo>
                  <a:pt x="2844" y="525"/>
                </a:lnTo>
                <a:lnTo>
                  <a:pt x="2853" y="508"/>
                </a:lnTo>
                <a:lnTo>
                  <a:pt x="2860" y="493"/>
                </a:lnTo>
                <a:lnTo>
                  <a:pt x="2866" y="477"/>
                </a:lnTo>
                <a:lnTo>
                  <a:pt x="2871" y="460"/>
                </a:lnTo>
                <a:lnTo>
                  <a:pt x="2875" y="442"/>
                </a:lnTo>
                <a:lnTo>
                  <a:pt x="2880" y="426"/>
                </a:lnTo>
                <a:lnTo>
                  <a:pt x="2882" y="410"/>
                </a:lnTo>
                <a:lnTo>
                  <a:pt x="2884" y="392"/>
                </a:lnTo>
                <a:lnTo>
                  <a:pt x="2886" y="374"/>
                </a:lnTo>
                <a:lnTo>
                  <a:pt x="2886" y="358"/>
                </a:lnTo>
                <a:lnTo>
                  <a:pt x="2886" y="340"/>
                </a:lnTo>
                <a:lnTo>
                  <a:pt x="2884" y="324"/>
                </a:lnTo>
                <a:lnTo>
                  <a:pt x="2882" y="306"/>
                </a:lnTo>
                <a:lnTo>
                  <a:pt x="2880" y="290"/>
                </a:lnTo>
                <a:lnTo>
                  <a:pt x="2875" y="272"/>
                </a:lnTo>
                <a:lnTo>
                  <a:pt x="2871" y="256"/>
                </a:lnTo>
                <a:lnTo>
                  <a:pt x="2866" y="239"/>
                </a:lnTo>
                <a:lnTo>
                  <a:pt x="2860" y="223"/>
                </a:lnTo>
                <a:lnTo>
                  <a:pt x="2853" y="207"/>
                </a:lnTo>
                <a:lnTo>
                  <a:pt x="2844" y="191"/>
                </a:lnTo>
                <a:lnTo>
                  <a:pt x="2836" y="176"/>
                </a:lnTo>
                <a:lnTo>
                  <a:pt x="2827" y="161"/>
                </a:lnTo>
                <a:lnTo>
                  <a:pt x="2816" y="146"/>
                </a:lnTo>
                <a:lnTo>
                  <a:pt x="2806" y="131"/>
                </a:lnTo>
                <a:lnTo>
                  <a:pt x="2794" y="117"/>
                </a:lnTo>
                <a:lnTo>
                  <a:pt x="2781" y="104"/>
                </a:lnTo>
                <a:lnTo>
                  <a:pt x="2781" y="10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8" name="Freeform 11">
            <a:extLst>
              <a:ext uri="{FF2B5EF4-FFF2-40B4-BE49-F238E27FC236}">
                <a16:creationId xmlns:a16="http://schemas.microsoft.com/office/drawing/2014/main" id="{883AA6FB-DAF2-40A0-82C3-5F7216493ABF}"/>
              </a:ext>
            </a:extLst>
          </p:cNvPr>
          <p:cNvSpPr>
            <a:spLocks/>
          </p:cNvSpPr>
          <p:nvPr/>
        </p:nvSpPr>
        <p:spPr bwMode="auto">
          <a:xfrm>
            <a:off x="1" y="6018531"/>
            <a:ext cx="1541799" cy="1773555"/>
          </a:xfrm>
          <a:custGeom>
            <a:avLst/>
            <a:gdLst>
              <a:gd name="T0" fmla="*/ 3357 w 3464"/>
              <a:gd name="T1" fmla="*/ 106 h 3991"/>
              <a:gd name="T2" fmla="*/ 3330 w 3464"/>
              <a:gd name="T3" fmla="*/ 81 h 3991"/>
              <a:gd name="T4" fmla="*/ 3301 w 3464"/>
              <a:gd name="T5" fmla="*/ 60 h 3991"/>
              <a:gd name="T6" fmla="*/ 3269 w 3464"/>
              <a:gd name="T7" fmla="*/ 41 h 3991"/>
              <a:gd name="T8" fmla="*/ 3238 w 3464"/>
              <a:gd name="T9" fmla="*/ 26 h 3991"/>
              <a:gd name="T10" fmla="*/ 3204 w 3464"/>
              <a:gd name="T11" fmla="*/ 14 h 3991"/>
              <a:gd name="T12" fmla="*/ 3170 w 3464"/>
              <a:gd name="T13" fmla="*/ 6 h 3991"/>
              <a:gd name="T14" fmla="*/ 3136 w 3464"/>
              <a:gd name="T15" fmla="*/ 1 h 3991"/>
              <a:gd name="T16" fmla="*/ 3100 w 3464"/>
              <a:gd name="T17" fmla="*/ 0 h 3991"/>
              <a:gd name="T18" fmla="*/ 3066 w 3464"/>
              <a:gd name="T19" fmla="*/ 1 h 3991"/>
              <a:gd name="T20" fmla="*/ 3031 w 3464"/>
              <a:gd name="T21" fmla="*/ 6 h 3991"/>
              <a:gd name="T22" fmla="*/ 2997 w 3464"/>
              <a:gd name="T23" fmla="*/ 14 h 3991"/>
              <a:gd name="T24" fmla="*/ 2964 w 3464"/>
              <a:gd name="T25" fmla="*/ 26 h 3991"/>
              <a:gd name="T26" fmla="*/ 2931 w 3464"/>
              <a:gd name="T27" fmla="*/ 41 h 3991"/>
              <a:gd name="T28" fmla="*/ 2901 w 3464"/>
              <a:gd name="T29" fmla="*/ 60 h 3991"/>
              <a:gd name="T30" fmla="*/ 2871 w 3464"/>
              <a:gd name="T31" fmla="*/ 81 h 3991"/>
              <a:gd name="T32" fmla="*/ 2843 w 3464"/>
              <a:gd name="T33" fmla="*/ 106 h 3991"/>
              <a:gd name="T34" fmla="*/ 0 w 3464"/>
              <a:gd name="T35" fmla="*/ 3991 h 3991"/>
              <a:gd name="T36" fmla="*/ 3357 w 3464"/>
              <a:gd name="T37" fmla="*/ 620 h 3991"/>
              <a:gd name="T38" fmla="*/ 3382 w 3464"/>
              <a:gd name="T39" fmla="*/ 593 h 3991"/>
              <a:gd name="T40" fmla="*/ 3404 w 3464"/>
              <a:gd name="T41" fmla="*/ 563 h 3991"/>
              <a:gd name="T42" fmla="*/ 3422 w 3464"/>
              <a:gd name="T43" fmla="*/ 532 h 3991"/>
              <a:gd name="T44" fmla="*/ 3437 w 3464"/>
              <a:gd name="T45" fmla="*/ 500 h 3991"/>
              <a:gd name="T46" fmla="*/ 3449 w 3464"/>
              <a:gd name="T47" fmla="*/ 466 h 3991"/>
              <a:gd name="T48" fmla="*/ 3457 w 3464"/>
              <a:gd name="T49" fmla="*/ 432 h 3991"/>
              <a:gd name="T50" fmla="*/ 3462 w 3464"/>
              <a:gd name="T51" fmla="*/ 398 h 3991"/>
              <a:gd name="T52" fmla="*/ 3464 w 3464"/>
              <a:gd name="T53" fmla="*/ 363 h 3991"/>
              <a:gd name="T54" fmla="*/ 3462 w 3464"/>
              <a:gd name="T55" fmla="*/ 329 h 3991"/>
              <a:gd name="T56" fmla="*/ 3457 w 3464"/>
              <a:gd name="T57" fmla="*/ 293 h 3991"/>
              <a:gd name="T58" fmla="*/ 3449 w 3464"/>
              <a:gd name="T59" fmla="*/ 259 h 3991"/>
              <a:gd name="T60" fmla="*/ 3437 w 3464"/>
              <a:gd name="T61" fmla="*/ 226 h 3991"/>
              <a:gd name="T62" fmla="*/ 3422 w 3464"/>
              <a:gd name="T63" fmla="*/ 194 h 3991"/>
              <a:gd name="T64" fmla="*/ 3404 w 3464"/>
              <a:gd name="T65" fmla="*/ 163 h 3991"/>
              <a:gd name="T66" fmla="*/ 3382 w 3464"/>
              <a:gd name="T67" fmla="*/ 134 h 3991"/>
              <a:gd name="T68" fmla="*/ 3357 w 3464"/>
              <a:gd name="T69" fmla="*/ 106 h 39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464" h="3991">
                <a:moveTo>
                  <a:pt x="3357" y="106"/>
                </a:moveTo>
                <a:lnTo>
                  <a:pt x="3357" y="106"/>
                </a:lnTo>
                <a:lnTo>
                  <a:pt x="3344" y="93"/>
                </a:lnTo>
                <a:lnTo>
                  <a:pt x="3330" y="81"/>
                </a:lnTo>
                <a:lnTo>
                  <a:pt x="3315" y="69"/>
                </a:lnTo>
                <a:lnTo>
                  <a:pt x="3301" y="60"/>
                </a:lnTo>
                <a:lnTo>
                  <a:pt x="3286" y="49"/>
                </a:lnTo>
                <a:lnTo>
                  <a:pt x="3269" y="41"/>
                </a:lnTo>
                <a:lnTo>
                  <a:pt x="3254" y="33"/>
                </a:lnTo>
                <a:lnTo>
                  <a:pt x="3238" y="26"/>
                </a:lnTo>
                <a:lnTo>
                  <a:pt x="3221" y="20"/>
                </a:lnTo>
                <a:lnTo>
                  <a:pt x="3204" y="14"/>
                </a:lnTo>
                <a:lnTo>
                  <a:pt x="3187" y="9"/>
                </a:lnTo>
                <a:lnTo>
                  <a:pt x="3170" y="6"/>
                </a:lnTo>
                <a:lnTo>
                  <a:pt x="3153" y="3"/>
                </a:lnTo>
                <a:lnTo>
                  <a:pt x="3136" y="1"/>
                </a:lnTo>
                <a:lnTo>
                  <a:pt x="3118" y="0"/>
                </a:lnTo>
                <a:lnTo>
                  <a:pt x="3100" y="0"/>
                </a:lnTo>
                <a:lnTo>
                  <a:pt x="3083" y="0"/>
                </a:lnTo>
                <a:lnTo>
                  <a:pt x="3066" y="1"/>
                </a:lnTo>
                <a:lnTo>
                  <a:pt x="3049" y="3"/>
                </a:lnTo>
                <a:lnTo>
                  <a:pt x="3031" y="6"/>
                </a:lnTo>
                <a:lnTo>
                  <a:pt x="3015" y="9"/>
                </a:lnTo>
                <a:lnTo>
                  <a:pt x="2997" y="14"/>
                </a:lnTo>
                <a:lnTo>
                  <a:pt x="2981" y="20"/>
                </a:lnTo>
                <a:lnTo>
                  <a:pt x="2964" y="26"/>
                </a:lnTo>
                <a:lnTo>
                  <a:pt x="2948" y="33"/>
                </a:lnTo>
                <a:lnTo>
                  <a:pt x="2931" y="41"/>
                </a:lnTo>
                <a:lnTo>
                  <a:pt x="2916" y="49"/>
                </a:lnTo>
                <a:lnTo>
                  <a:pt x="2901" y="60"/>
                </a:lnTo>
                <a:lnTo>
                  <a:pt x="2885" y="69"/>
                </a:lnTo>
                <a:lnTo>
                  <a:pt x="2871" y="81"/>
                </a:lnTo>
                <a:lnTo>
                  <a:pt x="2857" y="93"/>
                </a:lnTo>
                <a:lnTo>
                  <a:pt x="2843" y="106"/>
                </a:lnTo>
                <a:lnTo>
                  <a:pt x="0" y="2956"/>
                </a:lnTo>
                <a:lnTo>
                  <a:pt x="0" y="3991"/>
                </a:lnTo>
                <a:lnTo>
                  <a:pt x="3357" y="620"/>
                </a:lnTo>
                <a:lnTo>
                  <a:pt x="3357" y="620"/>
                </a:lnTo>
                <a:lnTo>
                  <a:pt x="3370" y="607"/>
                </a:lnTo>
                <a:lnTo>
                  <a:pt x="3382" y="593"/>
                </a:lnTo>
                <a:lnTo>
                  <a:pt x="3394" y="577"/>
                </a:lnTo>
                <a:lnTo>
                  <a:pt x="3404" y="563"/>
                </a:lnTo>
                <a:lnTo>
                  <a:pt x="3414" y="548"/>
                </a:lnTo>
                <a:lnTo>
                  <a:pt x="3422" y="532"/>
                </a:lnTo>
                <a:lnTo>
                  <a:pt x="3430" y="516"/>
                </a:lnTo>
                <a:lnTo>
                  <a:pt x="3437" y="500"/>
                </a:lnTo>
                <a:lnTo>
                  <a:pt x="3444" y="483"/>
                </a:lnTo>
                <a:lnTo>
                  <a:pt x="3449" y="466"/>
                </a:lnTo>
                <a:lnTo>
                  <a:pt x="3454" y="449"/>
                </a:lnTo>
                <a:lnTo>
                  <a:pt x="3457" y="432"/>
                </a:lnTo>
                <a:lnTo>
                  <a:pt x="3461" y="415"/>
                </a:lnTo>
                <a:lnTo>
                  <a:pt x="3462" y="398"/>
                </a:lnTo>
                <a:lnTo>
                  <a:pt x="3464" y="380"/>
                </a:lnTo>
                <a:lnTo>
                  <a:pt x="3464" y="363"/>
                </a:lnTo>
                <a:lnTo>
                  <a:pt x="3464" y="345"/>
                </a:lnTo>
                <a:lnTo>
                  <a:pt x="3462" y="329"/>
                </a:lnTo>
                <a:lnTo>
                  <a:pt x="3461" y="311"/>
                </a:lnTo>
                <a:lnTo>
                  <a:pt x="3457" y="293"/>
                </a:lnTo>
                <a:lnTo>
                  <a:pt x="3454" y="276"/>
                </a:lnTo>
                <a:lnTo>
                  <a:pt x="3449" y="259"/>
                </a:lnTo>
                <a:lnTo>
                  <a:pt x="3444" y="243"/>
                </a:lnTo>
                <a:lnTo>
                  <a:pt x="3437" y="226"/>
                </a:lnTo>
                <a:lnTo>
                  <a:pt x="3430" y="210"/>
                </a:lnTo>
                <a:lnTo>
                  <a:pt x="3422" y="194"/>
                </a:lnTo>
                <a:lnTo>
                  <a:pt x="3414" y="178"/>
                </a:lnTo>
                <a:lnTo>
                  <a:pt x="3404" y="163"/>
                </a:lnTo>
                <a:lnTo>
                  <a:pt x="3394" y="148"/>
                </a:lnTo>
                <a:lnTo>
                  <a:pt x="3382" y="134"/>
                </a:lnTo>
                <a:lnTo>
                  <a:pt x="3370" y="120"/>
                </a:lnTo>
                <a:lnTo>
                  <a:pt x="3357" y="106"/>
                </a:lnTo>
                <a:lnTo>
                  <a:pt x="3357" y="10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EC8B37-AF59-4E96-B36D-87B4BAA786E2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313576" y="8898891"/>
            <a:ext cx="3840480" cy="511175"/>
          </a:xfrm>
        </p:spPr>
        <p:txBody>
          <a:bodyPr/>
          <a:lstStyle/>
          <a:p>
            <a:fld id="{F704CDE5-438C-4C05-B60A-1B9DECDD7A6F}" type="datetime1">
              <a:rPr lang="ru-RU" smtClean="0">
                <a:solidFill>
                  <a:srgbClr val="CBCBCA">
                    <a:lumMod val="75000"/>
                  </a:srgbClr>
                </a:solidFill>
              </a:rPr>
              <a:pPr/>
              <a:t>08.09.2023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1B75BA-DEDF-49E5-BC2F-916385CD697B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2824528" y="8898891"/>
            <a:ext cx="3840480" cy="511175"/>
          </a:xfrm>
        </p:spPr>
        <p:txBody>
          <a:bodyPr/>
          <a:lstStyle/>
          <a:p>
            <a:fld id="{1513E0AC-52E7-4010-9D37-41BE99808841}" type="slidenum">
              <a:rPr lang="en-US" smtClean="0">
                <a:solidFill>
                  <a:srgbClr val="CBCBCA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85A81A-1E89-48A3-B9FE-0A671F3D4FCF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5636434" y="2985998"/>
            <a:ext cx="5795933" cy="3342640"/>
          </a:xfrm>
        </p:spPr>
        <p:txBody>
          <a:bodyPr anchor="b">
            <a:normAutofit/>
          </a:bodyPr>
          <a:lstStyle>
            <a:lvl1pPr algn="ctr">
              <a:defRPr sz="6160" b="1" cap="all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24D900-431F-491D-97C0-C35C95FD11BB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5636434" y="6457544"/>
            <a:ext cx="5795933" cy="1651318"/>
          </a:xfrm>
        </p:spPr>
        <p:txBody>
          <a:bodyPr/>
          <a:lstStyle>
            <a:lvl1pPr marL="0" indent="0" algn="ctr">
              <a:buNone/>
              <a:defRPr sz="3360">
                <a:solidFill>
                  <a:schemeClr val="accent3"/>
                </a:solidFill>
              </a:defRPr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606D5F-434D-4332-8327-E038BF5075D5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3353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B683791-B08D-4D22-BC4D-C4A4801F3C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76" b="3704"/>
          <a:stretch/>
        </p:blipFill>
        <p:spPr>
          <a:xfrm>
            <a:off x="0" y="2773364"/>
            <a:ext cx="8793112" cy="6827836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922D83D-C3DE-4EFB-B111-61AC936BAD5E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579094" y="0"/>
            <a:ext cx="15489706" cy="9601200"/>
          </a:xfrm>
          <a:custGeom>
            <a:avLst/>
            <a:gdLst>
              <a:gd name="connsiteX0" fmla="*/ 5629596 w 11064076"/>
              <a:gd name="connsiteY0" fmla="*/ 0 h 6858001"/>
              <a:gd name="connsiteX1" fmla="*/ 0 w 11064076"/>
              <a:gd name="connsiteY1" fmla="*/ 0 h 6858001"/>
              <a:gd name="connsiteX2" fmla="*/ 0 w 11064076"/>
              <a:gd name="connsiteY2" fmla="*/ 6858000 h 6858001"/>
              <a:gd name="connsiteX3" fmla="*/ 10123449 w 11064076"/>
              <a:gd name="connsiteY3" fmla="*/ 6858000 h 6858001"/>
              <a:gd name="connsiteX4" fmla="*/ 10123450 w 11064076"/>
              <a:gd name="connsiteY4" fmla="*/ 6858001 h 6858001"/>
              <a:gd name="connsiteX5" fmla="*/ 10581615 w 11064076"/>
              <a:gd name="connsiteY5" fmla="*/ 6858001 h 6858001"/>
              <a:gd name="connsiteX6" fmla="*/ 10581614 w 11064076"/>
              <a:gd name="connsiteY6" fmla="*/ 6858000 h 6858001"/>
              <a:gd name="connsiteX7" fmla="*/ 11064076 w 11064076"/>
              <a:gd name="connsiteY7" fmla="*/ 6858000 h 6858001"/>
              <a:gd name="connsiteX8" fmla="*/ 9033747 w 11064076"/>
              <a:gd name="connsiteY8" fmla="*/ 4816793 h 6858001"/>
              <a:gd name="connsiteX9" fmla="*/ 9018378 w 11064076"/>
              <a:gd name="connsiteY9" fmla="*/ 4803458 h 6858001"/>
              <a:gd name="connsiteX10" fmla="*/ 9003009 w 11064076"/>
              <a:gd name="connsiteY10" fmla="*/ 4789488 h 6858001"/>
              <a:gd name="connsiteX11" fmla="*/ 8987975 w 11064076"/>
              <a:gd name="connsiteY11" fmla="*/ 4775518 h 6858001"/>
              <a:gd name="connsiteX12" fmla="*/ 8973274 w 11064076"/>
              <a:gd name="connsiteY12" fmla="*/ 4760913 h 6858001"/>
              <a:gd name="connsiteX13" fmla="*/ 8039129 w 11064076"/>
              <a:gd name="connsiteY13" fmla="*/ 3828098 h 6858001"/>
              <a:gd name="connsiteX14" fmla="*/ 8034451 w 11064076"/>
              <a:gd name="connsiteY14" fmla="*/ 3823335 h 6858001"/>
              <a:gd name="connsiteX15" fmla="*/ 8030443 w 11064076"/>
              <a:gd name="connsiteY15" fmla="*/ 3818573 h 6858001"/>
              <a:gd name="connsiteX16" fmla="*/ 8026767 w 11064076"/>
              <a:gd name="connsiteY16" fmla="*/ 3813493 h 6858001"/>
              <a:gd name="connsiteX17" fmla="*/ 8023426 w 11064076"/>
              <a:gd name="connsiteY17" fmla="*/ 3808413 h 6858001"/>
              <a:gd name="connsiteX18" fmla="*/ 8020086 w 11064076"/>
              <a:gd name="connsiteY18" fmla="*/ 3803333 h 6858001"/>
              <a:gd name="connsiteX19" fmla="*/ 8017079 w 11064076"/>
              <a:gd name="connsiteY19" fmla="*/ 3798253 h 6858001"/>
              <a:gd name="connsiteX20" fmla="*/ 8014406 w 11064076"/>
              <a:gd name="connsiteY20" fmla="*/ 3792855 h 6858001"/>
              <a:gd name="connsiteX21" fmla="*/ 8012067 w 11064076"/>
              <a:gd name="connsiteY21" fmla="*/ 3787458 h 6858001"/>
              <a:gd name="connsiteX22" fmla="*/ 8010062 w 11064076"/>
              <a:gd name="connsiteY22" fmla="*/ 3781425 h 6858001"/>
              <a:gd name="connsiteX23" fmla="*/ 8008392 w 11064076"/>
              <a:gd name="connsiteY23" fmla="*/ 3776028 h 6858001"/>
              <a:gd name="connsiteX24" fmla="*/ 8006387 w 11064076"/>
              <a:gd name="connsiteY24" fmla="*/ 3770313 h 6858001"/>
              <a:gd name="connsiteX25" fmla="*/ 8005051 w 11064076"/>
              <a:gd name="connsiteY25" fmla="*/ 3764280 h 6858001"/>
              <a:gd name="connsiteX26" fmla="*/ 8004049 w 11064076"/>
              <a:gd name="connsiteY26" fmla="*/ 3758565 h 6858001"/>
              <a:gd name="connsiteX27" fmla="*/ 8003380 w 11064076"/>
              <a:gd name="connsiteY27" fmla="*/ 3752850 h 6858001"/>
              <a:gd name="connsiteX28" fmla="*/ 8003046 w 11064076"/>
              <a:gd name="connsiteY28" fmla="*/ 3746818 h 6858001"/>
              <a:gd name="connsiteX29" fmla="*/ 8003046 w 11064076"/>
              <a:gd name="connsiteY29" fmla="*/ 3740785 h 6858001"/>
              <a:gd name="connsiteX30" fmla="*/ 8003046 w 11064076"/>
              <a:gd name="connsiteY30" fmla="*/ 3735070 h 6858001"/>
              <a:gd name="connsiteX31" fmla="*/ 8003380 w 11064076"/>
              <a:gd name="connsiteY31" fmla="*/ 3729038 h 6858001"/>
              <a:gd name="connsiteX32" fmla="*/ 8004049 w 11064076"/>
              <a:gd name="connsiteY32" fmla="*/ 3723323 h 6858001"/>
              <a:gd name="connsiteX33" fmla="*/ 8005051 w 11064076"/>
              <a:gd name="connsiteY33" fmla="*/ 3717608 h 6858001"/>
              <a:gd name="connsiteX34" fmla="*/ 8006387 w 11064076"/>
              <a:gd name="connsiteY34" fmla="*/ 3711575 h 6858001"/>
              <a:gd name="connsiteX35" fmla="*/ 8008392 w 11064076"/>
              <a:gd name="connsiteY35" fmla="*/ 3705860 h 6858001"/>
              <a:gd name="connsiteX36" fmla="*/ 8010062 w 11064076"/>
              <a:gd name="connsiteY36" fmla="*/ 3700145 h 6858001"/>
              <a:gd name="connsiteX37" fmla="*/ 8012067 w 11064076"/>
              <a:gd name="connsiteY37" fmla="*/ 3694748 h 6858001"/>
              <a:gd name="connsiteX38" fmla="*/ 8014406 w 11064076"/>
              <a:gd name="connsiteY38" fmla="*/ 3689033 h 6858001"/>
              <a:gd name="connsiteX39" fmla="*/ 8017079 w 11064076"/>
              <a:gd name="connsiteY39" fmla="*/ 3683635 h 6858001"/>
              <a:gd name="connsiteX40" fmla="*/ 8020086 w 11064076"/>
              <a:gd name="connsiteY40" fmla="*/ 3678238 h 6858001"/>
              <a:gd name="connsiteX41" fmla="*/ 8023426 w 11064076"/>
              <a:gd name="connsiteY41" fmla="*/ 3673158 h 6858001"/>
              <a:gd name="connsiteX42" fmla="*/ 8026767 w 11064076"/>
              <a:gd name="connsiteY42" fmla="*/ 3668078 h 6858001"/>
              <a:gd name="connsiteX43" fmla="*/ 8030443 w 11064076"/>
              <a:gd name="connsiteY43" fmla="*/ 3662998 h 6858001"/>
              <a:gd name="connsiteX44" fmla="*/ 8034451 w 11064076"/>
              <a:gd name="connsiteY44" fmla="*/ 3658235 h 6858001"/>
              <a:gd name="connsiteX45" fmla="*/ 8039129 w 11064076"/>
              <a:gd name="connsiteY45" fmla="*/ 3653790 h 6858001"/>
              <a:gd name="connsiteX46" fmla="*/ 8043807 w 11064076"/>
              <a:gd name="connsiteY46" fmla="*/ 3649345 h 6858001"/>
              <a:gd name="connsiteX47" fmla="*/ 8048149 w 11064076"/>
              <a:gd name="connsiteY47" fmla="*/ 3645218 h 6858001"/>
              <a:gd name="connsiteX48" fmla="*/ 8053495 w 11064076"/>
              <a:gd name="connsiteY48" fmla="*/ 3641725 h 6858001"/>
              <a:gd name="connsiteX49" fmla="*/ 8058507 w 11064076"/>
              <a:gd name="connsiteY49" fmla="*/ 3638233 h 6858001"/>
              <a:gd name="connsiteX50" fmla="*/ 8063852 w 11064076"/>
              <a:gd name="connsiteY50" fmla="*/ 3634740 h 6858001"/>
              <a:gd name="connsiteX51" fmla="*/ 8068864 w 11064076"/>
              <a:gd name="connsiteY51" fmla="*/ 3631883 h 6858001"/>
              <a:gd name="connsiteX52" fmla="*/ 8074209 w 11064076"/>
              <a:gd name="connsiteY52" fmla="*/ 3629343 h 6858001"/>
              <a:gd name="connsiteX53" fmla="*/ 8079889 w 11064076"/>
              <a:gd name="connsiteY53" fmla="*/ 3626803 h 6858001"/>
              <a:gd name="connsiteX54" fmla="*/ 8085569 w 11064076"/>
              <a:gd name="connsiteY54" fmla="*/ 3624898 h 6858001"/>
              <a:gd name="connsiteX55" fmla="*/ 8091248 w 11064076"/>
              <a:gd name="connsiteY55" fmla="*/ 3622675 h 6858001"/>
              <a:gd name="connsiteX56" fmla="*/ 8096928 w 11064076"/>
              <a:gd name="connsiteY56" fmla="*/ 3621405 h 6858001"/>
              <a:gd name="connsiteX57" fmla="*/ 8102608 w 11064076"/>
              <a:gd name="connsiteY57" fmla="*/ 3620135 h 6858001"/>
              <a:gd name="connsiteX58" fmla="*/ 8108622 w 11064076"/>
              <a:gd name="connsiteY58" fmla="*/ 3618865 h 6858001"/>
              <a:gd name="connsiteX59" fmla="*/ 8114301 w 11064076"/>
              <a:gd name="connsiteY59" fmla="*/ 3618230 h 6858001"/>
              <a:gd name="connsiteX60" fmla="*/ 8120315 w 11064076"/>
              <a:gd name="connsiteY60" fmla="*/ 3617913 h 6858001"/>
              <a:gd name="connsiteX61" fmla="*/ 8126329 w 11064076"/>
              <a:gd name="connsiteY61" fmla="*/ 3617595 h 6858001"/>
              <a:gd name="connsiteX62" fmla="*/ 8132343 w 11064076"/>
              <a:gd name="connsiteY62" fmla="*/ 3617913 h 6858001"/>
              <a:gd name="connsiteX63" fmla="*/ 8138023 w 11064076"/>
              <a:gd name="connsiteY63" fmla="*/ 3618230 h 6858001"/>
              <a:gd name="connsiteX64" fmla="*/ 8143702 w 11064076"/>
              <a:gd name="connsiteY64" fmla="*/ 3618865 h 6858001"/>
              <a:gd name="connsiteX65" fmla="*/ 8149716 w 11064076"/>
              <a:gd name="connsiteY65" fmla="*/ 3620135 h 6858001"/>
              <a:gd name="connsiteX66" fmla="*/ 8155396 w 11064076"/>
              <a:gd name="connsiteY66" fmla="*/ 3621405 h 6858001"/>
              <a:gd name="connsiteX67" fmla="*/ 8161410 w 11064076"/>
              <a:gd name="connsiteY67" fmla="*/ 3622675 h 6858001"/>
              <a:gd name="connsiteX68" fmla="*/ 8167089 w 11064076"/>
              <a:gd name="connsiteY68" fmla="*/ 3624898 h 6858001"/>
              <a:gd name="connsiteX69" fmla="*/ 8172769 w 11064076"/>
              <a:gd name="connsiteY69" fmla="*/ 3626803 h 6858001"/>
              <a:gd name="connsiteX70" fmla="*/ 8178115 w 11064076"/>
              <a:gd name="connsiteY70" fmla="*/ 3629343 h 6858001"/>
              <a:gd name="connsiteX71" fmla="*/ 8183460 w 11064076"/>
              <a:gd name="connsiteY71" fmla="*/ 3631883 h 6858001"/>
              <a:gd name="connsiteX72" fmla="*/ 8188806 w 11064076"/>
              <a:gd name="connsiteY72" fmla="*/ 3634740 h 6858001"/>
              <a:gd name="connsiteX73" fmla="*/ 8194151 w 11064076"/>
              <a:gd name="connsiteY73" fmla="*/ 3638233 h 6858001"/>
              <a:gd name="connsiteX74" fmla="*/ 8199163 w 11064076"/>
              <a:gd name="connsiteY74" fmla="*/ 3641725 h 6858001"/>
              <a:gd name="connsiteX75" fmla="*/ 8204175 w 11064076"/>
              <a:gd name="connsiteY75" fmla="*/ 3645218 h 6858001"/>
              <a:gd name="connsiteX76" fmla="*/ 8208852 w 11064076"/>
              <a:gd name="connsiteY76" fmla="*/ 3649345 h 6858001"/>
              <a:gd name="connsiteX77" fmla="*/ 8213529 w 11064076"/>
              <a:gd name="connsiteY77" fmla="*/ 3653790 h 6858001"/>
              <a:gd name="connsiteX78" fmla="*/ 8882399 w 11064076"/>
              <a:gd name="connsiteY78" fmla="*/ 4321810 h 6858001"/>
              <a:gd name="connsiteX79" fmla="*/ 8886742 w 11064076"/>
              <a:gd name="connsiteY79" fmla="*/ 4325938 h 6858001"/>
              <a:gd name="connsiteX80" fmla="*/ 8891420 w 11064076"/>
              <a:gd name="connsiteY80" fmla="*/ 4330065 h 6858001"/>
              <a:gd name="connsiteX81" fmla="*/ 8896765 w 11064076"/>
              <a:gd name="connsiteY81" fmla="*/ 4334193 h 6858001"/>
              <a:gd name="connsiteX82" fmla="*/ 8901443 w 11064076"/>
              <a:gd name="connsiteY82" fmla="*/ 4337685 h 6858001"/>
              <a:gd name="connsiteX83" fmla="*/ 8906788 w 11064076"/>
              <a:gd name="connsiteY83" fmla="*/ 4340860 h 6858001"/>
              <a:gd name="connsiteX84" fmla="*/ 8912134 w 11064076"/>
              <a:gd name="connsiteY84" fmla="*/ 4343718 h 6858001"/>
              <a:gd name="connsiteX85" fmla="*/ 8917480 w 11064076"/>
              <a:gd name="connsiteY85" fmla="*/ 4346575 h 6858001"/>
              <a:gd name="connsiteX86" fmla="*/ 8923159 w 11064076"/>
              <a:gd name="connsiteY86" fmla="*/ 4349115 h 6858001"/>
              <a:gd name="connsiteX87" fmla="*/ 8928505 w 11064076"/>
              <a:gd name="connsiteY87" fmla="*/ 4351020 h 6858001"/>
              <a:gd name="connsiteX88" fmla="*/ 8934185 w 11064076"/>
              <a:gd name="connsiteY88" fmla="*/ 4352608 h 6858001"/>
              <a:gd name="connsiteX89" fmla="*/ 8940198 w 11064076"/>
              <a:gd name="connsiteY89" fmla="*/ 4354513 h 6858001"/>
              <a:gd name="connsiteX90" fmla="*/ 8945878 w 11064076"/>
              <a:gd name="connsiteY90" fmla="*/ 4355465 h 6858001"/>
              <a:gd name="connsiteX91" fmla="*/ 8951892 w 11064076"/>
              <a:gd name="connsiteY91" fmla="*/ 4356418 h 6858001"/>
              <a:gd name="connsiteX92" fmla="*/ 8957572 w 11064076"/>
              <a:gd name="connsiteY92" fmla="*/ 4357053 h 6858001"/>
              <a:gd name="connsiteX93" fmla="*/ 8963585 w 11064076"/>
              <a:gd name="connsiteY93" fmla="*/ 4358005 h 6858001"/>
              <a:gd name="connsiteX94" fmla="*/ 8969265 w 11064076"/>
              <a:gd name="connsiteY94" fmla="*/ 4358005 h 6858001"/>
              <a:gd name="connsiteX95" fmla="*/ 8975279 w 11064076"/>
              <a:gd name="connsiteY95" fmla="*/ 4358005 h 6858001"/>
              <a:gd name="connsiteX96" fmla="*/ 8981293 w 11064076"/>
              <a:gd name="connsiteY96" fmla="*/ 4357053 h 6858001"/>
              <a:gd name="connsiteX97" fmla="*/ 8986972 w 11064076"/>
              <a:gd name="connsiteY97" fmla="*/ 4356418 h 6858001"/>
              <a:gd name="connsiteX98" fmla="*/ 8992986 w 11064076"/>
              <a:gd name="connsiteY98" fmla="*/ 4355465 h 6858001"/>
              <a:gd name="connsiteX99" fmla="*/ 8998666 w 11064076"/>
              <a:gd name="connsiteY99" fmla="*/ 4354513 h 6858001"/>
              <a:gd name="connsiteX100" fmla="*/ 9004680 w 11064076"/>
              <a:gd name="connsiteY100" fmla="*/ 4352608 h 6858001"/>
              <a:gd name="connsiteX101" fmla="*/ 9010025 w 11064076"/>
              <a:gd name="connsiteY101" fmla="*/ 4351020 h 6858001"/>
              <a:gd name="connsiteX102" fmla="*/ 9015705 w 11064076"/>
              <a:gd name="connsiteY102" fmla="*/ 4349115 h 6858001"/>
              <a:gd name="connsiteX103" fmla="*/ 9021385 w 11064076"/>
              <a:gd name="connsiteY103" fmla="*/ 4346575 h 6858001"/>
              <a:gd name="connsiteX104" fmla="*/ 9026730 w 11064076"/>
              <a:gd name="connsiteY104" fmla="*/ 4343718 h 6858001"/>
              <a:gd name="connsiteX105" fmla="*/ 9032076 w 11064076"/>
              <a:gd name="connsiteY105" fmla="*/ 4340860 h 6858001"/>
              <a:gd name="connsiteX106" fmla="*/ 9037088 w 11064076"/>
              <a:gd name="connsiteY106" fmla="*/ 4337685 h 6858001"/>
              <a:gd name="connsiteX107" fmla="*/ 9042099 w 11064076"/>
              <a:gd name="connsiteY107" fmla="*/ 4334193 h 6858001"/>
              <a:gd name="connsiteX108" fmla="*/ 9047445 w 11064076"/>
              <a:gd name="connsiteY108" fmla="*/ 4330065 h 6858001"/>
              <a:gd name="connsiteX109" fmla="*/ 9051788 w 11064076"/>
              <a:gd name="connsiteY109" fmla="*/ 4325938 h 6858001"/>
              <a:gd name="connsiteX110" fmla="*/ 9056465 w 11064076"/>
              <a:gd name="connsiteY110" fmla="*/ 4321810 h 6858001"/>
              <a:gd name="connsiteX111" fmla="*/ 9061143 w 11064076"/>
              <a:gd name="connsiteY111" fmla="*/ 4317048 h 6858001"/>
              <a:gd name="connsiteX112" fmla="*/ 9065152 w 11064076"/>
              <a:gd name="connsiteY112" fmla="*/ 4312285 h 6858001"/>
              <a:gd name="connsiteX113" fmla="*/ 9068827 w 11064076"/>
              <a:gd name="connsiteY113" fmla="*/ 4307523 h 6858001"/>
              <a:gd name="connsiteX114" fmla="*/ 9072168 w 11064076"/>
              <a:gd name="connsiteY114" fmla="*/ 4302443 h 6858001"/>
              <a:gd name="connsiteX115" fmla="*/ 9075509 w 11064076"/>
              <a:gd name="connsiteY115" fmla="*/ 4297363 h 6858001"/>
              <a:gd name="connsiteX116" fmla="*/ 9078516 w 11064076"/>
              <a:gd name="connsiteY116" fmla="*/ 4292283 h 6858001"/>
              <a:gd name="connsiteX117" fmla="*/ 9081189 w 11064076"/>
              <a:gd name="connsiteY117" fmla="*/ 4286568 h 6858001"/>
              <a:gd name="connsiteX118" fmla="*/ 9083528 w 11064076"/>
              <a:gd name="connsiteY118" fmla="*/ 4281170 h 6858001"/>
              <a:gd name="connsiteX119" fmla="*/ 9085532 w 11064076"/>
              <a:gd name="connsiteY119" fmla="*/ 4275455 h 6858001"/>
              <a:gd name="connsiteX120" fmla="*/ 9087537 w 11064076"/>
              <a:gd name="connsiteY120" fmla="*/ 4270058 h 6858001"/>
              <a:gd name="connsiteX121" fmla="*/ 9089207 w 11064076"/>
              <a:gd name="connsiteY121" fmla="*/ 4264025 h 6858001"/>
              <a:gd name="connsiteX122" fmla="*/ 9090544 w 11064076"/>
              <a:gd name="connsiteY122" fmla="*/ 4258310 h 6858001"/>
              <a:gd name="connsiteX123" fmla="*/ 9091546 w 11064076"/>
              <a:gd name="connsiteY123" fmla="*/ 4252595 h 6858001"/>
              <a:gd name="connsiteX124" fmla="*/ 9092214 w 11064076"/>
              <a:gd name="connsiteY124" fmla="*/ 4246563 h 6858001"/>
              <a:gd name="connsiteX125" fmla="*/ 9092548 w 11064076"/>
              <a:gd name="connsiteY125" fmla="*/ 4240848 h 6858001"/>
              <a:gd name="connsiteX126" fmla="*/ 9092548 w 11064076"/>
              <a:gd name="connsiteY126" fmla="*/ 4234815 h 6858001"/>
              <a:gd name="connsiteX127" fmla="*/ 9092548 w 11064076"/>
              <a:gd name="connsiteY127" fmla="*/ 4228783 h 6858001"/>
              <a:gd name="connsiteX128" fmla="*/ 9092214 w 11064076"/>
              <a:gd name="connsiteY128" fmla="*/ 4223068 h 6858001"/>
              <a:gd name="connsiteX129" fmla="*/ 9091546 w 11064076"/>
              <a:gd name="connsiteY129" fmla="*/ 4217353 h 6858001"/>
              <a:gd name="connsiteX130" fmla="*/ 9090544 w 11064076"/>
              <a:gd name="connsiteY130" fmla="*/ 4211320 h 6858001"/>
              <a:gd name="connsiteX131" fmla="*/ 9089207 w 11064076"/>
              <a:gd name="connsiteY131" fmla="*/ 4205605 h 6858001"/>
              <a:gd name="connsiteX132" fmla="*/ 9087537 w 11064076"/>
              <a:gd name="connsiteY132" fmla="*/ 4199890 h 6858001"/>
              <a:gd name="connsiteX133" fmla="*/ 9085532 w 11064076"/>
              <a:gd name="connsiteY133" fmla="*/ 4194175 h 6858001"/>
              <a:gd name="connsiteX134" fmla="*/ 9083528 w 11064076"/>
              <a:gd name="connsiteY134" fmla="*/ 4188460 h 6858001"/>
              <a:gd name="connsiteX135" fmla="*/ 9081189 w 11064076"/>
              <a:gd name="connsiteY135" fmla="*/ 4183063 h 6858001"/>
              <a:gd name="connsiteX136" fmla="*/ 9078516 w 11064076"/>
              <a:gd name="connsiteY136" fmla="*/ 4177665 h 6858001"/>
              <a:gd name="connsiteX137" fmla="*/ 9075509 w 11064076"/>
              <a:gd name="connsiteY137" fmla="*/ 4172268 h 6858001"/>
              <a:gd name="connsiteX138" fmla="*/ 9072168 w 11064076"/>
              <a:gd name="connsiteY138" fmla="*/ 4166870 h 6858001"/>
              <a:gd name="connsiteX139" fmla="*/ 9068827 w 11064076"/>
              <a:gd name="connsiteY139" fmla="*/ 4161790 h 6858001"/>
              <a:gd name="connsiteX140" fmla="*/ 9065152 w 11064076"/>
              <a:gd name="connsiteY140" fmla="*/ 4157028 h 6858001"/>
              <a:gd name="connsiteX141" fmla="*/ 9061143 w 11064076"/>
              <a:gd name="connsiteY141" fmla="*/ 4152265 h 6858001"/>
              <a:gd name="connsiteX142" fmla="*/ 9056465 w 11064076"/>
              <a:gd name="connsiteY142" fmla="*/ 4147820 h 6858001"/>
              <a:gd name="connsiteX143" fmla="*/ 8669577 w 11064076"/>
              <a:gd name="connsiteY143" fmla="*/ 3761423 h 6858001"/>
              <a:gd name="connsiteX144" fmla="*/ 8473460 w 11064076"/>
              <a:gd name="connsiteY144" fmla="*/ 3565208 h 6858001"/>
              <a:gd name="connsiteX145" fmla="*/ 8468782 w 11064076"/>
              <a:gd name="connsiteY145" fmla="*/ 3560445 h 6858001"/>
              <a:gd name="connsiteX146" fmla="*/ 8464773 w 11064076"/>
              <a:gd name="connsiteY146" fmla="*/ 3555683 h 6858001"/>
              <a:gd name="connsiteX147" fmla="*/ 8461098 w 11064076"/>
              <a:gd name="connsiteY147" fmla="*/ 3550920 h 6858001"/>
              <a:gd name="connsiteX148" fmla="*/ 8457423 w 11064076"/>
              <a:gd name="connsiteY148" fmla="*/ 3545840 h 6858001"/>
              <a:gd name="connsiteX149" fmla="*/ 8454082 w 11064076"/>
              <a:gd name="connsiteY149" fmla="*/ 3540760 h 6858001"/>
              <a:gd name="connsiteX150" fmla="*/ 8451409 w 11064076"/>
              <a:gd name="connsiteY150" fmla="*/ 3535680 h 6858001"/>
              <a:gd name="connsiteX151" fmla="*/ 8448736 w 11064076"/>
              <a:gd name="connsiteY151" fmla="*/ 3529965 h 6858001"/>
              <a:gd name="connsiteX152" fmla="*/ 8446398 w 11064076"/>
              <a:gd name="connsiteY152" fmla="*/ 3524568 h 6858001"/>
              <a:gd name="connsiteX153" fmla="*/ 8444059 w 11064076"/>
              <a:gd name="connsiteY153" fmla="*/ 3518853 h 6858001"/>
              <a:gd name="connsiteX154" fmla="*/ 8442054 w 11064076"/>
              <a:gd name="connsiteY154" fmla="*/ 3513455 h 6858001"/>
              <a:gd name="connsiteX155" fmla="*/ 8440718 w 11064076"/>
              <a:gd name="connsiteY155" fmla="*/ 3507423 h 6858001"/>
              <a:gd name="connsiteX156" fmla="*/ 8439382 w 11064076"/>
              <a:gd name="connsiteY156" fmla="*/ 3501708 h 6858001"/>
              <a:gd name="connsiteX157" fmla="*/ 8438379 w 11064076"/>
              <a:gd name="connsiteY157" fmla="*/ 3495993 h 6858001"/>
              <a:gd name="connsiteX158" fmla="*/ 8437711 w 11064076"/>
              <a:gd name="connsiteY158" fmla="*/ 3489960 h 6858001"/>
              <a:gd name="connsiteX159" fmla="*/ 8437377 w 11064076"/>
              <a:gd name="connsiteY159" fmla="*/ 3484245 h 6858001"/>
              <a:gd name="connsiteX160" fmla="*/ 8437043 w 11064076"/>
              <a:gd name="connsiteY160" fmla="*/ 3478213 h 6858001"/>
              <a:gd name="connsiteX161" fmla="*/ 8437377 w 11064076"/>
              <a:gd name="connsiteY161" fmla="*/ 3472180 h 6858001"/>
              <a:gd name="connsiteX162" fmla="*/ 8437711 w 11064076"/>
              <a:gd name="connsiteY162" fmla="*/ 3466465 h 6858001"/>
              <a:gd name="connsiteX163" fmla="*/ 8438379 w 11064076"/>
              <a:gd name="connsiteY163" fmla="*/ 3460750 h 6858001"/>
              <a:gd name="connsiteX164" fmla="*/ 8439382 w 11064076"/>
              <a:gd name="connsiteY164" fmla="*/ 3454718 h 6858001"/>
              <a:gd name="connsiteX165" fmla="*/ 8440718 w 11064076"/>
              <a:gd name="connsiteY165" fmla="*/ 3449003 h 6858001"/>
              <a:gd name="connsiteX166" fmla="*/ 8442054 w 11064076"/>
              <a:gd name="connsiteY166" fmla="*/ 3443288 h 6858001"/>
              <a:gd name="connsiteX167" fmla="*/ 8444059 w 11064076"/>
              <a:gd name="connsiteY167" fmla="*/ 3437255 h 6858001"/>
              <a:gd name="connsiteX168" fmla="*/ 8446398 w 11064076"/>
              <a:gd name="connsiteY168" fmla="*/ 3431858 h 6858001"/>
              <a:gd name="connsiteX169" fmla="*/ 8448736 w 11064076"/>
              <a:gd name="connsiteY169" fmla="*/ 3426460 h 6858001"/>
              <a:gd name="connsiteX170" fmla="*/ 8451409 w 11064076"/>
              <a:gd name="connsiteY170" fmla="*/ 3421063 h 6858001"/>
              <a:gd name="connsiteX171" fmla="*/ 8454082 w 11064076"/>
              <a:gd name="connsiteY171" fmla="*/ 3415348 h 6858001"/>
              <a:gd name="connsiteX172" fmla="*/ 8457423 w 11064076"/>
              <a:gd name="connsiteY172" fmla="*/ 3410268 h 6858001"/>
              <a:gd name="connsiteX173" fmla="*/ 8461098 w 11064076"/>
              <a:gd name="connsiteY173" fmla="*/ 3405505 h 6858001"/>
              <a:gd name="connsiteX174" fmla="*/ 8464773 w 11064076"/>
              <a:gd name="connsiteY174" fmla="*/ 3400425 h 6858001"/>
              <a:gd name="connsiteX175" fmla="*/ 8468782 w 11064076"/>
              <a:gd name="connsiteY175" fmla="*/ 3395663 h 6858001"/>
              <a:gd name="connsiteX176" fmla="*/ 8473460 w 11064076"/>
              <a:gd name="connsiteY176" fmla="*/ 3391218 h 6858001"/>
              <a:gd name="connsiteX177" fmla="*/ 8477803 w 11064076"/>
              <a:gd name="connsiteY177" fmla="*/ 3386773 h 6858001"/>
              <a:gd name="connsiteX178" fmla="*/ 8482481 w 11064076"/>
              <a:gd name="connsiteY178" fmla="*/ 3382645 h 6858001"/>
              <a:gd name="connsiteX179" fmla="*/ 8487826 w 11064076"/>
              <a:gd name="connsiteY179" fmla="*/ 3378835 h 6858001"/>
              <a:gd name="connsiteX180" fmla="*/ 8492504 w 11064076"/>
              <a:gd name="connsiteY180" fmla="*/ 3375343 h 6858001"/>
              <a:gd name="connsiteX181" fmla="*/ 8497515 w 11064076"/>
              <a:gd name="connsiteY181" fmla="*/ 3372168 h 6858001"/>
              <a:gd name="connsiteX182" fmla="*/ 8503195 w 11064076"/>
              <a:gd name="connsiteY182" fmla="*/ 3369310 h 6858001"/>
              <a:gd name="connsiteX183" fmla="*/ 8508540 w 11064076"/>
              <a:gd name="connsiteY183" fmla="*/ 3366453 h 6858001"/>
              <a:gd name="connsiteX184" fmla="*/ 8514220 w 11064076"/>
              <a:gd name="connsiteY184" fmla="*/ 3364230 h 6858001"/>
              <a:gd name="connsiteX185" fmla="*/ 8519566 w 11064076"/>
              <a:gd name="connsiteY185" fmla="*/ 3362008 h 6858001"/>
              <a:gd name="connsiteX186" fmla="*/ 8525245 w 11064076"/>
              <a:gd name="connsiteY186" fmla="*/ 3360103 h 6858001"/>
              <a:gd name="connsiteX187" fmla="*/ 8531259 w 11064076"/>
              <a:gd name="connsiteY187" fmla="*/ 3358833 h 6858001"/>
              <a:gd name="connsiteX188" fmla="*/ 8536939 w 11064076"/>
              <a:gd name="connsiteY188" fmla="*/ 3357245 h 6858001"/>
              <a:gd name="connsiteX189" fmla="*/ 8542953 w 11064076"/>
              <a:gd name="connsiteY189" fmla="*/ 3356293 h 6858001"/>
              <a:gd name="connsiteX190" fmla="*/ 8548632 w 11064076"/>
              <a:gd name="connsiteY190" fmla="*/ 3355658 h 6858001"/>
              <a:gd name="connsiteX191" fmla="*/ 8554646 w 11064076"/>
              <a:gd name="connsiteY191" fmla="*/ 3355340 h 6858001"/>
              <a:gd name="connsiteX192" fmla="*/ 8560326 w 11064076"/>
              <a:gd name="connsiteY192" fmla="*/ 3355023 h 6858001"/>
              <a:gd name="connsiteX193" fmla="*/ 8566340 w 11064076"/>
              <a:gd name="connsiteY193" fmla="*/ 3355340 h 6858001"/>
              <a:gd name="connsiteX194" fmla="*/ 8572354 w 11064076"/>
              <a:gd name="connsiteY194" fmla="*/ 3355658 h 6858001"/>
              <a:gd name="connsiteX195" fmla="*/ 8578033 w 11064076"/>
              <a:gd name="connsiteY195" fmla="*/ 3356293 h 6858001"/>
              <a:gd name="connsiteX196" fmla="*/ 8584047 w 11064076"/>
              <a:gd name="connsiteY196" fmla="*/ 3357245 h 6858001"/>
              <a:gd name="connsiteX197" fmla="*/ 8589727 w 11064076"/>
              <a:gd name="connsiteY197" fmla="*/ 3358833 h 6858001"/>
              <a:gd name="connsiteX198" fmla="*/ 8595741 w 11064076"/>
              <a:gd name="connsiteY198" fmla="*/ 3360103 h 6858001"/>
              <a:gd name="connsiteX199" fmla="*/ 8601086 w 11064076"/>
              <a:gd name="connsiteY199" fmla="*/ 3362008 h 6858001"/>
              <a:gd name="connsiteX200" fmla="*/ 8606766 w 11064076"/>
              <a:gd name="connsiteY200" fmla="*/ 3364230 h 6858001"/>
              <a:gd name="connsiteX201" fmla="*/ 8612446 w 11064076"/>
              <a:gd name="connsiteY201" fmla="*/ 3366453 h 6858001"/>
              <a:gd name="connsiteX202" fmla="*/ 8617791 w 11064076"/>
              <a:gd name="connsiteY202" fmla="*/ 3369310 h 6858001"/>
              <a:gd name="connsiteX203" fmla="*/ 8623137 w 11064076"/>
              <a:gd name="connsiteY203" fmla="*/ 3372168 h 6858001"/>
              <a:gd name="connsiteX204" fmla="*/ 8628148 w 11064076"/>
              <a:gd name="connsiteY204" fmla="*/ 3375343 h 6858001"/>
              <a:gd name="connsiteX205" fmla="*/ 8633160 w 11064076"/>
              <a:gd name="connsiteY205" fmla="*/ 3378835 h 6858001"/>
              <a:gd name="connsiteX206" fmla="*/ 8638171 w 11064076"/>
              <a:gd name="connsiteY206" fmla="*/ 3382645 h 6858001"/>
              <a:gd name="connsiteX207" fmla="*/ 8642849 w 11064076"/>
              <a:gd name="connsiteY207" fmla="*/ 3386773 h 6858001"/>
              <a:gd name="connsiteX208" fmla="*/ 8647526 w 11064076"/>
              <a:gd name="connsiteY208" fmla="*/ 3391218 h 6858001"/>
              <a:gd name="connsiteX209" fmla="*/ 8855003 w 11064076"/>
              <a:gd name="connsiteY209" fmla="*/ 3598228 h 6858001"/>
              <a:gd name="connsiteX210" fmla="*/ 8859346 w 11064076"/>
              <a:gd name="connsiteY210" fmla="*/ 3602673 h 6858001"/>
              <a:gd name="connsiteX211" fmla="*/ 8864023 w 11064076"/>
              <a:gd name="connsiteY211" fmla="*/ 3606800 h 6858001"/>
              <a:gd name="connsiteX212" fmla="*/ 8869369 w 11064076"/>
              <a:gd name="connsiteY212" fmla="*/ 3610610 h 6858001"/>
              <a:gd name="connsiteX213" fmla="*/ 8874046 w 11064076"/>
              <a:gd name="connsiteY213" fmla="*/ 3613785 h 6858001"/>
              <a:gd name="connsiteX214" fmla="*/ 8879392 w 11064076"/>
              <a:gd name="connsiteY214" fmla="*/ 3617278 h 6858001"/>
              <a:gd name="connsiteX215" fmla="*/ 8884738 w 11064076"/>
              <a:gd name="connsiteY215" fmla="*/ 3620135 h 6858001"/>
              <a:gd name="connsiteX216" fmla="*/ 8890083 w 11064076"/>
              <a:gd name="connsiteY216" fmla="*/ 3622675 h 6858001"/>
              <a:gd name="connsiteX217" fmla="*/ 8895763 w 11064076"/>
              <a:gd name="connsiteY217" fmla="*/ 3625215 h 6858001"/>
              <a:gd name="connsiteX218" fmla="*/ 8901109 w 11064076"/>
              <a:gd name="connsiteY218" fmla="*/ 3627120 h 6858001"/>
              <a:gd name="connsiteX219" fmla="*/ 8906788 w 11064076"/>
              <a:gd name="connsiteY219" fmla="*/ 3629343 h 6858001"/>
              <a:gd name="connsiteX220" fmla="*/ 8912802 w 11064076"/>
              <a:gd name="connsiteY220" fmla="*/ 3630613 h 6858001"/>
              <a:gd name="connsiteX221" fmla="*/ 8918482 w 11064076"/>
              <a:gd name="connsiteY221" fmla="*/ 3631883 h 6858001"/>
              <a:gd name="connsiteX222" fmla="*/ 8924496 w 11064076"/>
              <a:gd name="connsiteY222" fmla="*/ 3633153 h 6858001"/>
              <a:gd name="connsiteX223" fmla="*/ 8930175 w 11064076"/>
              <a:gd name="connsiteY223" fmla="*/ 3633788 h 6858001"/>
              <a:gd name="connsiteX224" fmla="*/ 8936189 w 11064076"/>
              <a:gd name="connsiteY224" fmla="*/ 3634105 h 6858001"/>
              <a:gd name="connsiteX225" fmla="*/ 8941869 w 11064076"/>
              <a:gd name="connsiteY225" fmla="*/ 3634105 h 6858001"/>
              <a:gd name="connsiteX226" fmla="*/ 8947883 w 11064076"/>
              <a:gd name="connsiteY226" fmla="*/ 3634105 h 6858001"/>
              <a:gd name="connsiteX227" fmla="*/ 8953897 w 11064076"/>
              <a:gd name="connsiteY227" fmla="*/ 3633788 h 6858001"/>
              <a:gd name="connsiteX228" fmla="*/ 8959576 w 11064076"/>
              <a:gd name="connsiteY228" fmla="*/ 3633153 h 6858001"/>
              <a:gd name="connsiteX229" fmla="*/ 8965590 w 11064076"/>
              <a:gd name="connsiteY229" fmla="*/ 3631883 h 6858001"/>
              <a:gd name="connsiteX230" fmla="*/ 8971270 w 11064076"/>
              <a:gd name="connsiteY230" fmla="*/ 3630613 h 6858001"/>
              <a:gd name="connsiteX231" fmla="*/ 8977284 w 11064076"/>
              <a:gd name="connsiteY231" fmla="*/ 3629343 h 6858001"/>
              <a:gd name="connsiteX232" fmla="*/ 8982629 w 11064076"/>
              <a:gd name="connsiteY232" fmla="*/ 3627120 h 6858001"/>
              <a:gd name="connsiteX233" fmla="*/ 8988309 w 11064076"/>
              <a:gd name="connsiteY233" fmla="*/ 3625215 h 6858001"/>
              <a:gd name="connsiteX234" fmla="*/ 8993989 w 11064076"/>
              <a:gd name="connsiteY234" fmla="*/ 3622675 h 6858001"/>
              <a:gd name="connsiteX235" fmla="*/ 8999334 w 11064076"/>
              <a:gd name="connsiteY235" fmla="*/ 3620135 h 6858001"/>
              <a:gd name="connsiteX236" fmla="*/ 9004680 w 11064076"/>
              <a:gd name="connsiteY236" fmla="*/ 3617278 h 6858001"/>
              <a:gd name="connsiteX237" fmla="*/ 9009691 w 11064076"/>
              <a:gd name="connsiteY237" fmla="*/ 3613785 h 6858001"/>
              <a:gd name="connsiteX238" fmla="*/ 9014703 w 11064076"/>
              <a:gd name="connsiteY238" fmla="*/ 3610610 h 6858001"/>
              <a:gd name="connsiteX239" fmla="*/ 9020048 w 11064076"/>
              <a:gd name="connsiteY239" fmla="*/ 3606800 h 6858001"/>
              <a:gd name="connsiteX240" fmla="*/ 9024392 w 11064076"/>
              <a:gd name="connsiteY240" fmla="*/ 3602673 h 6858001"/>
              <a:gd name="connsiteX241" fmla="*/ 9029069 w 11064076"/>
              <a:gd name="connsiteY241" fmla="*/ 3598228 h 6858001"/>
              <a:gd name="connsiteX242" fmla="*/ 9033747 w 11064076"/>
              <a:gd name="connsiteY242" fmla="*/ 3593783 h 6858001"/>
              <a:gd name="connsiteX243" fmla="*/ 9037756 w 11064076"/>
              <a:gd name="connsiteY243" fmla="*/ 3589020 h 6858001"/>
              <a:gd name="connsiteX244" fmla="*/ 9041431 w 11064076"/>
              <a:gd name="connsiteY244" fmla="*/ 3583940 h 6858001"/>
              <a:gd name="connsiteX245" fmla="*/ 9044772 w 11064076"/>
              <a:gd name="connsiteY245" fmla="*/ 3578860 h 6858001"/>
              <a:gd name="connsiteX246" fmla="*/ 9048113 w 11064076"/>
              <a:gd name="connsiteY246" fmla="*/ 3573463 h 6858001"/>
              <a:gd name="connsiteX247" fmla="*/ 9051120 w 11064076"/>
              <a:gd name="connsiteY247" fmla="*/ 3568383 h 6858001"/>
              <a:gd name="connsiteX248" fmla="*/ 9053793 w 11064076"/>
              <a:gd name="connsiteY248" fmla="*/ 3562985 h 6858001"/>
              <a:gd name="connsiteX249" fmla="*/ 9056131 w 11064076"/>
              <a:gd name="connsiteY249" fmla="*/ 3557588 h 6858001"/>
              <a:gd name="connsiteX250" fmla="*/ 9058136 w 11064076"/>
              <a:gd name="connsiteY250" fmla="*/ 3551873 h 6858001"/>
              <a:gd name="connsiteX251" fmla="*/ 9060141 w 11064076"/>
              <a:gd name="connsiteY251" fmla="*/ 3546158 h 6858001"/>
              <a:gd name="connsiteX252" fmla="*/ 9061811 w 11064076"/>
              <a:gd name="connsiteY252" fmla="*/ 3540443 h 6858001"/>
              <a:gd name="connsiteX253" fmla="*/ 9063147 w 11064076"/>
              <a:gd name="connsiteY253" fmla="*/ 3534410 h 6858001"/>
              <a:gd name="connsiteX254" fmla="*/ 9064150 w 11064076"/>
              <a:gd name="connsiteY254" fmla="*/ 3528695 h 6858001"/>
              <a:gd name="connsiteX255" fmla="*/ 9064818 w 11064076"/>
              <a:gd name="connsiteY255" fmla="*/ 3522980 h 6858001"/>
              <a:gd name="connsiteX256" fmla="*/ 9065152 w 11064076"/>
              <a:gd name="connsiteY256" fmla="*/ 3516948 h 6858001"/>
              <a:gd name="connsiteX257" fmla="*/ 9065152 w 11064076"/>
              <a:gd name="connsiteY257" fmla="*/ 3511233 h 6858001"/>
              <a:gd name="connsiteX258" fmla="*/ 9065152 w 11064076"/>
              <a:gd name="connsiteY258" fmla="*/ 3505200 h 6858001"/>
              <a:gd name="connsiteX259" fmla="*/ 9064818 w 11064076"/>
              <a:gd name="connsiteY259" fmla="*/ 3499168 h 6858001"/>
              <a:gd name="connsiteX260" fmla="*/ 9064150 w 11064076"/>
              <a:gd name="connsiteY260" fmla="*/ 3493453 h 6858001"/>
              <a:gd name="connsiteX261" fmla="*/ 9063147 w 11064076"/>
              <a:gd name="connsiteY261" fmla="*/ 3487738 h 6858001"/>
              <a:gd name="connsiteX262" fmla="*/ 9061811 w 11064076"/>
              <a:gd name="connsiteY262" fmla="*/ 3481705 h 6858001"/>
              <a:gd name="connsiteX263" fmla="*/ 9060141 w 11064076"/>
              <a:gd name="connsiteY263" fmla="*/ 3475990 h 6858001"/>
              <a:gd name="connsiteX264" fmla="*/ 9058136 w 11064076"/>
              <a:gd name="connsiteY264" fmla="*/ 3470593 h 6858001"/>
              <a:gd name="connsiteX265" fmla="*/ 9056131 w 11064076"/>
              <a:gd name="connsiteY265" fmla="*/ 3464878 h 6858001"/>
              <a:gd name="connsiteX266" fmla="*/ 9053793 w 11064076"/>
              <a:gd name="connsiteY266" fmla="*/ 3459163 h 6858001"/>
              <a:gd name="connsiteX267" fmla="*/ 9051120 w 11064076"/>
              <a:gd name="connsiteY267" fmla="*/ 3453765 h 6858001"/>
              <a:gd name="connsiteX268" fmla="*/ 9048113 w 11064076"/>
              <a:gd name="connsiteY268" fmla="*/ 3448685 h 6858001"/>
              <a:gd name="connsiteX269" fmla="*/ 9044772 w 11064076"/>
              <a:gd name="connsiteY269" fmla="*/ 3443605 h 6858001"/>
              <a:gd name="connsiteX270" fmla="*/ 9041431 w 11064076"/>
              <a:gd name="connsiteY270" fmla="*/ 3438525 h 6858001"/>
              <a:gd name="connsiteX271" fmla="*/ 9037756 w 11064076"/>
              <a:gd name="connsiteY271" fmla="*/ 3433763 h 6858001"/>
              <a:gd name="connsiteX272" fmla="*/ 9033747 w 11064076"/>
              <a:gd name="connsiteY272" fmla="*/ 3428683 h 6858001"/>
              <a:gd name="connsiteX273" fmla="*/ 9029069 w 11064076"/>
              <a:gd name="connsiteY273" fmla="*/ 3423920 h 6858001"/>
              <a:gd name="connsiteX274" fmla="*/ 8360534 w 11064076"/>
              <a:gd name="connsiteY274" fmla="*/ 2756218 h 6858001"/>
              <a:gd name="connsiteX275" fmla="*/ 8357193 w 11064076"/>
              <a:gd name="connsiteY275" fmla="*/ 2753043 h 6858001"/>
              <a:gd name="connsiteX276" fmla="*/ 8353852 w 11064076"/>
              <a:gd name="connsiteY276" fmla="*/ 2749233 h 6858001"/>
              <a:gd name="connsiteX277" fmla="*/ 8347504 w 11064076"/>
              <a:gd name="connsiteY277" fmla="*/ 2741295 h 6858001"/>
              <a:gd name="connsiteX278" fmla="*/ 8342492 w 11064076"/>
              <a:gd name="connsiteY278" fmla="*/ 2733040 h 6858001"/>
              <a:gd name="connsiteX279" fmla="*/ 8337815 w 11064076"/>
              <a:gd name="connsiteY279" fmla="*/ 2724468 h 6858001"/>
              <a:gd name="connsiteX280" fmla="*/ 8333471 w 11064076"/>
              <a:gd name="connsiteY280" fmla="*/ 2715895 h 6858001"/>
              <a:gd name="connsiteX281" fmla="*/ 8330465 w 11064076"/>
              <a:gd name="connsiteY281" fmla="*/ 2707005 h 6858001"/>
              <a:gd name="connsiteX282" fmla="*/ 8328126 w 11064076"/>
              <a:gd name="connsiteY282" fmla="*/ 2697798 h 6858001"/>
              <a:gd name="connsiteX283" fmla="*/ 8326121 w 11064076"/>
              <a:gd name="connsiteY283" fmla="*/ 2688590 h 6858001"/>
              <a:gd name="connsiteX0" fmla="*/ 5629596 w 11064076"/>
              <a:gd name="connsiteY0" fmla="*/ 0 h 6858001"/>
              <a:gd name="connsiteX1" fmla="*/ 0 w 11064076"/>
              <a:gd name="connsiteY1" fmla="*/ 0 h 6858001"/>
              <a:gd name="connsiteX2" fmla="*/ 0 w 11064076"/>
              <a:gd name="connsiteY2" fmla="*/ 6858000 h 6858001"/>
              <a:gd name="connsiteX3" fmla="*/ 10123449 w 11064076"/>
              <a:gd name="connsiteY3" fmla="*/ 6858000 h 6858001"/>
              <a:gd name="connsiteX4" fmla="*/ 10581615 w 11064076"/>
              <a:gd name="connsiteY4" fmla="*/ 6858001 h 6858001"/>
              <a:gd name="connsiteX5" fmla="*/ 10581614 w 11064076"/>
              <a:gd name="connsiteY5" fmla="*/ 6858000 h 6858001"/>
              <a:gd name="connsiteX6" fmla="*/ 11064076 w 11064076"/>
              <a:gd name="connsiteY6" fmla="*/ 6858000 h 6858001"/>
              <a:gd name="connsiteX7" fmla="*/ 9033747 w 11064076"/>
              <a:gd name="connsiteY7" fmla="*/ 4816793 h 6858001"/>
              <a:gd name="connsiteX8" fmla="*/ 9018378 w 11064076"/>
              <a:gd name="connsiteY8" fmla="*/ 4803458 h 6858001"/>
              <a:gd name="connsiteX9" fmla="*/ 9003009 w 11064076"/>
              <a:gd name="connsiteY9" fmla="*/ 4789488 h 6858001"/>
              <a:gd name="connsiteX10" fmla="*/ 8987975 w 11064076"/>
              <a:gd name="connsiteY10" fmla="*/ 4775518 h 6858001"/>
              <a:gd name="connsiteX11" fmla="*/ 8973274 w 11064076"/>
              <a:gd name="connsiteY11" fmla="*/ 4760913 h 6858001"/>
              <a:gd name="connsiteX12" fmla="*/ 8039129 w 11064076"/>
              <a:gd name="connsiteY12" fmla="*/ 3828098 h 6858001"/>
              <a:gd name="connsiteX13" fmla="*/ 8034451 w 11064076"/>
              <a:gd name="connsiteY13" fmla="*/ 3823335 h 6858001"/>
              <a:gd name="connsiteX14" fmla="*/ 8030443 w 11064076"/>
              <a:gd name="connsiteY14" fmla="*/ 3818573 h 6858001"/>
              <a:gd name="connsiteX15" fmla="*/ 8026767 w 11064076"/>
              <a:gd name="connsiteY15" fmla="*/ 3813493 h 6858001"/>
              <a:gd name="connsiteX16" fmla="*/ 8023426 w 11064076"/>
              <a:gd name="connsiteY16" fmla="*/ 3808413 h 6858001"/>
              <a:gd name="connsiteX17" fmla="*/ 8020086 w 11064076"/>
              <a:gd name="connsiteY17" fmla="*/ 3803333 h 6858001"/>
              <a:gd name="connsiteX18" fmla="*/ 8017079 w 11064076"/>
              <a:gd name="connsiteY18" fmla="*/ 3798253 h 6858001"/>
              <a:gd name="connsiteX19" fmla="*/ 8014406 w 11064076"/>
              <a:gd name="connsiteY19" fmla="*/ 3792855 h 6858001"/>
              <a:gd name="connsiteX20" fmla="*/ 8012067 w 11064076"/>
              <a:gd name="connsiteY20" fmla="*/ 3787458 h 6858001"/>
              <a:gd name="connsiteX21" fmla="*/ 8010062 w 11064076"/>
              <a:gd name="connsiteY21" fmla="*/ 3781425 h 6858001"/>
              <a:gd name="connsiteX22" fmla="*/ 8008392 w 11064076"/>
              <a:gd name="connsiteY22" fmla="*/ 3776028 h 6858001"/>
              <a:gd name="connsiteX23" fmla="*/ 8006387 w 11064076"/>
              <a:gd name="connsiteY23" fmla="*/ 3770313 h 6858001"/>
              <a:gd name="connsiteX24" fmla="*/ 8005051 w 11064076"/>
              <a:gd name="connsiteY24" fmla="*/ 3764280 h 6858001"/>
              <a:gd name="connsiteX25" fmla="*/ 8004049 w 11064076"/>
              <a:gd name="connsiteY25" fmla="*/ 3758565 h 6858001"/>
              <a:gd name="connsiteX26" fmla="*/ 8003380 w 11064076"/>
              <a:gd name="connsiteY26" fmla="*/ 3752850 h 6858001"/>
              <a:gd name="connsiteX27" fmla="*/ 8003046 w 11064076"/>
              <a:gd name="connsiteY27" fmla="*/ 3746818 h 6858001"/>
              <a:gd name="connsiteX28" fmla="*/ 8003046 w 11064076"/>
              <a:gd name="connsiteY28" fmla="*/ 3740785 h 6858001"/>
              <a:gd name="connsiteX29" fmla="*/ 8003046 w 11064076"/>
              <a:gd name="connsiteY29" fmla="*/ 3735070 h 6858001"/>
              <a:gd name="connsiteX30" fmla="*/ 8003380 w 11064076"/>
              <a:gd name="connsiteY30" fmla="*/ 3729038 h 6858001"/>
              <a:gd name="connsiteX31" fmla="*/ 8004049 w 11064076"/>
              <a:gd name="connsiteY31" fmla="*/ 3723323 h 6858001"/>
              <a:gd name="connsiteX32" fmla="*/ 8005051 w 11064076"/>
              <a:gd name="connsiteY32" fmla="*/ 3717608 h 6858001"/>
              <a:gd name="connsiteX33" fmla="*/ 8006387 w 11064076"/>
              <a:gd name="connsiteY33" fmla="*/ 3711575 h 6858001"/>
              <a:gd name="connsiteX34" fmla="*/ 8008392 w 11064076"/>
              <a:gd name="connsiteY34" fmla="*/ 3705860 h 6858001"/>
              <a:gd name="connsiteX35" fmla="*/ 8010062 w 11064076"/>
              <a:gd name="connsiteY35" fmla="*/ 3700145 h 6858001"/>
              <a:gd name="connsiteX36" fmla="*/ 8012067 w 11064076"/>
              <a:gd name="connsiteY36" fmla="*/ 3694748 h 6858001"/>
              <a:gd name="connsiteX37" fmla="*/ 8014406 w 11064076"/>
              <a:gd name="connsiteY37" fmla="*/ 3689033 h 6858001"/>
              <a:gd name="connsiteX38" fmla="*/ 8017079 w 11064076"/>
              <a:gd name="connsiteY38" fmla="*/ 3683635 h 6858001"/>
              <a:gd name="connsiteX39" fmla="*/ 8020086 w 11064076"/>
              <a:gd name="connsiteY39" fmla="*/ 3678238 h 6858001"/>
              <a:gd name="connsiteX40" fmla="*/ 8023426 w 11064076"/>
              <a:gd name="connsiteY40" fmla="*/ 3673158 h 6858001"/>
              <a:gd name="connsiteX41" fmla="*/ 8026767 w 11064076"/>
              <a:gd name="connsiteY41" fmla="*/ 3668078 h 6858001"/>
              <a:gd name="connsiteX42" fmla="*/ 8030443 w 11064076"/>
              <a:gd name="connsiteY42" fmla="*/ 3662998 h 6858001"/>
              <a:gd name="connsiteX43" fmla="*/ 8034451 w 11064076"/>
              <a:gd name="connsiteY43" fmla="*/ 3658235 h 6858001"/>
              <a:gd name="connsiteX44" fmla="*/ 8039129 w 11064076"/>
              <a:gd name="connsiteY44" fmla="*/ 3653790 h 6858001"/>
              <a:gd name="connsiteX45" fmla="*/ 8043807 w 11064076"/>
              <a:gd name="connsiteY45" fmla="*/ 3649345 h 6858001"/>
              <a:gd name="connsiteX46" fmla="*/ 8048149 w 11064076"/>
              <a:gd name="connsiteY46" fmla="*/ 3645218 h 6858001"/>
              <a:gd name="connsiteX47" fmla="*/ 8053495 w 11064076"/>
              <a:gd name="connsiteY47" fmla="*/ 3641725 h 6858001"/>
              <a:gd name="connsiteX48" fmla="*/ 8058507 w 11064076"/>
              <a:gd name="connsiteY48" fmla="*/ 3638233 h 6858001"/>
              <a:gd name="connsiteX49" fmla="*/ 8063852 w 11064076"/>
              <a:gd name="connsiteY49" fmla="*/ 3634740 h 6858001"/>
              <a:gd name="connsiteX50" fmla="*/ 8068864 w 11064076"/>
              <a:gd name="connsiteY50" fmla="*/ 3631883 h 6858001"/>
              <a:gd name="connsiteX51" fmla="*/ 8074209 w 11064076"/>
              <a:gd name="connsiteY51" fmla="*/ 3629343 h 6858001"/>
              <a:gd name="connsiteX52" fmla="*/ 8079889 w 11064076"/>
              <a:gd name="connsiteY52" fmla="*/ 3626803 h 6858001"/>
              <a:gd name="connsiteX53" fmla="*/ 8085569 w 11064076"/>
              <a:gd name="connsiteY53" fmla="*/ 3624898 h 6858001"/>
              <a:gd name="connsiteX54" fmla="*/ 8091248 w 11064076"/>
              <a:gd name="connsiteY54" fmla="*/ 3622675 h 6858001"/>
              <a:gd name="connsiteX55" fmla="*/ 8096928 w 11064076"/>
              <a:gd name="connsiteY55" fmla="*/ 3621405 h 6858001"/>
              <a:gd name="connsiteX56" fmla="*/ 8102608 w 11064076"/>
              <a:gd name="connsiteY56" fmla="*/ 3620135 h 6858001"/>
              <a:gd name="connsiteX57" fmla="*/ 8108622 w 11064076"/>
              <a:gd name="connsiteY57" fmla="*/ 3618865 h 6858001"/>
              <a:gd name="connsiteX58" fmla="*/ 8114301 w 11064076"/>
              <a:gd name="connsiteY58" fmla="*/ 3618230 h 6858001"/>
              <a:gd name="connsiteX59" fmla="*/ 8120315 w 11064076"/>
              <a:gd name="connsiteY59" fmla="*/ 3617913 h 6858001"/>
              <a:gd name="connsiteX60" fmla="*/ 8126329 w 11064076"/>
              <a:gd name="connsiteY60" fmla="*/ 3617595 h 6858001"/>
              <a:gd name="connsiteX61" fmla="*/ 8132343 w 11064076"/>
              <a:gd name="connsiteY61" fmla="*/ 3617913 h 6858001"/>
              <a:gd name="connsiteX62" fmla="*/ 8138023 w 11064076"/>
              <a:gd name="connsiteY62" fmla="*/ 3618230 h 6858001"/>
              <a:gd name="connsiteX63" fmla="*/ 8143702 w 11064076"/>
              <a:gd name="connsiteY63" fmla="*/ 3618865 h 6858001"/>
              <a:gd name="connsiteX64" fmla="*/ 8149716 w 11064076"/>
              <a:gd name="connsiteY64" fmla="*/ 3620135 h 6858001"/>
              <a:gd name="connsiteX65" fmla="*/ 8155396 w 11064076"/>
              <a:gd name="connsiteY65" fmla="*/ 3621405 h 6858001"/>
              <a:gd name="connsiteX66" fmla="*/ 8161410 w 11064076"/>
              <a:gd name="connsiteY66" fmla="*/ 3622675 h 6858001"/>
              <a:gd name="connsiteX67" fmla="*/ 8167089 w 11064076"/>
              <a:gd name="connsiteY67" fmla="*/ 3624898 h 6858001"/>
              <a:gd name="connsiteX68" fmla="*/ 8172769 w 11064076"/>
              <a:gd name="connsiteY68" fmla="*/ 3626803 h 6858001"/>
              <a:gd name="connsiteX69" fmla="*/ 8178115 w 11064076"/>
              <a:gd name="connsiteY69" fmla="*/ 3629343 h 6858001"/>
              <a:gd name="connsiteX70" fmla="*/ 8183460 w 11064076"/>
              <a:gd name="connsiteY70" fmla="*/ 3631883 h 6858001"/>
              <a:gd name="connsiteX71" fmla="*/ 8188806 w 11064076"/>
              <a:gd name="connsiteY71" fmla="*/ 3634740 h 6858001"/>
              <a:gd name="connsiteX72" fmla="*/ 8194151 w 11064076"/>
              <a:gd name="connsiteY72" fmla="*/ 3638233 h 6858001"/>
              <a:gd name="connsiteX73" fmla="*/ 8199163 w 11064076"/>
              <a:gd name="connsiteY73" fmla="*/ 3641725 h 6858001"/>
              <a:gd name="connsiteX74" fmla="*/ 8204175 w 11064076"/>
              <a:gd name="connsiteY74" fmla="*/ 3645218 h 6858001"/>
              <a:gd name="connsiteX75" fmla="*/ 8208852 w 11064076"/>
              <a:gd name="connsiteY75" fmla="*/ 3649345 h 6858001"/>
              <a:gd name="connsiteX76" fmla="*/ 8213529 w 11064076"/>
              <a:gd name="connsiteY76" fmla="*/ 3653790 h 6858001"/>
              <a:gd name="connsiteX77" fmla="*/ 8882399 w 11064076"/>
              <a:gd name="connsiteY77" fmla="*/ 4321810 h 6858001"/>
              <a:gd name="connsiteX78" fmla="*/ 8886742 w 11064076"/>
              <a:gd name="connsiteY78" fmla="*/ 4325938 h 6858001"/>
              <a:gd name="connsiteX79" fmla="*/ 8891420 w 11064076"/>
              <a:gd name="connsiteY79" fmla="*/ 4330065 h 6858001"/>
              <a:gd name="connsiteX80" fmla="*/ 8896765 w 11064076"/>
              <a:gd name="connsiteY80" fmla="*/ 4334193 h 6858001"/>
              <a:gd name="connsiteX81" fmla="*/ 8901443 w 11064076"/>
              <a:gd name="connsiteY81" fmla="*/ 4337685 h 6858001"/>
              <a:gd name="connsiteX82" fmla="*/ 8906788 w 11064076"/>
              <a:gd name="connsiteY82" fmla="*/ 4340860 h 6858001"/>
              <a:gd name="connsiteX83" fmla="*/ 8912134 w 11064076"/>
              <a:gd name="connsiteY83" fmla="*/ 4343718 h 6858001"/>
              <a:gd name="connsiteX84" fmla="*/ 8917480 w 11064076"/>
              <a:gd name="connsiteY84" fmla="*/ 4346575 h 6858001"/>
              <a:gd name="connsiteX85" fmla="*/ 8923159 w 11064076"/>
              <a:gd name="connsiteY85" fmla="*/ 4349115 h 6858001"/>
              <a:gd name="connsiteX86" fmla="*/ 8928505 w 11064076"/>
              <a:gd name="connsiteY86" fmla="*/ 4351020 h 6858001"/>
              <a:gd name="connsiteX87" fmla="*/ 8934185 w 11064076"/>
              <a:gd name="connsiteY87" fmla="*/ 4352608 h 6858001"/>
              <a:gd name="connsiteX88" fmla="*/ 8940198 w 11064076"/>
              <a:gd name="connsiteY88" fmla="*/ 4354513 h 6858001"/>
              <a:gd name="connsiteX89" fmla="*/ 8945878 w 11064076"/>
              <a:gd name="connsiteY89" fmla="*/ 4355465 h 6858001"/>
              <a:gd name="connsiteX90" fmla="*/ 8951892 w 11064076"/>
              <a:gd name="connsiteY90" fmla="*/ 4356418 h 6858001"/>
              <a:gd name="connsiteX91" fmla="*/ 8957572 w 11064076"/>
              <a:gd name="connsiteY91" fmla="*/ 4357053 h 6858001"/>
              <a:gd name="connsiteX92" fmla="*/ 8963585 w 11064076"/>
              <a:gd name="connsiteY92" fmla="*/ 4358005 h 6858001"/>
              <a:gd name="connsiteX93" fmla="*/ 8969265 w 11064076"/>
              <a:gd name="connsiteY93" fmla="*/ 4358005 h 6858001"/>
              <a:gd name="connsiteX94" fmla="*/ 8975279 w 11064076"/>
              <a:gd name="connsiteY94" fmla="*/ 4358005 h 6858001"/>
              <a:gd name="connsiteX95" fmla="*/ 8981293 w 11064076"/>
              <a:gd name="connsiteY95" fmla="*/ 4357053 h 6858001"/>
              <a:gd name="connsiteX96" fmla="*/ 8986972 w 11064076"/>
              <a:gd name="connsiteY96" fmla="*/ 4356418 h 6858001"/>
              <a:gd name="connsiteX97" fmla="*/ 8992986 w 11064076"/>
              <a:gd name="connsiteY97" fmla="*/ 4355465 h 6858001"/>
              <a:gd name="connsiteX98" fmla="*/ 8998666 w 11064076"/>
              <a:gd name="connsiteY98" fmla="*/ 4354513 h 6858001"/>
              <a:gd name="connsiteX99" fmla="*/ 9004680 w 11064076"/>
              <a:gd name="connsiteY99" fmla="*/ 4352608 h 6858001"/>
              <a:gd name="connsiteX100" fmla="*/ 9010025 w 11064076"/>
              <a:gd name="connsiteY100" fmla="*/ 4351020 h 6858001"/>
              <a:gd name="connsiteX101" fmla="*/ 9015705 w 11064076"/>
              <a:gd name="connsiteY101" fmla="*/ 4349115 h 6858001"/>
              <a:gd name="connsiteX102" fmla="*/ 9021385 w 11064076"/>
              <a:gd name="connsiteY102" fmla="*/ 4346575 h 6858001"/>
              <a:gd name="connsiteX103" fmla="*/ 9026730 w 11064076"/>
              <a:gd name="connsiteY103" fmla="*/ 4343718 h 6858001"/>
              <a:gd name="connsiteX104" fmla="*/ 9032076 w 11064076"/>
              <a:gd name="connsiteY104" fmla="*/ 4340860 h 6858001"/>
              <a:gd name="connsiteX105" fmla="*/ 9037088 w 11064076"/>
              <a:gd name="connsiteY105" fmla="*/ 4337685 h 6858001"/>
              <a:gd name="connsiteX106" fmla="*/ 9042099 w 11064076"/>
              <a:gd name="connsiteY106" fmla="*/ 4334193 h 6858001"/>
              <a:gd name="connsiteX107" fmla="*/ 9047445 w 11064076"/>
              <a:gd name="connsiteY107" fmla="*/ 4330065 h 6858001"/>
              <a:gd name="connsiteX108" fmla="*/ 9051788 w 11064076"/>
              <a:gd name="connsiteY108" fmla="*/ 4325938 h 6858001"/>
              <a:gd name="connsiteX109" fmla="*/ 9056465 w 11064076"/>
              <a:gd name="connsiteY109" fmla="*/ 4321810 h 6858001"/>
              <a:gd name="connsiteX110" fmla="*/ 9061143 w 11064076"/>
              <a:gd name="connsiteY110" fmla="*/ 4317048 h 6858001"/>
              <a:gd name="connsiteX111" fmla="*/ 9065152 w 11064076"/>
              <a:gd name="connsiteY111" fmla="*/ 4312285 h 6858001"/>
              <a:gd name="connsiteX112" fmla="*/ 9068827 w 11064076"/>
              <a:gd name="connsiteY112" fmla="*/ 4307523 h 6858001"/>
              <a:gd name="connsiteX113" fmla="*/ 9072168 w 11064076"/>
              <a:gd name="connsiteY113" fmla="*/ 4302443 h 6858001"/>
              <a:gd name="connsiteX114" fmla="*/ 9075509 w 11064076"/>
              <a:gd name="connsiteY114" fmla="*/ 4297363 h 6858001"/>
              <a:gd name="connsiteX115" fmla="*/ 9078516 w 11064076"/>
              <a:gd name="connsiteY115" fmla="*/ 4292283 h 6858001"/>
              <a:gd name="connsiteX116" fmla="*/ 9081189 w 11064076"/>
              <a:gd name="connsiteY116" fmla="*/ 4286568 h 6858001"/>
              <a:gd name="connsiteX117" fmla="*/ 9083528 w 11064076"/>
              <a:gd name="connsiteY117" fmla="*/ 4281170 h 6858001"/>
              <a:gd name="connsiteX118" fmla="*/ 9085532 w 11064076"/>
              <a:gd name="connsiteY118" fmla="*/ 4275455 h 6858001"/>
              <a:gd name="connsiteX119" fmla="*/ 9087537 w 11064076"/>
              <a:gd name="connsiteY119" fmla="*/ 4270058 h 6858001"/>
              <a:gd name="connsiteX120" fmla="*/ 9089207 w 11064076"/>
              <a:gd name="connsiteY120" fmla="*/ 4264025 h 6858001"/>
              <a:gd name="connsiteX121" fmla="*/ 9090544 w 11064076"/>
              <a:gd name="connsiteY121" fmla="*/ 4258310 h 6858001"/>
              <a:gd name="connsiteX122" fmla="*/ 9091546 w 11064076"/>
              <a:gd name="connsiteY122" fmla="*/ 4252595 h 6858001"/>
              <a:gd name="connsiteX123" fmla="*/ 9092214 w 11064076"/>
              <a:gd name="connsiteY123" fmla="*/ 4246563 h 6858001"/>
              <a:gd name="connsiteX124" fmla="*/ 9092548 w 11064076"/>
              <a:gd name="connsiteY124" fmla="*/ 4240848 h 6858001"/>
              <a:gd name="connsiteX125" fmla="*/ 9092548 w 11064076"/>
              <a:gd name="connsiteY125" fmla="*/ 4234815 h 6858001"/>
              <a:gd name="connsiteX126" fmla="*/ 9092548 w 11064076"/>
              <a:gd name="connsiteY126" fmla="*/ 4228783 h 6858001"/>
              <a:gd name="connsiteX127" fmla="*/ 9092214 w 11064076"/>
              <a:gd name="connsiteY127" fmla="*/ 4223068 h 6858001"/>
              <a:gd name="connsiteX128" fmla="*/ 9091546 w 11064076"/>
              <a:gd name="connsiteY128" fmla="*/ 4217353 h 6858001"/>
              <a:gd name="connsiteX129" fmla="*/ 9090544 w 11064076"/>
              <a:gd name="connsiteY129" fmla="*/ 4211320 h 6858001"/>
              <a:gd name="connsiteX130" fmla="*/ 9089207 w 11064076"/>
              <a:gd name="connsiteY130" fmla="*/ 4205605 h 6858001"/>
              <a:gd name="connsiteX131" fmla="*/ 9087537 w 11064076"/>
              <a:gd name="connsiteY131" fmla="*/ 4199890 h 6858001"/>
              <a:gd name="connsiteX132" fmla="*/ 9085532 w 11064076"/>
              <a:gd name="connsiteY132" fmla="*/ 4194175 h 6858001"/>
              <a:gd name="connsiteX133" fmla="*/ 9083528 w 11064076"/>
              <a:gd name="connsiteY133" fmla="*/ 4188460 h 6858001"/>
              <a:gd name="connsiteX134" fmla="*/ 9081189 w 11064076"/>
              <a:gd name="connsiteY134" fmla="*/ 4183063 h 6858001"/>
              <a:gd name="connsiteX135" fmla="*/ 9078516 w 11064076"/>
              <a:gd name="connsiteY135" fmla="*/ 4177665 h 6858001"/>
              <a:gd name="connsiteX136" fmla="*/ 9075509 w 11064076"/>
              <a:gd name="connsiteY136" fmla="*/ 4172268 h 6858001"/>
              <a:gd name="connsiteX137" fmla="*/ 9072168 w 11064076"/>
              <a:gd name="connsiteY137" fmla="*/ 4166870 h 6858001"/>
              <a:gd name="connsiteX138" fmla="*/ 9068827 w 11064076"/>
              <a:gd name="connsiteY138" fmla="*/ 4161790 h 6858001"/>
              <a:gd name="connsiteX139" fmla="*/ 9065152 w 11064076"/>
              <a:gd name="connsiteY139" fmla="*/ 4157028 h 6858001"/>
              <a:gd name="connsiteX140" fmla="*/ 9061143 w 11064076"/>
              <a:gd name="connsiteY140" fmla="*/ 4152265 h 6858001"/>
              <a:gd name="connsiteX141" fmla="*/ 9056465 w 11064076"/>
              <a:gd name="connsiteY141" fmla="*/ 4147820 h 6858001"/>
              <a:gd name="connsiteX142" fmla="*/ 8669577 w 11064076"/>
              <a:gd name="connsiteY142" fmla="*/ 3761423 h 6858001"/>
              <a:gd name="connsiteX143" fmla="*/ 8473460 w 11064076"/>
              <a:gd name="connsiteY143" fmla="*/ 3565208 h 6858001"/>
              <a:gd name="connsiteX144" fmla="*/ 8468782 w 11064076"/>
              <a:gd name="connsiteY144" fmla="*/ 3560445 h 6858001"/>
              <a:gd name="connsiteX145" fmla="*/ 8464773 w 11064076"/>
              <a:gd name="connsiteY145" fmla="*/ 3555683 h 6858001"/>
              <a:gd name="connsiteX146" fmla="*/ 8461098 w 11064076"/>
              <a:gd name="connsiteY146" fmla="*/ 3550920 h 6858001"/>
              <a:gd name="connsiteX147" fmla="*/ 8457423 w 11064076"/>
              <a:gd name="connsiteY147" fmla="*/ 3545840 h 6858001"/>
              <a:gd name="connsiteX148" fmla="*/ 8454082 w 11064076"/>
              <a:gd name="connsiteY148" fmla="*/ 3540760 h 6858001"/>
              <a:gd name="connsiteX149" fmla="*/ 8451409 w 11064076"/>
              <a:gd name="connsiteY149" fmla="*/ 3535680 h 6858001"/>
              <a:gd name="connsiteX150" fmla="*/ 8448736 w 11064076"/>
              <a:gd name="connsiteY150" fmla="*/ 3529965 h 6858001"/>
              <a:gd name="connsiteX151" fmla="*/ 8446398 w 11064076"/>
              <a:gd name="connsiteY151" fmla="*/ 3524568 h 6858001"/>
              <a:gd name="connsiteX152" fmla="*/ 8444059 w 11064076"/>
              <a:gd name="connsiteY152" fmla="*/ 3518853 h 6858001"/>
              <a:gd name="connsiteX153" fmla="*/ 8442054 w 11064076"/>
              <a:gd name="connsiteY153" fmla="*/ 3513455 h 6858001"/>
              <a:gd name="connsiteX154" fmla="*/ 8440718 w 11064076"/>
              <a:gd name="connsiteY154" fmla="*/ 3507423 h 6858001"/>
              <a:gd name="connsiteX155" fmla="*/ 8439382 w 11064076"/>
              <a:gd name="connsiteY155" fmla="*/ 3501708 h 6858001"/>
              <a:gd name="connsiteX156" fmla="*/ 8438379 w 11064076"/>
              <a:gd name="connsiteY156" fmla="*/ 3495993 h 6858001"/>
              <a:gd name="connsiteX157" fmla="*/ 8437711 w 11064076"/>
              <a:gd name="connsiteY157" fmla="*/ 3489960 h 6858001"/>
              <a:gd name="connsiteX158" fmla="*/ 8437377 w 11064076"/>
              <a:gd name="connsiteY158" fmla="*/ 3484245 h 6858001"/>
              <a:gd name="connsiteX159" fmla="*/ 8437043 w 11064076"/>
              <a:gd name="connsiteY159" fmla="*/ 3478213 h 6858001"/>
              <a:gd name="connsiteX160" fmla="*/ 8437377 w 11064076"/>
              <a:gd name="connsiteY160" fmla="*/ 3472180 h 6858001"/>
              <a:gd name="connsiteX161" fmla="*/ 8437711 w 11064076"/>
              <a:gd name="connsiteY161" fmla="*/ 3466465 h 6858001"/>
              <a:gd name="connsiteX162" fmla="*/ 8438379 w 11064076"/>
              <a:gd name="connsiteY162" fmla="*/ 3460750 h 6858001"/>
              <a:gd name="connsiteX163" fmla="*/ 8439382 w 11064076"/>
              <a:gd name="connsiteY163" fmla="*/ 3454718 h 6858001"/>
              <a:gd name="connsiteX164" fmla="*/ 8440718 w 11064076"/>
              <a:gd name="connsiteY164" fmla="*/ 3449003 h 6858001"/>
              <a:gd name="connsiteX165" fmla="*/ 8442054 w 11064076"/>
              <a:gd name="connsiteY165" fmla="*/ 3443288 h 6858001"/>
              <a:gd name="connsiteX166" fmla="*/ 8444059 w 11064076"/>
              <a:gd name="connsiteY166" fmla="*/ 3437255 h 6858001"/>
              <a:gd name="connsiteX167" fmla="*/ 8446398 w 11064076"/>
              <a:gd name="connsiteY167" fmla="*/ 3431858 h 6858001"/>
              <a:gd name="connsiteX168" fmla="*/ 8448736 w 11064076"/>
              <a:gd name="connsiteY168" fmla="*/ 3426460 h 6858001"/>
              <a:gd name="connsiteX169" fmla="*/ 8451409 w 11064076"/>
              <a:gd name="connsiteY169" fmla="*/ 3421063 h 6858001"/>
              <a:gd name="connsiteX170" fmla="*/ 8454082 w 11064076"/>
              <a:gd name="connsiteY170" fmla="*/ 3415348 h 6858001"/>
              <a:gd name="connsiteX171" fmla="*/ 8457423 w 11064076"/>
              <a:gd name="connsiteY171" fmla="*/ 3410268 h 6858001"/>
              <a:gd name="connsiteX172" fmla="*/ 8461098 w 11064076"/>
              <a:gd name="connsiteY172" fmla="*/ 3405505 h 6858001"/>
              <a:gd name="connsiteX173" fmla="*/ 8464773 w 11064076"/>
              <a:gd name="connsiteY173" fmla="*/ 3400425 h 6858001"/>
              <a:gd name="connsiteX174" fmla="*/ 8468782 w 11064076"/>
              <a:gd name="connsiteY174" fmla="*/ 3395663 h 6858001"/>
              <a:gd name="connsiteX175" fmla="*/ 8473460 w 11064076"/>
              <a:gd name="connsiteY175" fmla="*/ 3391218 h 6858001"/>
              <a:gd name="connsiteX176" fmla="*/ 8477803 w 11064076"/>
              <a:gd name="connsiteY176" fmla="*/ 3386773 h 6858001"/>
              <a:gd name="connsiteX177" fmla="*/ 8482481 w 11064076"/>
              <a:gd name="connsiteY177" fmla="*/ 3382645 h 6858001"/>
              <a:gd name="connsiteX178" fmla="*/ 8487826 w 11064076"/>
              <a:gd name="connsiteY178" fmla="*/ 3378835 h 6858001"/>
              <a:gd name="connsiteX179" fmla="*/ 8492504 w 11064076"/>
              <a:gd name="connsiteY179" fmla="*/ 3375343 h 6858001"/>
              <a:gd name="connsiteX180" fmla="*/ 8497515 w 11064076"/>
              <a:gd name="connsiteY180" fmla="*/ 3372168 h 6858001"/>
              <a:gd name="connsiteX181" fmla="*/ 8503195 w 11064076"/>
              <a:gd name="connsiteY181" fmla="*/ 3369310 h 6858001"/>
              <a:gd name="connsiteX182" fmla="*/ 8508540 w 11064076"/>
              <a:gd name="connsiteY182" fmla="*/ 3366453 h 6858001"/>
              <a:gd name="connsiteX183" fmla="*/ 8514220 w 11064076"/>
              <a:gd name="connsiteY183" fmla="*/ 3364230 h 6858001"/>
              <a:gd name="connsiteX184" fmla="*/ 8519566 w 11064076"/>
              <a:gd name="connsiteY184" fmla="*/ 3362008 h 6858001"/>
              <a:gd name="connsiteX185" fmla="*/ 8525245 w 11064076"/>
              <a:gd name="connsiteY185" fmla="*/ 3360103 h 6858001"/>
              <a:gd name="connsiteX186" fmla="*/ 8531259 w 11064076"/>
              <a:gd name="connsiteY186" fmla="*/ 3358833 h 6858001"/>
              <a:gd name="connsiteX187" fmla="*/ 8536939 w 11064076"/>
              <a:gd name="connsiteY187" fmla="*/ 3357245 h 6858001"/>
              <a:gd name="connsiteX188" fmla="*/ 8542953 w 11064076"/>
              <a:gd name="connsiteY188" fmla="*/ 3356293 h 6858001"/>
              <a:gd name="connsiteX189" fmla="*/ 8548632 w 11064076"/>
              <a:gd name="connsiteY189" fmla="*/ 3355658 h 6858001"/>
              <a:gd name="connsiteX190" fmla="*/ 8554646 w 11064076"/>
              <a:gd name="connsiteY190" fmla="*/ 3355340 h 6858001"/>
              <a:gd name="connsiteX191" fmla="*/ 8560326 w 11064076"/>
              <a:gd name="connsiteY191" fmla="*/ 3355023 h 6858001"/>
              <a:gd name="connsiteX192" fmla="*/ 8566340 w 11064076"/>
              <a:gd name="connsiteY192" fmla="*/ 3355340 h 6858001"/>
              <a:gd name="connsiteX193" fmla="*/ 8572354 w 11064076"/>
              <a:gd name="connsiteY193" fmla="*/ 3355658 h 6858001"/>
              <a:gd name="connsiteX194" fmla="*/ 8578033 w 11064076"/>
              <a:gd name="connsiteY194" fmla="*/ 3356293 h 6858001"/>
              <a:gd name="connsiteX195" fmla="*/ 8584047 w 11064076"/>
              <a:gd name="connsiteY195" fmla="*/ 3357245 h 6858001"/>
              <a:gd name="connsiteX196" fmla="*/ 8589727 w 11064076"/>
              <a:gd name="connsiteY196" fmla="*/ 3358833 h 6858001"/>
              <a:gd name="connsiteX197" fmla="*/ 8595741 w 11064076"/>
              <a:gd name="connsiteY197" fmla="*/ 3360103 h 6858001"/>
              <a:gd name="connsiteX198" fmla="*/ 8601086 w 11064076"/>
              <a:gd name="connsiteY198" fmla="*/ 3362008 h 6858001"/>
              <a:gd name="connsiteX199" fmla="*/ 8606766 w 11064076"/>
              <a:gd name="connsiteY199" fmla="*/ 3364230 h 6858001"/>
              <a:gd name="connsiteX200" fmla="*/ 8612446 w 11064076"/>
              <a:gd name="connsiteY200" fmla="*/ 3366453 h 6858001"/>
              <a:gd name="connsiteX201" fmla="*/ 8617791 w 11064076"/>
              <a:gd name="connsiteY201" fmla="*/ 3369310 h 6858001"/>
              <a:gd name="connsiteX202" fmla="*/ 8623137 w 11064076"/>
              <a:gd name="connsiteY202" fmla="*/ 3372168 h 6858001"/>
              <a:gd name="connsiteX203" fmla="*/ 8628148 w 11064076"/>
              <a:gd name="connsiteY203" fmla="*/ 3375343 h 6858001"/>
              <a:gd name="connsiteX204" fmla="*/ 8633160 w 11064076"/>
              <a:gd name="connsiteY204" fmla="*/ 3378835 h 6858001"/>
              <a:gd name="connsiteX205" fmla="*/ 8638171 w 11064076"/>
              <a:gd name="connsiteY205" fmla="*/ 3382645 h 6858001"/>
              <a:gd name="connsiteX206" fmla="*/ 8642849 w 11064076"/>
              <a:gd name="connsiteY206" fmla="*/ 3386773 h 6858001"/>
              <a:gd name="connsiteX207" fmla="*/ 8647526 w 11064076"/>
              <a:gd name="connsiteY207" fmla="*/ 3391218 h 6858001"/>
              <a:gd name="connsiteX208" fmla="*/ 8855003 w 11064076"/>
              <a:gd name="connsiteY208" fmla="*/ 3598228 h 6858001"/>
              <a:gd name="connsiteX209" fmla="*/ 8859346 w 11064076"/>
              <a:gd name="connsiteY209" fmla="*/ 3602673 h 6858001"/>
              <a:gd name="connsiteX210" fmla="*/ 8864023 w 11064076"/>
              <a:gd name="connsiteY210" fmla="*/ 3606800 h 6858001"/>
              <a:gd name="connsiteX211" fmla="*/ 8869369 w 11064076"/>
              <a:gd name="connsiteY211" fmla="*/ 3610610 h 6858001"/>
              <a:gd name="connsiteX212" fmla="*/ 8874046 w 11064076"/>
              <a:gd name="connsiteY212" fmla="*/ 3613785 h 6858001"/>
              <a:gd name="connsiteX213" fmla="*/ 8879392 w 11064076"/>
              <a:gd name="connsiteY213" fmla="*/ 3617278 h 6858001"/>
              <a:gd name="connsiteX214" fmla="*/ 8884738 w 11064076"/>
              <a:gd name="connsiteY214" fmla="*/ 3620135 h 6858001"/>
              <a:gd name="connsiteX215" fmla="*/ 8890083 w 11064076"/>
              <a:gd name="connsiteY215" fmla="*/ 3622675 h 6858001"/>
              <a:gd name="connsiteX216" fmla="*/ 8895763 w 11064076"/>
              <a:gd name="connsiteY216" fmla="*/ 3625215 h 6858001"/>
              <a:gd name="connsiteX217" fmla="*/ 8901109 w 11064076"/>
              <a:gd name="connsiteY217" fmla="*/ 3627120 h 6858001"/>
              <a:gd name="connsiteX218" fmla="*/ 8906788 w 11064076"/>
              <a:gd name="connsiteY218" fmla="*/ 3629343 h 6858001"/>
              <a:gd name="connsiteX219" fmla="*/ 8912802 w 11064076"/>
              <a:gd name="connsiteY219" fmla="*/ 3630613 h 6858001"/>
              <a:gd name="connsiteX220" fmla="*/ 8918482 w 11064076"/>
              <a:gd name="connsiteY220" fmla="*/ 3631883 h 6858001"/>
              <a:gd name="connsiteX221" fmla="*/ 8924496 w 11064076"/>
              <a:gd name="connsiteY221" fmla="*/ 3633153 h 6858001"/>
              <a:gd name="connsiteX222" fmla="*/ 8930175 w 11064076"/>
              <a:gd name="connsiteY222" fmla="*/ 3633788 h 6858001"/>
              <a:gd name="connsiteX223" fmla="*/ 8936189 w 11064076"/>
              <a:gd name="connsiteY223" fmla="*/ 3634105 h 6858001"/>
              <a:gd name="connsiteX224" fmla="*/ 8941869 w 11064076"/>
              <a:gd name="connsiteY224" fmla="*/ 3634105 h 6858001"/>
              <a:gd name="connsiteX225" fmla="*/ 8947883 w 11064076"/>
              <a:gd name="connsiteY225" fmla="*/ 3634105 h 6858001"/>
              <a:gd name="connsiteX226" fmla="*/ 8953897 w 11064076"/>
              <a:gd name="connsiteY226" fmla="*/ 3633788 h 6858001"/>
              <a:gd name="connsiteX227" fmla="*/ 8959576 w 11064076"/>
              <a:gd name="connsiteY227" fmla="*/ 3633153 h 6858001"/>
              <a:gd name="connsiteX228" fmla="*/ 8965590 w 11064076"/>
              <a:gd name="connsiteY228" fmla="*/ 3631883 h 6858001"/>
              <a:gd name="connsiteX229" fmla="*/ 8971270 w 11064076"/>
              <a:gd name="connsiteY229" fmla="*/ 3630613 h 6858001"/>
              <a:gd name="connsiteX230" fmla="*/ 8977284 w 11064076"/>
              <a:gd name="connsiteY230" fmla="*/ 3629343 h 6858001"/>
              <a:gd name="connsiteX231" fmla="*/ 8982629 w 11064076"/>
              <a:gd name="connsiteY231" fmla="*/ 3627120 h 6858001"/>
              <a:gd name="connsiteX232" fmla="*/ 8988309 w 11064076"/>
              <a:gd name="connsiteY232" fmla="*/ 3625215 h 6858001"/>
              <a:gd name="connsiteX233" fmla="*/ 8993989 w 11064076"/>
              <a:gd name="connsiteY233" fmla="*/ 3622675 h 6858001"/>
              <a:gd name="connsiteX234" fmla="*/ 8999334 w 11064076"/>
              <a:gd name="connsiteY234" fmla="*/ 3620135 h 6858001"/>
              <a:gd name="connsiteX235" fmla="*/ 9004680 w 11064076"/>
              <a:gd name="connsiteY235" fmla="*/ 3617278 h 6858001"/>
              <a:gd name="connsiteX236" fmla="*/ 9009691 w 11064076"/>
              <a:gd name="connsiteY236" fmla="*/ 3613785 h 6858001"/>
              <a:gd name="connsiteX237" fmla="*/ 9014703 w 11064076"/>
              <a:gd name="connsiteY237" fmla="*/ 3610610 h 6858001"/>
              <a:gd name="connsiteX238" fmla="*/ 9020048 w 11064076"/>
              <a:gd name="connsiteY238" fmla="*/ 3606800 h 6858001"/>
              <a:gd name="connsiteX239" fmla="*/ 9024392 w 11064076"/>
              <a:gd name="connsiteY239" fmla="*/ 3602673 h 6858001"/>
              <a:gd name="connsiteX240" fmla="*/ 9029069 w 11064076"/>
              <a:gd name="connsiteY240" fmla="*/ 3598228 h 6858001"/>
              <a:gd name="connsiteX241" fmla="*/ 9033747 w 11064076"/>
              <a:gd name="connsiteY241" fmla="*/ 3593783 h 6858001"/>
              <a:gd name="connsiteX242" fmla="*/ 9037756 w 11064076"/>
              <a:gd name="connsiteY242" fmla="*/ 3589020 h 6858001"/>
              <a:gd name="connsiteX243" fmla="*/ 9041431 w 11064076"/>
              <a:gd name="connsiteY243" fmla="*/ 3583940 h 6858001"/>
              <a:gd name="connsiteX244" fmla="*/ 9044772 w 11064076"/>
              <a:gd name="connsiteY244" fmla="*/ 3578860 h 6858001"/>
              <a:gd name="connsiteX245" fmla="*/ 9048113 w 11064076"/>
              <a:gd name="connsiteY245" fmla="*/ 3573463 h 6858001"/>
              <a:gd name="connsiteX246" fmla="*/ 9051120 w 11064076"/>
              <a:gd name="connsiteY246" fmla="*/ 3568383 h 6858001"/>
              <a:gd name="connsiteX247" fmla="*/ 9053793 w 11064076"/>
              <a:gd name="connsiteY247" fmla="*/ 3562985 h 6858001"/>
              <a:gd name="connsiteX248" fmla="*/ 9056131 w 11064076"/>
              <a:gd name="connsiteY248" fmla="*/ 3557588 h 6858001"/>
              <a:gd name="connsiteX249" fmla="*/ 9058136 w 11064076"/>
              <a:gd name="connsiteY249" fmla="*/ 3551873 h 6858001"/>
              <a:gd name="connsiteX250" fmla="*/ 9060141 w 11064076"/>
              <a:gd name="connsiteY250" fmla="*/ 3546158 h 6858001"/>
              <a:gd name="connsiteX251" fmla="*/ 9061811 w 11064076"/>
              <a:gd name="connsiteY251" fmla="*/ 3540443 h 6858001"/>
              <a:gd name="connsiteX252" fmla="*/ 9063147 w 11064076"/>
              <a:gd name="connsiteY252" fmla="*/ 3534410 h 6858001"/>
              <a:gd name="connsiteX253" fmla="*/ 9064150 w 11064076"/>
              <a:gd name="connsiteY253" fmla="*/ 3528695 h 6858001"/>
              <a:gd name="connsiteX254" fmla="*/ 9064818 w 11064076"/>
              <a:gd name="connsiteY254" fmla="*/ 3522980 h 6858001"/>
              <a:gd name="connsiteX255" fmla="*/ 9065152 w 11064076"/>
              <a:gd name="connsiteY255" fmla="*/ 3516948 h 6858001"/>
              <a:gd name="connsiteX256" fmla="*/ 9065152 w 11064076"/>
              <a:gd name="connsiteY256" fmla="*/ 3511233 h 6858001"/>
              <a:gd name="connsiteX257" fmla="*/ 9065152 w 11064076"/>
              <a:gd name="connsiteY257" fmla="*/ 3505200 h 6858001"/>
              <a:gd name="connsiteX258" fmla="*/ 9064818 w 11064076"/>
              <a:gd name="connsiteY258" fmla="*/ 3499168 h 6858001"/>
              <a:gd name="connsiteX259" fmla="*/ 9064150 w 11064076"/>
              <a:gd name="connsiteY259" fmla="*/ 3493453 h 6858001"/>
              <a:gd name="connsiteX260" fmla="*/ 9063147 w 11064076"/>
              <a:gd name="connsiteY260" fmla="*/ 3487738 h 6858001"/>
              <a:gd name="connsiteX261" fmla="*/ 9061811 w 11064076"/>
              <a:gd name="connsiteY261" fmla="*/ 3481705 h 6858001"/>
              <a:gd name="connsiteX262" fmla="*/ 9060141 w 11064076"/>
              <a:gd name="connsiteY262" fmla="*/ 3475990 h 6858001"/>
              <a:gd name="connsiteX263" fmla="*/ 9058136 w 11064076"/>
              <a:gd name="connsiteY263" fmla="*/ 3470593 h 6858001"/>
              <a:gd name="connsiteX264" fmla="*/ 9056131 w 11064076"/>
              <a:gd name="connsiteY264" fmla="*/ 3464878 h 6858001"/>
              <a:gd name="connsiteX265" fmla="*/ 9053793 w 11064076"/>
              <a:gd name="connsiteY265" fmla="*/ 3459163 h 6858001"/>
              <a:gd name="connsiteX266" fmla="*/ 9051120 w 11064076"/>
              <a:gd name="connsiteY266" fmla="*/ 3453765 h 6858001"/>
              <a:gd name="connsiteX267" fmla="*/ 9048113 w 11064076"/>
              <a:gd name="connsiteY267" fmla="*/ 3448685 h 6858001"/>
              <a:gd name="connsiteX268" fmla="*/ 9044772 w 11064076"/>
              <a:gd name="connsiteY268" fmla="*/ 3443605 h 6858001"/>
              <a:gd name="connsiteX269" fmla="*/ 9041431 w 11064076"/>
              <a:gd name="connsiteY269" fmla="*/ 3438525 h 6858001"/>
              <a:gd name="connsiteX270" fmla="*/ 9037756 w 11064076"/>
              <a:gd name="connsiteY270" fmla="*/ 3433763 h 6858001"/>
              <a:gd name="connsiteX271" fmla="*/ 9033747 w 11064076"/>
              <a:gd name="connsiteY271" fmla="*/ 3428683 h 6858001"/>
              <a:gd name="connsiteX272" fmla="*/ 9029069 w 11064076"/>
              <a:gd name="connsiteY272" fmla="*/ 3423920 h 6858001"/>
              <a:gd name="connsiteX273" fmla="*/ 8360534 w 11064076"/>
              <a:gd name="connsiteY273" fmla="*/ 2756218 h 6858001"/>
              <a:gd name="connsiteX274" fmla="*/ 8357193 w 11064076"/>
              <a:gd name="connsiteY274" fmla="*/ 2753043 h 6858001"/>
              <a:gd name="connsiteX275" fmla="*/ 8353852 w 11064076"/>
              <a:gd name="connsiteY275" fmla="*/ 2749233 h 6858001"/>
              <a:gd name="connsiteX276" fmla="*/ 8347504 w 11064076"/>
              <a:gd name="connsiteY276" fmla="*/ 2741295 h 6858001"/>
              <a:gd name="connsiteX277" fmla="*/ 8342492 w 11064076"/>
              <a:gd name="connsiteY277" fmla="*/ 2733040 h 6858001"/>
              <a:gd name="connsiteX278" fmla="*/ 8337815 w 11064076"/>
              <a:gd name="connsiteY278" fmla="*/ 2724468 h 6858001"/>
              <a:gd name="connsiteX279" fmla="*/ 8333471 w 11064076"/>
              <a:gd name="connsiteY279" fmla="*/ 2715895 h 6858001"/>
              <a:gd name="connsiteX280" fmla="*/ 8330465 w 11064076"/>
              <a:gd name="connsiteY280" fmla="*/ 2707005 h 6858001"/>
              <a:gd name="connsiteX281" fmla="*/ 8328126 w 11064076"/>
              <a:gd name="connsiteY281" fmla="*/ 2697798 h 6858001"/>
              <a:gd name="connsiteX282" fmla="*/ 8326121 w 11064076"/>
              <a:gd name="connsiteY282" fmla="*/ 2688590 h 6858001"/>
              <a:gd name="connsiteX283" fmla="*/ 5629596 w 11064076"/>
              <a:gd name="connsiteY283" fmla="*/ 0 h 6858001"/>
              <a:gd name="connsiteX0" fmla="*/ 5629596 w 11064076"/>
              <a:gd name="connsiteY0" fmla="*/ 0 h 6858001"/>
              <a:gd name="connsiteX1" fmla="*/ 0 w 11064076"/>
              <a:gd name="connsiteY1" fmla="*/ 0 h 6858001"/>
              <a:gd name="connsiteX2" fmla="*/ 0 w 11064076"/>
              <a:gd name="connsiteY2" fmla="*/ 6858000 h 6858001"/>
              <a:gd name="connsiteX3" fmla="*/ 10123449 w 11064076"/>
              <a:gd name="connsiteY3" fmla="*/ 6858000 h 6858001"/>
              <a:gd name="connsiteX4" fmla="*/ 10581615 w 11064076"/>
              <a:gd name="connsiteY4" fmla="*/ 6858001 h 6858001"/>
              <a:gd name="connsiteX5" fmla="*/ 11064076 w 11064076"/>
              <a:gd name="connsiteY5" fmla="*/ 6858000 h 6858001"/>
              <a:gd name="connsiteX6" fmla="*/ 9033747 w 11064076"/>
              <a:gd name="connsiteY6" fmla="*/ 4816793 h 6858001"/>
              <a:gd name="connsiteX7" fmla="*/ 9018378 w 11064076"/>
              <a:gd name="connsiteY7" fmla="*/ 4803458 h 6858001"/>
              <a:gd name="connsiteX8" fmla="*/ 9003009 w 11064076"/>
              <a:gd name="connsiteY8" fmla="*/ 4789488 h 6858001"/>
              <a:gd name="connsiteX9" fmla="*/ 8987975 w 11064076"/>
              <a:gd name="connsiteY9" fmla="*/ 4775518 h 6858001"/>
              <a:gd name="connsiteX10" fmla="*/ 8973274 w 11064076"/>
              <a:gd name="connsiteY10" fmla="*/ 4760913 h 6858001"/>
              <a:gd name="connsiteX11" fmla="*/ 8039129 w 11064076"/>
              <a:gd name="connsiteY11" fmla="*/ 3828098 h 6858001"/>
              <a:gd name="connsiteX12" fmla="*/ 8034451 w 11064076"/>
              <a:gd name="connsiteY12" fmla="*/ 3823335 h 6858001"/>
              <a:gd name="connsiteX13" fmla="*/ 8030443 w 11064076"/>
              <a:gd name="connsiteY13" fmla="*/ 3818573 h 6858001"/>
              <a:gd name="connsiteX14" fmla="*/ 8026767 w 11064076"/>
              <a:gd name="connsiteY14" fmla="*/ 3813493 h 6858001"/>
              <a:gd name="connsiteX15" fmla="*/ 8023426 w 11064076"/>
              <a:gd name="connsiteY15" fmla="*/ 3808413 h 6858001"/>
              <a:gd name="connsiteX16" fmla="*/ 8020086 w 11064076"/>
              <a:gd name="connsiteY16" fmla="*/ 3803333 h 6858001"/>
              <a:gd name="connsiteX17" fmla="*/ 8017079 w 11064076"/>
              <a:gd name="connsiteY17" fmla="*/ 3798253 h 6858001"/>
              <a:gd name="connsiteX18" fmla="*/ 8014406 w 11064076"/>
              <a:gd name="connsiteY18" fmla="*/ 3792855 h 6858001"/>
              <a:gd name="connsiteX19" fmla="*/ 8012067 w 11064076"/>
              <a:gd name="connsiteY19" fmla="*/ 3787458 h 6858001"/>
              <a:gd name="connsiteX20" fmla="*/ 8010062 w 11064076"/>
              <a:gd name="connsiteY20" fmla="*/ 3781425 h 6858001"/>
              <a:gd name="connsiteX21" fmla="*/ 8008392 w 11064076"/>
              <a:gd name="connsiteY21" fmla="*/ 3776028 h 6858001"/>
              <a:gd name="connsiteX22" fmla="*/ 8006387 w 11064076"/>
              <a:gd name="connsiteY22" fmla="*/ 3770313 h 6858001"/>
              <a:gd name="connsiteX23" fmla="*/ 8005051 w 11064076"/>
              <a:gd name="connsiteY23" fmla="*/ 3764280 h 6858001"/>
              <a:gd name="connsiteX24" fmla="*/ 8004049 w 11064076"/>
              <a:gd name="connsiteY24" fmla="*/ 3758565 h 6858001"/>
              <a:gd name="connsiteX25" fmla="*/ 8003380 w 11064076"/>
              <a:gd name="connsiteY25" fmla="*/ 3752850 h 6858001"/>
              <a:gd name="connsiteX26" fmla="*/ 8003046 w 11064076"/>
              <a:gd name="connsiteY26" fmla="*/ 3746818 h 6858001"/>
              <a:gd name="connsiteX27" fmla="*/ 8003046 w 11064076"/>
              <a:gd name="connsiteY27" fmla="*/ 3740785 h 6858001"/>
              <a:gd name="connsiteX28" fmla="*/ 8003046 w 11064076"/>
              <a:gd name="connsiteY28" fmla="*/ 3735070 h 6858001"/>
              <a:gd name="connsiteX29" fmla="*/ 8003380 w 11064076"/>
              <a:gd name="connsiteY29" fmla="*/ 3729038 h 6858001"/>
              <a:gd name="connsiteX30" fmla="*/ 8004049 w 11064076"/>
              <a:gd name="connsiteY30" fmla="*/ 3723323 h 6858001"/>
              <a:gd name="connsiteX31" fmla="*/ 8005051 w 11064076"/>
              <a:gd name="connsiteY31" fmla="*/ 3717608 h 6858001"/>
              <a:gd name="connsiteX32" fmla="*/ 8006387 w 11064076"/>
              <a:gd name="connsiteY32" fmla="*/ 3711575 h 6858001"/>
              <a:gd name="connsiteX33" fmla="*/ 8008392 w 11064076"/>
              <a:gd name="connsiteY33" fmla="*/ 3705860 h 6858001"/>
              <a:gd name="connsiteX34" fmla="*/ 8010062 w 11064076"/>
              <a:gd name="connsiteY34" fmla="*/ 3700145 h 6858001"/>
              <a:gd name="connsiteX35" fmla="*/ 8012067 w 11064076"/>
              <a:gd name="connsiteY35" fmla="*/ 3694748 h 6858001"/>
              <a:gd name="connsiteX36" fmla="*/ 8014406 w 11064076"/>
              <a:gd name="connsiteY36" fmla="*/ 3689033 h 6858001"/>
              <a:gd name="connsiteX37" fmla="*/ 8017079 w 11064076"/>
              <a:gd name="connsiteY37" fmla="*/ 3683635 h 6858001"/>
              <a:gd name="connsiteX38" fmla="*/ 8020086 w 11064076"/>
              <a:gd name="connsiteY38" fmla="*/ 3678238 h 6858001"/>
              <a:gd name="connsiteX39" fmla="*/ 8023426 w 11064076"/>
              <a:gd name="connsiteY39" fmla="*/ 3673158 h 6858001"/>
              <a:gd name="connsiteX40" fmla="*/ 8026767 w 11064076"/>
              <a:gd name="connsiteY40" fmla="*/ 3668078 h 6858001"/>
              <a:gd name="connsiteX41" fmla="*/ 8030443 w 11064076"/>
              <a:gd name="connsiteY41" fmla="*/ 3662998 h 6858001"/>
              <a:gd name="connsiteX42" fmla="*/ 8034451 w 11064076"/>
              <a:gd name="connsiteY42" fmla="*/ 3658235 h 6858001"/>
              <a:gd name="connsiteX43" fmla="*/ 8039129 w 11064076"/>
              <a:gd name="connsiteY43" fmla="*/ 3653790 h 6858001"/>
              <a:gd name="connsiteX44" fmla="*/ 8043807 w 11064076"/>
              <a:gd name="connsiteY44" fmla="*/ 3649345 h 6858001"/>
              <a:gd name="connsiteX45" fmla="*/ 8048149 w 11064076"/>
              <a:gd name="connsiteY45" fmla="*/ 3645218 h 6858001"/>
              <a:gd name="connsiteX46" fmla="*/ 8053495 w 11064076"/>
              <a:gd name="connsiteY46" fmla="*/ 3641725 h 6858001"/>
              <a:gd name="connsiteX47" fmla="*/ 8058507 w 11064076"/>
              <a:gd name="connsiteY47" fmla="*/ 3638233 h 6858001"/>
              <a:gd name="connsiteX48" fmla="*/ 8063852 w 11064076"/>
              <a:gd name="connsiteY48" fmla="*/ 3634740 h 6858001"/>
              <a:gd name="connsiteX49" fmla="*/ 8068864 w 11064076"/>
              <a:gd name="connsiteY49" fmla="*/ 3631883 h 6858001"/>
              <a:gd name="connsiteX50" fmla="*/ 8074209 w 11064076"/>
              <a:gd name="connsiteY50" fmla="*/ 3629343 h 6858001"/>
              <a:gd name="connsiteX51" fmla="*/ 8079889 w 11064076"/>
              <a:gd name="connsiteY51" fmla="*/ 3626803 h 6858001"/>
              <a:gd name="connsiteX52" fmla="*/ 8085569 w 11064076"/>
              <a:gd name="connsiteY52" fmla="*/ 3624898 h 6858001"/>
              <a:gd name="connsiteX53" fmla="*/ 8091248 w 11064076"/>
              <a:gd name="connsiteY53" fmla="*/ 3622675 h 6858001"/>
              <a:gd name="connsiteX54" fmla="*/ 8096928 w 11064076"/>
              <a:gd name="connsiteY54" fmla="*/ 3621405 h 6858001"/>
              <a:gd name="connsiteX55" fmla="*/ 8102608 w 11064076"/>
              <a:gd name="connsiteY55" fmla="*/ 3620135 h 6858001"/>
              <a:gd name="connsiteX56" fmla="*/ 8108622 w 11064076"/>
              <a:gd name="connsiteY56" fmla="*/ 3618865 h 6858001"/>
              <a:gd name="connsiteX57" fmla="*/ 8114301 w 11064076"/>
              <a:gd name="connsiteY57" fmla="*/ 3618230 h 6858001"/>
              <a:gd name="connsiteX58" fmla="*/ 8120315 w 11064076"/>
              <a:gd name="connsiteY58" fmla="*/ 3617913 h 6858001"/>
              <a:gd name="connsiteX59" fmla="*/ 8126329 w 11064076"/>
              <a:gd name="connsiteY59" fmla="*/ 3617595 h 6858001"/>
              <a:gd name="connsiteX60" fmla="*/ 8132343 w 11064076"/>
              <a:gd name="connsiteY60" fmla="*/ 3617913 h 6858001"/>
              <a:gd name="connsiteX61" fmla="*/ 8138023 w 11064076"/>
              <a:gd name="connsiteY61" fmla="*/ 3618230 h 6858001"/>
              <a:gd name="connsiteX62" fmla="*/ 8143702 w 11064076"/>
              <a:gd name="connsiteY62" fmla="*/ 3618865 h 6858001"/>
              <a:gd name="connsiteX63" fmla="*/ 8149716 w 11064076"/>
              <a:gd name="connsiteY63" fmla="*/ 3620135 h 6858001"/>
              <a:gd name="connsiteX64" fmla="*/ 8155396 w 11064076"/>
              <a:gd name="connsiteY64" fmla="*/ 3621405 h 6858001"/>
              <a:gd name="connsiteX65" fmla="*/ 8161410 w 11064076"/>
              <a:gd name="connsiteY65" fmla="*/ 3622675 h 6858001"/>
              <a:gd name="connsiteX66" fmla="*/ 8167089 w 11064076"/>
              <a:gd name="connsiteY66" fmla="*/ 3624898 h 6858001"/>
              <a:gd name="connsiteX67" fmla="*/ 8172769 w 11064076"/>
              <a:gd name="connsiteY67" fmla="*/ 3626803 h 6858001"/>
              <a:gd name="connsiteX68" fmla="*/ 8178115 w 11064076"/>
              <a:gd name="connsiteY68" fmla="*/ 3629343 h 6858001"/>
              <a:gd name="connsiteX69" fmla="*/ 8183460 w 11064076"/>
              <a:gd name="connsiteY69" fmla="*/ 3631883 h 6858001"/>
              <a:gd name="connsiteX70" fmla="*/ 8188806 w 11064076"/>
              <a:gd name="connsiteY70" fmla="*/ 3634740 h 6858001"/>
              <a:gd name="connsiteX71" fmla="*/ 8194151 w 11064076"/>
              <a:gd name="connsiteY71" fmla="*/ 3638233 h 6858001"/>
              <a:gd name="connsiteX72" fmla="*/ 8199163 w 11064076"/>
              <a:gd name="connsiteY72" fmla="*/ 3641725 h 6858001"/>
              <a:gd name="connsiteX73" fmla="*/ 8204175 w 11064076"/>
              <a:gd name="connsiteY73" fmla="*/ 3645218 h 6858001"/>
              <a:gd name="connsiteX74" fmla="*/ 8208852 w 11064076"/>
              <a:gd name="connsiteY74" fmla="*/ 3649345 h 6858001"/>
              <a:gd name="connsiteX75" fmla="*/ 8213529 w 11064076"/>
              <a:gd name="connsiteY75" fmla="*/ 3653790 h 6858001"/>
              <a:gd name="connsiteX76" fmla="*/ 8882399 w 11064076"/>
              <a:gd name="connsiteY76" fmla="*/ 4321810 h 6858001"/>
              <a:gd name="connsiteX77" fmla="*/ 8886742 w 11064076"/>
              <a:gd name="connsiteY77" fmla="*/ 4325938 h 6858001"/>
              <a:gd name="connsiteX78" fmla="*/ 8891420 w 11064076"/>
              <a:gd name="connsiteY78" fmla="*/ 4330065 h 6858001"/>
              <a:gd name="connsiteX79" fmla="*/ 8896765 w 11064076"/>
              <a:gd name="connsiteY79" fmla="*/ 4334193 h 6858001"/>
              <a:gd name="connsiteX80" fmla="*/ 8901443 w 11064076"/>
              <a:gd name="connsiteY80" fmla="*/ 4337685 h 6858001"/>
              <a:gd name="connsiteX81" fmla="*/ 8906788 w 11064076"/>
              <a:gd name="connsiteY81" fmla="*/ 4340860 h 6858001"/>
              <a:gd name="connsiteX82" fmla="*/ 8912134 w 11064076"/>
              <a:gd name="connsiteY82" fmla="*/ 4343718 h 6858001"/>
              <a:gd name="connsiteX83" fmla="*/ 8917480 w 11064076"/>
              <a:gd name="connsiteY83" fmla="*/ 4346575 h 6858001"/>
              <a:gd name="connsiteX84" fmla="*/ 8923159 w 11064076"/>
              <a:gd name="connsiteY84" fmla="*/ 4349115 h 6858001"/>
              <a:gd name="connsiteX85" fmla="*/ 8928505 w 11064076"/>
              <a:gd name="connsiteY85" fmla="*/ 4351020 h 6858001"/>
              <a:gd name="connsiteX86" fmla="*/ 8934185 w 11064076"/>
              <a:gd name="connsiteY86" fmla="*/ 4352608 h 6858001"/>
              <a:gd name="connsiteX87" fmla="*/ 8940198 w 11064076"/>
              <a:gd name="connsiteY87" fmla="*/ 4354513 h 6858001"/>
              <a:gd name="connsiteX88" fmla="*/ 8945878 w 11064076"/>
              <a:gd name="connsiteY88" fmla="*/ 4355465 h 6858001"/>
              <a:gd name="connsiteX89" fmla="*/ 8951892 w 11064076"/>
              <a:gd name="connsiteY89" fmla="*/ 4356418 h 6858001"/>
              <a:gd name="connsiteX90" fmla="*/ 8957572 w 11064076"/>
              <a:gd name="connsiteY90" fmla="*/ 4357053 h 6858001"/>
              <a:gd name="connsiteX91" fmla="*/ 8963585 w 11064076"/>
              <a:gd name="connsiteY91" fmla="*/ 4358005 h 6858001"/>
              <a:gd name="connsiteX92" fmla="*/ 8969265 w 11064076"/>
              <a:gd name="connsiteY92" fmla="*/ 4358005 h 6858001"/>
              <a:gd name="connsiteX93" fmla="*/ 8975279 w 11064076"/>
              <a:gd name="connsiteY93" fmla="*/ 4358005 h 6858001"/>
              <a:gd name="connsiteX94" fmla="*/ 8981293 w 11064076"/>
              <a:gd name="connsiteY94" fmla="*/ 4357053 h 6858001"/>
              <a:gd name="connsiteX95" fmla="*/ 8986972 w 11064076"/>
              <a:gd name="connsiteY95" fmla="*/ 4356418 h 6858001"/>
              <a:gd name="connsiteX96" fmla="*/ 8992986 w 11064076"/>
              <a:gd name="connsiteY96" fmla="*/ 4355465 h 6858001"/>
              <a:gd name="connsiteX97" fmla="*/ 8998666 w 11064076"/>
              <a:gd name="connsiteY97" fmla="*/ 4354513 h 6858001"/>
              <a:gd name="connsiteX98" fmla="*/ 9004680 w 11064076"/>
              <a:gd name="connsiteY98" fmla="*/ 4352608 h 6858001"/>
              <a:gd name="connsiteX99" fmla="*/ 9010025 w 11064076"/>
              <a:gd name="connsiteY99" fmla="*/ 4351020 h 6858001"/>
              <a:gd name="connsiteX100" fmla="*/ 9015705 w 11064076"/>
              <a:gd name="connsiteY100" fmla="*/ 4349115 h 6858001"/>
              <a:gd name="connsiteX101" fmla="*/ 9021385 w 11064076"/>
              <a:gd name="connsiteY101" fmla="*/ 4346575 h 6858001"/>
              <a:gd name="connsiteX102" fmla="*/ 9026730 w 11064076"/>
              <a:gd name="connsiteY102" fmla="*/ 4343718 h 6858001"/>
              <a:gd name="connsiteX103" fmla="*/ 9032076 w 11064076"/>
              <a:gd name="connsiteY103" fmla="*/ 4340860 h 6858001"/>
              <a:gd name="connsiteX104" fmla="*/ 9037088 w 11064076"/>
              <a:gd name="connsiteY104" fmla="*/ 4337685 h 6858001"/>
              <a:gd name="connsiteX105" fmla="*/ 9042099 w 11064076"/>
              <a:gd name="connsiteY105" fmla="*/ 4334193 h 6858001"/>
              <a:gd name="connsiteX106" fmla="*/ 9047445 w 11064076"/>
              <a:gd name="connsiteY106" fmla="*/ 4330065 h 6858001"/>
              <a:gd name="connsiteX107" fmla="*/ 9051788 w 11064076"/>
              <a:gd name="connsiteY107" fmla="*/ 4325938 h 6858001"/>
              <a:gd name="connsiteX108" fmla="*/ 9056465 w 11064076"/>
              <a:gd name="connsiteY108" fmla="*/ 4321810 h 6858001"/>
              <a:gd name="connsiteX109" fmla="*/ 9061143 w 11064076"/>
              <a:gd name="connsiteY109" fmla="*/ 4317048 h 6858001"/>
              <a:gd name="connsiteX110" fmla="*/ 9065152 w 11064076"/>
              <a:gd name="connsiteY110" fmla="*/ 4312285 h 6858001"/>
              <a:gd name="connsiteX111" fmla="*/ 9068827 w 11064076"/>
              <a:gd name="connsiteY111" fmla="*/ 4307523 h 6858001"/>
              <a:gd name="connsiteX112" fmla="*/ 9072168 w 11064076"/>
              <a:gd name="connsiteY112" fmla="*/ 4302443 h 6858001"/>
              <a:gd name="connsiteX113" fmla="*/ 9075509 w 11064076"/>
              <a:gd name="connsiteY113" fmla="*/ 4297363 h 6858001"/>
              <a:gd name="connsiteX114" fmla="*/ 9078516 w 11064076"/>
              <a:gd name="connsiteY114" fmla="*/ 4292283 h 6858001"/>
              <a:gd name="connsiteX115" fmla="*/ 9081189 w 11064076"/>
              <a:gd name="connsiteY115" fmla="*/ 4286568 h 6858001"/>
              <a:gd name="connsiteX116" fmla="*/ 9083528 w 11064076"/>
              <a:gd name="connsiteY116" fmla="*/ 4281170 h 6858001"/>
              <a:gd name="connsiteX117" fmla="*/ 9085532 w 11064076"/>
              <a:gd name="connsiteY117" fmla="*/ 4275455 h 6858001"/>
              <a:gd name="connsiteX118" fmla="*/ 9087537 w 11064076"/>
              <a:gd name="connsiteY118" fmla="*/ 4270058 h 6858001"/>
              <a:gd name="connsiteX119" fmla="*/ 9089207 w 11064076"/>
              <a:gd name="connsiteY119" fmla="*/ 4264025 h 6858001"/>
              <a:gd name="connsiteX120" fmla="*/ 9090544 w 11064076"/>
              <a:gd name="connsiteY120" fmla="*/ 4258310 h 6858001"/>
              <a:gd name="connsiteX121" fmla="*/ 9091546 w 11064076"/>
              <a:gd name="connsiteY121" fmla="*/ 4252595 h 6858001"/>
              <a:gd name="connsiteX122" fmla="*/ 9092214 w 11064076"/>
              <a:gd name="connsiteY122" fmla="*/ 4246563 h 6858001"/>
              <a:gd name="connsiteX123" fmla="*/ 9092548 w 11064076"/>
              <a:gd name="connsiteY123" fmla="*/ 4240848 h 6858001"/>
              <a:gd name="connsiteX124" fmla="*/ 9092548 w 11064076"/>
              <a:gd name="connsiteY124" fmla="*/ 4234815 h 6858001"/>
              <a:gd name="connsiteX125" fmla="*/ 9092548 w 11064076"/>
              <a:gd name="connsiteY125" fmla="*/ 4228783 h 6858001"/>
              <a:gd name="connsiteX126" fmla="*/ 9092214 w 11064076"/>
              <a:gd name="connsiteY126" fmla="*/ 4223068 h 6858001"/>
              <a:gd name="connsiteX127" fmla="*/ 9091546 w 11064076"/>
              <a:gd name="connsiteY127" fmla="*/ 4217353 h 6858001"/>
              <a:gd name="connsiteX128" fmla="*/ 9090544 w 11064076"/>
              <a:gd name="connsiteY128" fmla="*/ 4211320 h 6858001"/>
              <a:gd name="connsiteX129" fmla="*/ 9089207 w 11064076"/>
              <a:gd name="connsiteY129" fmla="*/ 4205605 h 6858001"/>
              <a:gd name="connsiteX130" fmla="*/ 9087537 w 11064076"/>
              <a:gd name="connsiteY130" fmla="*/ 4199890 h 6858001"/>
              <a:gd name="connsiteX131" fmla="*/ 9085532 w 11064076"/>
              <a:gd name="connsiteY131" fmla="*/ 4194175 h 6858001"/>
              <a:gd name="connsiteX132" fmla="*/ 9083528 w 11064076"/>
              <a:gd name="connsiteY132" fmla="*/ 4188460 h 6858001"/>
              <a:gd name="connsiteX133" fmla="*/ 9081189 w 11064076"/>
              <a:gd name="connsiteY133" fmla="*/ 4183063 h 6858001"/>
              <a:gd name="connsiteX134" fmla="*/ 9078516 w 11064076"/>
              <a:gd name="connsiteY134" fmla="*/ 4177665 h 6858001"/>
              <a:gd name="connsiteX135" fmla="*/ 9075509 w 11064076"/>
              <a:gd name="connsiteY135" fmla="*/ 4172268 h 6858001"/>
              <a:gd name="connsiteX136" fmla="*/ 9072168 w 11064076"/>
              <a:gd name="connsiteY136" fmla="*/ 4166870 h 6858001"/>
              <a:gd name="connsiteX137" fmla="*/ 9068827 w 11064076"/>
              <a:gd name="connsiteY137" fmla="*/ 4161790 h 6858001"/>
              <a:gd name="connsiteX138" fmla="*/ 9065152 w 11064076"/>
              <a:gd name="connsiteY138" fmla="*/ 4157028 h 6858001"/>
              <a:gd name="connsiteX139" fmla="*/ 9061143 w 11064076"/>
              <a:gd name="connsiteY139" fmla="*/ 4152265 h 6858001"/>
              <a:gd name="connsiteX140" fmla="*/ 9056465 w 11064076"/>
              <a:gd name="connsiteY140" fmla="*/ 4147820 h 6858001"/>
              <a:gd name="connsiteX141" fmla="*/ 8669577 w 11064076"/>
              <a:gd name="connsiteY141" fmla="*/ 3761423 h 6858001"/>
              <a:gd name="connsiteX142" fmla="*/ 8473460 w 11064076"/>
              <a:gd name="connsiteY142" fmla="*/ 3565208 h 6858001"/>
              <a:gd name="connsiteX143" fmla="*/ 8468782 w 11064076"/>
              <a:gd name="connsiteY143" fmla="*/ 3560445 h 6858001"/>
              <a:gd name="connsiteX144" fmla="*/ 8464773 w 11064076"/>
              <a:gd name="connsiteY144" fmla="*/ 3555683 h 6858001"/>
              <a:gd name="connsiteX145" fmla="*/ 8461098 w 11064076"/>
              <a:gd name="connsiteY145" fmla="*/ 3550920 h 6858001"/>
              <a:gd name="connsiteX146" fmla="*/ 8457423 w 11064076"/>
              <a:gd name="connsiteY146" fmla="*/ 3545840 h 6858001"/>
              <a:gd name="connsiteX147" fmla="*/ 8454082 w 11064076"/>
              <a:gd name="connsiteY147" fmla="*/ 3540760 h 6858001"/>
              <a:gd name="connsiteX148" fmla="*/ 8451409 w 11064076"/>
              <a:gd name="connsiteY148" fmla="*/ 3535680 h 6858001"/>
              <a:gd name="connsiteX149" fmla="*/ 8448736 w 11064076"/>
              <a:gd name="connsiteY149" fmla="*/ 3529965 h 6858001"/>
              <a:gd name="connsiteX150" fmla="*/ 8446398 w 11064076"/>
              <a:gd name="connsiteY150" fmla="*/ 3524568 h 6858001"/>
              <a:gd name="connsiteX151" fmla="*/ 8444059 w 11064076"/>
              <a:gd name="connsiteY151" fmla="*/ 3518853 h 6858001"/>
              <a:gd name="connsiteX152" fmla="*/ 8442054 w 11064076"/>
              <a:gd name="connsiteY152" fmla="*/ 3513455 h 6858001"/>
              <a:gd name="connsiteX153" fmla="*/ 8440718 w 11064076"/>
              <a:gd name="connsiteY153" fmla="*/ 3507423 h 6858001"/>
              <a:gd name="connsiteX154" fmla="*/ 8439382 w 11064076"/>
              <a:gd name="connsiteY154" fmla="*/ 3501708 h 6858001"/>
              <a:gd name="connsiteX155" fmla="*/ 8438379 w 11064076"/>
              <a:gd name="connsiteY155" fmla="*/ 3495993 h 6858001"/>
              <a:gd name="connsiteX156" fmla="*/ 8437711 w 11064076"/>
              <a:gd name="connsiteY156" fmla="*/ 3489960 h 6858001"/>
              <a:gd name="connsiteX157" fmla="*/ 8437377 w 11064076"/>
              <a:gd name="connsiteY157" fmla="*/ 3484245 h 6858001"/>
              <a:gd name="connsiteX158" fmla="*/ 8437043 w 11064076"/>
              <a:gd name="connsiteY158" fmla="*/ 3478213 h 6858001"/>
              <a:gd name="connsiteX159" fmla="*/ 8437377 w 11064076"/>
              <a:gd name="connsiteY159" fmla="*/ 3472180 h 6858001"/>
              <a:gd name="connsiteX160" fmla="*/ 8437711 w 11064076"/>
              <a:gd name="connsiteY160" fmla="*/ 3466465 h 6858001"/>
              <a:gd name="connsiteX161" fmla="*/ 8438379 w 11064076"/>
              <a:gd name="connsiteY161" fmla="*/ 3460750 h 6858001"/>
              <a:gd name="connsiteX162" fmla="*/ 8439382 w 11064076"/>
              <a:gd name="connsiteY162" fmla="*/ 3454718 h 6858001"/>
              <a:gd name="connsiteX163" fmla="*/ 8440718 w 11064076"/>
              <a:gd name="connsiteY163" fmla="*/ 3449003 h 6858001"/>
              <a:gd name="connsiteX164" fmla="*/ 8442054 w 11064076"/>
              <a:gd name="connsiteY164" fmla="*/ 3443288 h 6858001"/>
              <a:gd name="connsiteX165" fmla="*/ 8444059 w 11064076"/>
              <a:gd name="connsiteY165" fmla="*/ 3437255 h 6858001"/>
              <a:gd name="connsiteX166" fmla="*/ 8446398 w 11064076"/>
              <a:gd name="connsiteY166" fmla="*/ 3431858 h 6858001"/>
              <a:gd name="connsiteX167" fmla="*/ 8448736 w 11064076"/>
              <a:gd name="connsiteY167" fmla="*/ 3426460 h 6858001"/>
              <a:gd name="connsiteX168" fmla="*/ 8451409 w 11064076"/>
              <a:gd name="connsiteY168" fmla="*/ 3421063 h 6858001"/>
              <a:gd name="connsiteX169" fmla="*/ 8454082 w 11064076"/>
              <a:gd name="connsiteY169" fmla="*/ 3415348 h 6858001"/>
              <a:gd name="connsiteX170" fmla="*/ 8457423 w 11064076"/>
              <a:gd name="connsiteY170" fmla="*/ 3410268 h 6858001"/>
              <a:gd name="connsiteX171" fmla="*/ 8461098 w 11064076"/>
              <a:gd name="connsiteY171" fmla="*/ 3405505 h 6858001"/>
              <a:gd name="connsiteX172" fmla="*/ 8464773 w 11064076"/>
              <a:gd name="connsiteY172" fmla="*/ 3400425 h 6858001"/>
              <a:gd name="connsiteX173" fmla="*/ 8468782 w 11064076"/>
              <a:gd name="connsiteY173" fmla="*/ 3395663 h 6858001"/>
              <a:gd name="connsiteX174" fmla="*/ 8473460 w 11064076"/>
              <a:gd name="connsiteY174" fmla="*/ 3391218 h 6858001"/>
              <a:gd name="connsiteX175" fmla="*/ 8477803 w 11064076"/>
              <a:gd name="connsiteY175" fmla="*/ 3386773 h 6858001"/>
              <a:gd name="connsiteX176" fmla="*/ 8482481 w 11064076"/>
              <a:gd name="connsiteY176" fmla="*/ 3382645 h 6858001"/>
              <a:gd name="connsiteX177" fmla="*/ 8487826 w 11064076"/>
              <a:gd name="connsiteY177" fmla="*/ 3378835 h 6858001"/>
              <a:gd name="connsiteX178" fmla="*/ 8492504 w 11064076"/>
              <a:gd name="connsiteY178" fmla="*/ 3375343 h 6858001"/>
              <a:gd name="connsiteX179" fmla="*/ 8497515 w 11064076"/>
              <a:gd name="connsiteY179" fmla="*/ 3372168 h 6858001"/>
              <a:gd name="connsiteX180" fmla="*/ 8503195 w 11064076"/>
              <a:gd name="connsiteY180" fmla="*/ 3369310 h 6858001"/>
              <a:gd name="connsiteX181" fmla="*/ 8508540 w 11064076"/>
              <a:gd name="connsiteY181" fmla="*/ 3366453 h 6858001"/>
              <a:gd name="connsiteX182" fmla="*/ 8514220 w 11064076"/>
              <a:gd name="connsiteY182" fmla="*/ 3364230 h 6858001"/>
              <a:gd name="connsiteX183" fmla="*/ 8519566 w 11064076"/>
              <a:gd name="connsiteY183" fmla="*/ 3362008 h 6858001"/>
              <a:gd name="connsiteX184" fmla="*/ 8525245 w 11064076"/>
              <a:gd name="connsiteY184" fmla="*/ 3360103 h 6858001"/>
              <a:gd name="connsiteX185" fmla="*/ 8531259 w 11064076"/>
              <a:gd name="connsiteY185" fmla="*/ 3358833 h 6858001"/>
              <a:gd name="connsiteX186" fmla="*/ 8536939 w 11064076"/>
              <a:gd name="connsiteY186" fmla="*/ 3357245 h 6858001"/>
              <a:gd name="connsiteX187" fmla="*/ 8542953 w 11064076"/>
              <a:gd name="connsiteY187" fmla="*/ 3356293 h 6858001"/>
              <a:gd name="connsiteX188" fmla="*/ 8548632 w 11064076"/>
              <a:gd name="connsiteY188" fmla="*/ 3355658 h 6858001"/>
              <a:gd name="connsiteX189" fmla="*/ 8554646 w 11064076"/>
              <a:gd name="connsiteY189" fmla="*/ 3355340 h 6858001"/>
              <a:gd name="connsiteX190" fmla="*/ 8560326 w 11064076"/>
              <a:gd name="connsiteY190" fmla="*/ 3355023 h 6858001"/>
              <a:gd name="connsiteX191" fmla="*/ 8566340 w 11064076"/>
              <a:gd name="connsiteY191" fmla="*/ 3355340 h 6858001"/>
              <a:gd name="connsiteX192" fmla="*/ 8572354 w 11064076"/>
              <a:gd name="connsiteY192" fmla="*/ 3355658 h 6858001"/>
              <a:gd name="connsiteX193" fmla="*/ 8578033 w 11064076"/>
              <a:gd name="connsiteY193" fmla="*/ 3356293 h 6858001"/>
              <a:gd name="connsiteX194" fmla="*/ 8584047 w 11064076"/>
              <a:gd name="connsiteY194" fmla="*/ 3357245 h 6858001"/>
              <a:gd name="connsiteX195" fmla="*/ 8589727 w 11064076"/>
              <a:gd name="connsiteY195" fmla="*/ 3358833 h 6858001"/>
              <a:gd name="connsiteX196" fmla="*/ 8595741 w 11064076"/>
              <a:gd name="connsiteY196" fmla="*/ 3360103 h 6858001"/>
              <a:gd name="connsiteX197" fmla="*/ 8601086 w 11064076"/>
              <a:gd name="connsiteY197" fmla="*/ 3362008 h 6858001"/>
              <a:gd name="connsiteX198" fmla="*/ 8606766 w 11064076"/>
              <a:gd name="connsiteY198" fmla="*/ 3364230 h 6858001"/>
              <a:gd name="connsiteX199" fmla="*/ 8612446 w 11064076"/>
              <a:gd name="connsiteY199" fmla="*/ 3366453 h 6858001"/>
              <a:gd name="connsiteX200" fmla="*/ 8617791 w 11064076"/>
              <a:gd name="connsiteY200" fmla="*/ 3369310 h 6858001"/>
              <a:gd name="connsiteX201" fmla="*/ 8623137 w 11064076"/>
              <a:gd name="connsiteY201" fmla="*/ 3372168 h 6858001"/>
              <a:gd name="connsiteX202" fmla="*/ 8628148 w 11064076"/>
              <a:gd name="connsiteY202" fmla="*/ 3375343 h 6858001"/>
              <a:gd name="connsiteX203" fmla="*/ 8633160 w 11064076"/>
              <a:gd name="connsiteY203" fmla="*/ 3378835 h 6858001"/>
              <a:gd name="connsiteX204" fmla="*/ 8638171 w 11064076"/>
              <a:gd name="connsiteY204" fmla="*/ 3382645 h 6858001"/>
              <a:gd name="connsiteX205" fmla="*/ 8642849 w 11064076"/>
              <a:gd name="connsiteY205" fmla="*/ 3386773 h 6858001"/>
              <a:gd name="connsiteX206" fmla="*/ 8647526 w 11064076"/>
              <a:gd name="connsiteY206" fmla="*/ 3391218 h 6858001"/>
              <a:gd name="connsiteX207" fmla="*/ 8855003 w 11064076"/>
              <a:gd name="connsiteY207" fmla="*/ 3598228 h 6858001"/>
              <a:gd name="connsiteX208" fmla="*/ 8859346 w 11064076"/>
              <a:gd name="connsiteY208" fmla="*/ 3602673 h 6858001"/>
              <a:gd name="connsiteX209" fmla="*/ 8864023 w 11064076"/>
              <a:gd name="connsiteY209" fmla="*/ 3606800 h 6858001"/>
              <a:gd name="connsiteX210" fmla="*/ 8869369 w 11064076"/>
              <a:gd name="connsiteY210" fmla="*/ 3610610 h 6858001"/>
              <a:gd name="connsiteX211" fmla="*/ 8874046 w 11064076"/>
              <a:gd name="connsiteY211" fmla="*/ 3613785 h 6858001"/>
              <a:gd name="connsiteX212" fmla="*/ 8879392 w 11064076"/>
              <a:gd name="connsiteY212" fmla="*/ 3617278 h 6858001"/>
              <a:gd name="connsiteX213" fmla="*/ 8884738 w 11064076"/>
              <a:gd name="connsiteY213" fmla="*/ 3620135 h 6858001"/>
              <a:gd name="connsiteX214" fmla="*/ 8890083 w 11064076"/>
              <a:gd name="connsiteY214" fmla="*/ 3622675 h 6858001"/>
              <a:gd name="connsiteX215" fmla="*/ 8895763 w 11064076"/>
              <a:gd name="connsiteY215" fmla="*/ 3625215 h 6858001"/>
              <a:gd name="connsiteX216" fmla="*/ 8901109 w 11064076"/>
              <a:gd name="connsiteY216" fmla="*/ 3627120 h 6858001"/>
              <a:gd name="connsiteX217" fmla="*/ 8906788 w 11064076"/>
              <a:gd name="connsiteY217" fmla="*/ 3629343 h 6858001"/>
              <a:gd name="connsiteX218" fmla="*/ 8912802 w 11064076"/>
              <a:gd name="connsiteY218" fmla="*/ 3630613 h 6858001"/>
              <a:gd name="connsiteX219" fmla="*/ 8918482 w 11064076"/>
              <a:gd name="connsiteY219" fmla="*/ 3631883 h 6858001"/>
              <a:gd name="connsiteX220" fmla="*/ 8924496 w 11064076"/>
              <a:gd name="connsiteY220" fmla="*/ 3633153 h 6858001"/>
              <a:gd name="connsiteX221" fmla="*/ 8930175 w 11064076"/>
              <a:gd name="connsiteY221" fmla="*/ 3633788 h 6858001"/>
              <a:gd name="connsiteX222" fmla="*/ 8936189 w 11064076"/>
              <a:gd name="connsiteY222" fmla="*/ 3634105 h 6858001"/>
              <a:gd name="connsiteX223" fmla="*/ 8941869 w 11064076"/>
              <a:gd name="connsiteY223" fmla="*/ 3634105 h 6858001"/>
              <a:gd name="connsiteX224" fmla="*/ 8947883 w 11064076"/>
              <a:gd name="connsiteY224" fmla="*/ 3634105 h 6858001"/>
              <a:gd name="connsiteX225" fmla="*/ 8953897 w 11064076"/>
              <a:gd name="connsiteY225" fmla="*/ 3633788 h 6858001"/>
              <a:gd name="connsiteX226" fmla="*/ 8959576 w 11064076"/>
              <a:gd name="connsiteY226" fmla="*/ 3633153 h 6858001"/>
              <a:gd name="connsiteX227" fmla="*/ 8965590 w 11064076"/>
              <a:gd name="connsiteY227" fmla="*/ 3631883 h 6858001"/>
              <a:gd name="connsiteX228" fmla="*/ 8971270 w 11064076"/>
              <a:gd name="connsiteY228" fmla="*/ 3630613 h 6858001"/>
              <a:gd name="connsiteX229" fmla="*/ 8977284 w 11064076"/>
              <a:gd name="connsiteY229" fmla="*/ 3629343 h 6858001"/>
              <a:gd name="connsiteX230" fmla="*/ 8982629 w 11064076"/>
              <a:gd name="connsiteY230" fmla="*/ 3627120 h 6858001"/>
              <a:gd name="connsiteX231" fmla="*/ 8988309 w 11064076"/>
              <a:gd name="connsiteY231" fmla="*/ 3625215 h 6858001"/>
              <a:gd name="connsiteX232" fmla="*/ 8993989 w 11064076"/>
              <a:gd name="connsiteY232" fmla="*/ 3622675 h 6858001"/>
              <a:gd name="connsiteX233" fmla="*/ 8999334 w 11064076"/>
              <a:gd name="connsiteY233" fmla="*/ 3620135 h 6858001"/>
              <a:gd name="connsiteX234" fmla="*/ 9004680 w 11064076"/>
              <a:gd name="connsiteY234" fmla="*/ 3617278 h 6858001"/>
              <a:gd name="connsiteX235" fmla="*/ 9009691 w 11064076"/>
              <a:gd name="connsiteY235" fmla="*/ 3613785 h 6858001"/>
              <a:gd name="connsiteX236" fmla="*/ 9014703 w 11064076"/>
              <a:gd name="connsiteY236" fmla="*/ 3610610 h 6858001"/>
              <a:gd name="connsiteX237" fmla="*/ 9020048 w 11064076"/>
              <a:gd name="connsiteY237" fmla="*/ 3606800 h 6858001"/>
              <a:gd name="connsiteX238" fmla="*/ 9024392 w 11064076"/>
              <a:gd name="connsiteY238" fmla="*/ 3602673 h 6858001"/>
              <a:gd name="connsiteX239" fmla="*/ 9029069 w 11064076"/>
              <a:gd name="connsiteY239" fmla="*/ 3598228 h 6858001"/>
              <a:gd name="connsiteX240" fmla="*/ 9033747 w 11064076"/>
              <a:gd name="connsiteY240" fmla="*/ 3593783 h 6858001"/>
              <a:gd name="connsiteX241" fmla="*/ 9037756 w 11064076"/>
              <a:gd name="connsiteY241" fmla="*/ 3589020 h 6858001"/>
              <a:gd name="connsiteX242" fmla="*/ 9041431 w 11064076"/>
              <a:gd name="connsiteY242" fmla="*/ 3583940 h 6858001"/>
              <a:gd name="connsiteX243" fmla="*/ 9044772 w 11064076"/>
              <a:gd name="connsiteY243" fmla="*/ 3578860 h 6858001"/>
              <a:gd name="connsiteX244" fmla="*/ 9048113 w 11064076"/>
              <a:gd name="connsiteY244" fmla="*/ 3573463 h 6858001"/>
              <a:gd name="connsiteX245" fmla="*/ 9051120 w 11064076"/>
              <a:gd name="connsiteY245" fmla="*/ 3568383 h 6858001"/>
              <a:gd name="connsiteX246" fmla="*/ 9053793 w 11064076"/>
              <a:gd name="connsiteY246" fmla="*/ 3562985 h 6858001"/>
              <a:gd name="connsiteX247" fmla="*/ 9056131 w 11064076"/>
              <a:gd name="connsiteY247" fmla="*/ 3557588 h 6858001"/>
              <a:gd name="connsiteX248" fmla="*/ 9058136 w 11064076"/>
              <a:gd name="connsiteY248" fmla="*/ 3551873 h 6858001"/>
              <a:gd name="connsiteX249" fmla="*/ 9060141 w 11064076"/>
              <a:gd name="connsiteY249" fmla="*/ 3546158 h 6858001"/>
              <a:gd name="connsiteX250" fmla="*/ 9061811 w 11064076"/>
              <a:gd name="connsiteY250" fmla="*/ 3540443 h 6858001"/>
              <a:gd name="connsiteX251" fmla="*/ 9063147 w 11064076"/>
              <a:gd name="connsiteY251" fmla="*/ 3534410 h 6858001"/>
              <a:gd name="connsiteX252" fmla="*/ 9064150 w 11064076"/>
              <a:gd name="connsiteY252" fmla="*/ 3528695 h 6858001"/>
              <a:gd name="connsiteX253" fmla="*/ 9064818 w 11064076"/>
              <a:gd name="connsiteY253" fmla="*/ 3522980 h 6858001"/>
              <a:gd name="connsiteX254" fmla="*/ 9065152 w 11064076"/>
              <a:gd name="connsiteY254" fmla="*/ 3516948 h 6858001"/>
              <a:gd name="connsiteX255" fmla="*/ 9065152 w 11064076"/>
              <a:gd name="connsiteY255" fmla="*/ 3511233 h 6858001"/>
              <a:gd name="connsiteX256" fmla="*/ 9065152 w 11064076"/>
              <a:gd name="connsiteY256" fmla="*/ 3505200 h 6858001"/>
              <a:gd name="connsiteX257" fmla="*/ 9064818 w 11064076"/>
              <a:gd name="connsiteY257" fmla="*/ 3499168 h 6858001"/>
              <a:gd name="connsiteX258" fmla="*/ 9064150 w 11064076"/>
              <a:gd name="connsiteY258" fmla="*/ 3493453 h 6858001"/>
              <a:gd name="connsiteX259" fmla="*/ 9063147 w 11064076"/>
              <a:gd name="connsiteY259" fmla="*/ 3487738 h 6858001"/>
              <a:gd name="connsiteX260" fmla="*/ 9061811 w 11064076"/>
              <a:gd name="connsiteY260" fmla="*/ 3481705 h 6858001"/>
              <a:gd name="connsiteX261" fmla="*/ 9060141 w 11064076"/>
              <a:gd name="connsiteY261" fmla="*/ 3475990 h 6858001"/>
              <a:gd name="connsiteX262" fmla="*/ 9058136 w 11064076"/>
              <a:gd name="connsiteY262" fmla="*/ 3470593 h 6858001"/>
              <a:gd name="connsiteX263" fmla="*/ 9056131 w 11064076"/>
              <a:gd name="connsiteY263" fmla="*/ 3464878 h 6858001"/>
              <a:gd name="connsiteX264" fmla="*/ 9053793 w 11064076"/>
              <a:gd name="connsiteY264" fmla="*/ 3459163 h 6858001"/>
              <a:gd name="connsiteX265" fmla="*/ 9051120 w 11064076"/>
              <a:gd name="connsiteY265" fmla="*/ 3453765 h 6858001"/>
              <a:gd name="connsiteX266" fmla="*/ 9048113 w 11064076"/>
              <a:gd name="connsiteY266" fmla="*/ 3448685 h 6858001"/>
              <a:gd name="connsiteX267" fmla="*/ 9044772 w 11064076"/>
              <a:gd name="connsiteY267" fmla="*/ 3443605 h 6858001"/>
              <a:gd name="connsiteX268" fmla="*/ 9041431 w 11064076"/>
              <a:gd name="connsiteY268" fmla="*/ 3438525 h 6858001"/>
              <a:gd name="connsiteX269" fmla="*/ 9037756 w 11064076"/>
              <a:gd name="connsiteY269" fmla="*/ 3433763 h 6858001"/>
              <a:gd name="connsiteX270" fmla="*/ 9033747 w 11064076"/>
              <a:gd name="connsiteY270" fmla="*/ 3428683 h 6858001"/>
              <a:gd name="connsiteX271" fmla="*/ 9029069 w 11064076"/>
              <a:gd name="connsiteY271" fmla="*/ 3423920 h 6858001"/>
              <a:gd name="connsiteX272" fmla="*/ 8360534 w 11064076"/>
              <a:gd name="connsiteY272" fmla="*/ 2756218 h 6858001"/>
              <a:gd name="connsiteX273" fmla="*/ 8357193 w 11064076"/>
              <a:gd name="connsiteY273" fmla="*/ 2753043 h 6858001"/>
              <a:gd name="connsiteX274" fmla="*/ 8353852 w 11064076"/>
              <a:gd name="connsiteY274" fmla="*/ 2749233 h 6858001"/>
              <a:gd name="connsiteX275" fmla="*/ 8347504 w 11064076"/>
              <a:gd name="connsiteY275" fmla="*/ 2741295 h 6858001"/>
              <a:gd name="connsiteX276" fmla="*/ 8342492 w 11064076"/>
              <a:gd name="connsiteY276" fmla="*/ 2733040 h 6858001"/>
              <a:gd name="connsiteX277" fmla="*/ 8337815 w 11064076"/>
              <a:gd name="connsiteY277" fmla="*/ 2724468 h 6858001"/>
              <a:gd name="connsiteX278" fmla="*/ 8333471 w 11064076"/>
              <a:gd name="connsiteY278" fmla="*/ 2715895 h 6858001"/>
              <a:gd name="connsiteX279" fmla="*/ 8330465 w 11064076"/>
              <a:gd name="connsiteY279" fmla="*/ 2707005 h 6858001"/>
              <a:gd name="connsiteX280" fmla="*/ 8328126 w 11064076"/>
              <a:gd name="connsiteY280" fmla="*/ 2697798 h 6858001"/>
              <a:gd name="connsiteX281" fmla="*/ 8326121 w 11064076"/>
              <a:gd name="connsiteY281" fmla="*/ 2688590 h 6858001"/>
              <a:gd name="connsiteX282" fmla="*/ 5629596 w 11064076"/>
              <a:gd name="connsiteY282" fmla="*/ 0 h 6858001"/>
              <a:gd name="connsiteX0" fmla="*/ 5629596 w 11064076"/>
              <a:gd name="connsiteY0" fmla="*/ 0 h 6858000"/>
              <a:gd name="connsiteX1" fmla="*/ 0 w 11064076"/>
              <a:gd name="connsiteY1" fmla="*/ 0 h 6858000"/>
              <a:gd name="connsiteX2" fmla="*/ 0 w 11064076"/>
              <a:gd name="connsiteY2" fmla="*/ 6858000 h 6858000"/>
              <a:gd name="connsiteX3" fmla="*/ 10123449 w 11064076"/>
              <a:gd name="connsiteY3" fmla="*/ 6858000 h 6858000"/>
              <a:gd name="connsiteX4" fmla="*/ 11064076 w 11064076"/>
              <a:gd name="connsiteY4" fmla="*/ 6858000 h 6858000"/>
              <a:gd name="connsiteX5" fmla="*/ 9033747 w 11064076"/>
              <a:gd name="connsiteY5" fmla="*/ 4816793 h 6858000"/>
              <a:gd name="connsiteX6" fmla="*/ 9018378 w 11064076"/>
              <a:gd name="connsiteY6" fmla="*/ 4803458 h 6858000"/>
              <a:gd name="connsiteX7" fmla="*/ 9003009 w 11064076"/>
              <a:gd name="connsiteY7" fmla="*/ 4789488 h 6858000"/>
              <a:gd name="connsiteX8" fmla="*/ 8987975 w 11064076"/>
              <a:gd name="connsiteY8" fmla="*/ 4775518 h 6858000"/>
              <a:gd name="connsiteX9" fmla="*/ 8973274 w 11064076"/>
              <a:gd name="connsiteY9" fmla="*/ 4760913 h 6858000"/>
              <a:gd name="connsiteX10" fmla="*/ 8039129 w 11064076"/>
              <a:gd name="connsiteY10" fmla="*/ 3828098 h 6858000"/>
              <a:gd name="connsiteX11" fmla="*/ 8034451 w 11064076"/>
              <a:gd name="connsiteY11" fmla="*/ 3823335 h 6858000"/>
              <a:gd name="connsiteX12" fmla="*/ 8030443 w 11064076"/>
              <a:gd name="connsiteY12" fmla="*/ 3818573 h 6858000"/>
              <a:gd name="connsiteX13" fmla="*/ 8026767 w 11064076"/>
              <a:gd name="connsiteY13" fmla="*/ 3813493 h 6858000"/>
              <a:gd name="connsiteX14" fmla="*/ 8023426 w 11064076"/>
              <a:gd name="connsiteY14" fmla="*/ 3808413 h 6858000"/>
              <a:gd name="connsiteX15" fmla="*/ 8020086 w 11064076"/>
              <a:gd name="connsiteY15" fmla="*/ 3803333 h 6858000"/>
              <a:gd name="connsiteX16" fmla="*/ 8017079 w 11064076"/>
              <a:gd name="connsiteY16" fmla="*/ 3798253 h 6858000"/>
              <a:gd name="connsiteX17" fmla="*/ 8014406 w 11064076"/>
              <a:gd name="connsiteY17" fmla="*/ 3792855 h 6858000"/>
              <a:gd name="connsiteX18" fmla="*/ 8012067 w 11064076"/>
              <a:gd name="connsiteY18" fmla="*/ 3787458 h 6858000"/>
              <a:gd name="connsiteX19" fmla="*/ 8010062 w 11064076"/>
              <a:gd name="connsiteY19" fmla="*/ 3781425 h 6858000"/>
              <a:gd name="connsiteX20" fmla="*/ 8008392 w 11064076"/>
              <a:gd name="connsiteY20" fmla="*/ 3776028 h 6858000"/>
              <a:gd name="connsiteX21" fmla="*/ 8006387 w 11064076"/>
              <a:gd name="connsiteY21" fmla="*/ 3770313 h 6858000"/>
              <a:gd name="connsiteX22" fmla="*/ 8005051 w 11064076"/>
              <a:gd name="connsiteY22" fmla="*/ 3764280 h 6858000"/>
              <a:gd name="connsiteX23" fmla="*/ 8004049 w 11064076"/>
              <a:gd name="connsiteY23" fmla="*/ 3758565 h 6858000"/>
              <a:gd name="connsiteX24" fmla="*/ 8003380 w 11064076"/>
              <a:gd name="connsiteY24" fmla="*/ 3752850 h 6858000"/>
              <a:gd name="connsiteX25" fmla="*/ 8003046 w 11064076"/>
              <a:gd name="connsiteY25" fmla="*/ 3746818 h 6858000"/>
              <a:gd name="connsiteX26" fmla="*/ 8003046 w 11064076"/>
              <a:gd name="connsiteY26" fmla="*/ 3740785 h 6858000"/>
              <a:gd name="connsiteX27" fmla="*/ 8003046 w 11064076"/>
              <a:gd name="connsiteY27" fmla="*/ 3735070 h 6858000"/>
              <a:gd name="connsiteX28" fmla="*/ 8003380 w 11064076"/>
              <a:gd name="connsiteY28" fmla="*/ 3729038 h 6858000"/>
              <a:gd name="connsiteX29" fmla="*/ 8004049 w 11064076"/>
              <a:gd name="connsiteY29" fmla="*/ 3723323 h 6858000"/>
              <a:gd name="connsiteX30" fmla="*/ 8005051 w 11064076"/>
              <a:gd name="connsiteY30" fmla="*/ 3717608 h 6858000"/>
              <a:gd name="connsiteX31" fmla="*/ 8006387 w 11064076"/>
              <a:gd name="connsiteY31" fmla="*/ 3711575 h 6858000"/>
              <a:gd name="connsiteX32" fmla="*/ 8008392 w 11064076"/>
              <a:gd name="connsiteY32" fmla="*/ 3705860 h 6858000"/>
              <a:gd name="connsiteX33" fmla="*/ 8010062 w 11064076"/>
              <a:gd name="connsiteY33" fmla="*/ 3700145 h 6858000"/>
              <a:gd name="connsiteX34" fmla="*/ 8012067 w 11064076"/>
              <a:gd name="connsiteY34" fmla="*/ 3694748 h 6858000"/>
              <a:gd name="connsiteX35" fmla="*/ 8014406 w 11064076"/>
              <a:gd name="connsiteY35" fmla="*/ 3689033 h 6858000"/>
              <a:gd name="connsiteX36" fmla="*/ 8017079 w 11064076"/>
              <a:gd name="connsiteY36" fmla="*/ 3683635 h 6858000"/>
              <a:gd name="connsiteX37" fmla="*/ 8020086 w 11064076"/>
              <a:gd name="connsiteY37" fmla="*/ 3678238 h 6858000"/>
              <a:gd name="connsiteX38" fmla="*/ 8023426 w 11064076"/>
              <a:gd name="connsiteY38" fmla="*/ 3673158 h 6858000"/>
              <a:gd name="connsiteX39" fmla="*/ 8026767 w 11064076"/>
              <a:gd name="connsiteY39" fmla="*/ 3668078 h 6858000"/>
              <a:gd name="connsiteX40" fmla="*/ 8030443 w 11064076"/>
              <a:gd name="connsiteY40" fmla="*/ 3662998 h 6858000"/>
              <a:gd name="connsiteX41" fmla="*/ 8034451 w 11064076"/>
              <a:gd name="connsiteY41" fmla="*/ 3658235 h 6858000"/>
              <a:gd name="connsiteX42" fmla="*/ 8039129 w 11064076"/>
              <a:gd name="connsiteY42" fmla="*/ 3653790 h 6858000"/>
              <a:gd name="connsiteX43" fmla="*/ 8043807 w 11064076"/>
              <a:gd name="connsiteY43" fmla="*/ 3649345 h 6858000"/>
              <a:gd name="connsiteX44" fmla="*/ 8048149 w 11064076"/>
              <a:gd name="connsiteY44" fmla="*/ 3645218 h 6858000"/>
              <a:gd name="connsiteX45" fmla="*/ 8053495 w 11064076"/>
              <a:gd name="connsiteY45" fmla="*/ 3641725 h 6858000"/>
              <a:gd name="connsiteX46" fmla="*/ 8058507 w 11064076"/>
              <a:gd name="connsiteY46" fmla="*/ 3638233 h 6858000"/>
              <a:gd name="connsiteX47" fmla="*/ 8063852 w 11064076"/>
              <a:gd name="connsiteY47" fmla="*/ 3634740 h 6858000"/>
              <a:gd name="connsiteX48" fmla="*/ 8068864 w 11064076"/>
              <a:gd name="connsiteY48" fmla="*/ 3631883 h 6858000"/>
              <a:gd name="connsiteX49" fmla="*/ 8074209 w 11064076"/>
              <a:gd name="connsiteY49" fmla="*/ 3629343 h 6858000"/>
              <a:gd name="connsiteX50" fmla="*/ 8079889 w 11064076"/>
              <a:gd name="connsiteY50" fmla="*/ 3626803 h 6858000"/>
              <a:gd name="connsiteX51" fmla="*/ 8085569 w 11064076"/>
              <a:gd name="connsiteY51" fmla="*/ 3624898 h 6858000"/>
              <a:gd name="connsiteX52" fmla="*/ 8091248 w 11064076"/>
              <a:gd name="connsiteY52" fmla="*/ 3622675 h 6858000"/>
              <a:gd name="connsiteX53" fmla="*/ 8096928 w 11064076"/>
              <a:gd name="connsiteY53" fmla="*/ 3621405 h 6858000"/>
              <a:gd name="connsiteX54" fmla="*/ 8102608 w 11064076"/>
              <a:gd name="connsiteY54" fmla="*/ 3620135 h 6858000"/>
              <a:gd name="connsiteX55" fmla="*/ 8108622 w 11064076"/>
              <a:gd name="connsiteY55" fmla="*/ 3618865 h 6858000"/>
              <a:gd name="connsiteX56" fmla="*/ 8114301 w 11064076"/>
              <a:gd name="connsiteY56" fmla="*/ 3618230 h 6858000"/>
              <a:gd name="connsiteX57" fmla="*/ 8120315 w 11064076"/>
              <a:gd name="connsiteY57" fmla="*/ 3617913 h 6858000"/>
              <a:gd name="connsiteX58" fmla="*/ 8126329 w 11064076"/>
              <a:gd name="connsiteY58" fmla="*/ 3617595 h 6858000"/>
              <a:gd name="connsiteX59" fmla="*/ 8132343 w 11064076"/>
              <a:gd name="connsiteY59" fmla="*/ 3617913 h 6858000"/>
              <a:gd name="connsiteX60" fmla="*/ 8138023 w 11064076"/>
              <a:gd name="connsiteY60" fmla="*/ 3618230 h 6858000"/>
              <a:gd name="connsiteX61" fmla="*/ 8143702 w 11064076"/>
              <a:gd name="connsiteY61" fmla="*/ 3618865 h 6858000"/>
              <a:gd name="connsiteX62" fmla="*/ 8149716 w 11064076"/>
              <a:gd name="connsiteY62" fmla="*/ 3620135 h 6858000"/>
              <a:gd name="connsiteX63" fmla="*/ 8155396 w 11064076"/>
              <a:gd name="connsiteY63" fmla="*/ 3621405 h 6858000"/>
              <a:gd name="connsiteX64" fmla="*/ 8161410 w 11064076"/>
              <a:gd name="connsiteY64" fmla="*/ 3622675 h 6858000"/>
              <a:gd name="connsiteX65" fmla="*/ 8167089 w 11064076"/>
              <a:gd name="connsiteY65" fmla="*/ 3624898 h 6858000"/>
              <a:gd name="connsiteX66" fmla="*/ 8172769 w 11064076"/>
              <a:gd name="connsiteY66" fmla="*/ 3626803 h 6858000"/>
              <a:gd name="connsiteX67" fmla="*/ 8178115 w 11064076"/>
              <a:gd name="connsiteY67" fmla="*/ 3629343 h 6858000"/>
              <a:gd name="connsiteX68" fmla="*/ 8183460 w 11064076"/>
              <a:gd name="connsiteY68" fmla="*/ 3631883 h 6858000"/>
              <a:gd name="connsiteX69" fmla="*/ 8188806 w 11064076"/>
              <a:gd name="connsiteY69" fmla="*/ 3634740 h 6858000"/>
              <a:gd name="connsiteX70" fmla="*/ 8194151 w 11064076"/>
              <a:gd name="connsiteY70" fmla="*/ 3638233 h 6858000"/>
              <a:gd name="connsiteX71" fmla="*/ 8199163 w 11064076"/>
              <a:gd name="connsiteY71" fmla="*/ 3641725 h 6858000"/>
              <a:gd name="connsiteX72" fmla="*/ 8204175 w 11064076"/>
              <a:gd name="connsiteY72" fmla="*/ 3645218 h 6858000"/>
              <a:gd name="connsiteX73" fmla="*/ 8208852 w 11064076"/>
              <a:gd name="connsiteY73" fmla="*/ 3649345 h 6858000"/>
              <a:gd name="connsiteX74" fmla="*/ 8213529 w 11064076"/>
              <a:gd name="connsiteY74" fmla="*/ 3653790 h 6858000"/>
              <a:gd name="connsiteX75" fmla="*/ 8882399 w 11064076"/>
              <a:gd name="connsiteY75" fmla="*/ 4321810 h 6858000"/>
              <a:gd name="connsiteX76" fmla="*/ 8886742 w 11064076"/>
              <a:gd name="connsiteY76" fmla="*/ 4325938 h 6858000"/>
              <a:gd name="connsiteX77" fmla="*/ 8891420 w 11064076"/>
              <a:gd name="connsiteY77" fmla="*/ 4330065 h 6858000"/>
              <a:gd name="connsiteX78" fmla="*/ 8896765 w 11064076"/>
              <a:gd name="connsiteY78" fmla="*/ 4334193 h 6858000"/>
              <a:gd name="connsiteX79" fmla="*/ 8901443 w 11064076"/>
              <a:gd name="connsiteY79" fmla="*/ 4337685 h 6858000"/>
              <a:gd name="connsiteX80" fmla="*/ 8906788 w 11064076"/>
              <a:gd name="connsiteY80" fmla="*/ 4340860 h 6858000"/>
              <a:gd name="connsiteX81" fmla="*/ 8912134 w 11064076"/>
              <a:gd name="connsiteY81" fmla="*/ 4343718 h 6858000"/>
              <a:gd name="connsiteX82" fmla="*/ 8917480 w 11064076"/>
              <a:gd name="connsiteY82" fmla="*/ 4346575 h 6858000"/>
              <a:gd name="connsiteX83" fmla="*/ 8923159 w 11064076"/>
              <a:gd name="connsiteY83" fmla="*/ 4349115 h 6858000"/>
              <a:gd name="connsiteX84" fmla="*/ 8928505 w 11064076"/>
              <a:gd name="connsiteY84" fmla="*/ 4351020 h 6858000"/>
              <a:gd name="connsiteX85" fmla="*/ 8934185 w 11064076"/>
              <a:gd name="connsiteY85" fmla="*/ 4352608 h 6858000"/>
              <a:gd name="connsiteX86" fmla="*/ 8940198 w 11064076"/>
              <a:gd name="connsiteY86" fmla="*/ 4354513 h 6858000"/>
              <a:gd name="connsiteX87" fmla="*/ 8945878 w 11064076"/>
              <a:gd name="connsiteY87" fmla="*/ 4355465 h 6858000"/>
              <a:gd name="connsiteX88" fmla="*/ 8951892 w 11064076"/>
              <a:gd name="connsiteY88" fmla="*/ 4356418 h 6858000"/>
              <a:gd name="connsiteX89" fmla="*/ 8957572 w 11064076"/>
              <a:gd name="connsiteY89" fmla="*/ 4357053 h 6858000"/>
              <a:gd name="connsiteX90" fmla="*/ 8963585 w 11064076"/>
              <a:gd name="connsiteY90" fmla="*/ 4358005 h 6858000"/>
              <a:gd name="connsiteX91" fmla="*/ 8969265 w 11064076"/>
              <a:gd name="connsiteY91" fmla="*/ 4358005 h 6858000"/>
              <a:gd name="connsiteX92" fmla="*/ 8975279 w 11064076"/>
              <a:gd name="connsiteY92" fmla="*/ 4358005 h 6858000"/>
              <a:gd name="connsiteX93" fmla="*/ 8981293 w 11064076"/>
              <a:gd name="connsiteY93" fmla="*/ 4357053 h 6858000"/>
              <a:gd name="connsiteX94" fmla="*/ 8986972 w 11064076"/>
              <a:gd name="connsiteY94" fmla="*/ 4356418 h 6858000"/>
              <a:gd name="connsiteX95" fmla="*/ 8992986 w 11064076"/>
              <a:gd name="connsiteY95" fmla="*/ 4355465 h 6858000"/>
              <a:gd name="connsiteX96" fmla="*/ 8998666 w 11064076"/>
              <a:gd name="connsiteY96" fmla="*/ 4354513 h 6858000"/>
              <a:gd name="connsiteX97" fmla="*/ 9004680 w 11064076"/>
              <a:gd name="connsiteY97" fmla="*/ 4352608 h 6858000"/>
              <a:gd name="connsiteX98" fmla="*/ 9010025 w 11064076"/>
              <a:gd name="connsiteY98" fmla="*/ 4351020 h 6858000"/>
              <a:gd name="connsiteX99" fmla="*/ 9015705 w 11064076"/>
              <a:gd name="connsiteY99" fmla="*/ 4349115 h 6858000"/>
              <a:gd name="connsiteX100" fmla="*/ 9021385 w 11064076"/>
              <a:gd name="connsiteY100" fmla="*/ 4346575 h 6858000"/>
              <a:gd name="connsiteX101" fmla="*/ 9026730 w 11064076"/>
              <a:gd name="connsiteY101" fmla="*/ 4343718 h 6858000"/>
              <a:gd name="connsiteX102" fmla="*/ 9032076 w 11064076"/>
              <a:gd name="connsiteY102" fmla="*/ 4340860 h 6858000"/>
              <a:gd name="connsiteX103" fmla="*/ 9037088 w 11064076"/>
              <a:gd name="connsiteY103" fmla="*/ 4337685 h 6858000"/>
              <a:gd name="connsiteX104" fmla="*/ 9042099 w 11064076"/>
              <a:gd name="connsiteY104" fmla="*/ 4334193 h 6858000"/>
              <a:gd name="connsiteX105" fmla="*/ 9047445 w 11064076"/>
              <a:gd name="connsiteY105" fmla="*/ 4330065 h 6858000"/>
              <a:gd name="connsiteX106" fmla="*/ 9051788 w 11064076"/>
              <a:gd name="connsiteY106" fmla="*/ 4325938 h 6858000"/>
              <a:gd name="connsiteX107" fmla="*/ 9056465 w 11064076"/>
              <a:gd name="connsiteY107" fmla="*/ 4321810 h 6858000"/>
              <a:gd name="connsiteX108" fmla="*/ 9061143 w 11064076"/>
              <a:gd name="connsiteY108" fmla="*/ 4317048 h 6858000"/>
              <a:gd name="connsiteX109" fmla="*/ 9065152 w 11064076"/>
              <a:gd name="connsiteY109" fmla="*/ 4312285 h 6858000"/>
              <a:gd name="connsiteX110" fmla="*/ 9068827 w 11064076"/>
              <a:gd name="connsiteY110" fmla="*/ 4307523 h 6858000"/>
              <a:gd name="connsiteX111" fmla="*/ 9072168 w 11064076"/>
              <a:gd name="connsiteY111" fmla="*/ 4302443 h 6858000"/>
              <a:gd name="connsiteX112" fmla="*/ 9075509 w 11064076"/>
              <a:gd name="connsiteY112" fmla="*/ 4297363 h 6858000"/>
              <a:gd name="connsiteX113" fmla="*/ 9078516 w 11064076"/>
              <a:gd name="connsiteY113" fmla="*/ 4292283 h 6858000"/>
              <a:gd name="connsiteX114" fmla="*/ 9081189 w 11064076"/>
              <a:gd name="connsiteY114" fmla="*/ 4286568 h 6858000"/>
              <a:gd name="connsiteX115" fmla="*/ 9083528 w 11064076"/>
              <a:gd name="connsiteY115" fmla="*/ 4281170 h 6858000"/>
              <a:gd name="connsiteX116" fmla="*/ 9085532 w 11064076"/>
              <a:gd name="connsiteY116" fmla="*/ 4275455 h 6858000"/>
              <a:gd name="connsiteX117" fmla="*/ 9087537 w 11064076"/>
              <a:gd name="connsiteY117" fmla="*/ 4270058 h 6858000"/>
              <a:gd name="connsiteX118" fmla="*/ 9089207 w 11064076"/>
              <a:gd name="connsiteY118" fmla="*/ 4264025 h 6858000"/>
              <a:gd name="connsiteX119" fmla="*/ 9090544 w 11064076"/>
              <a:gd name="connsiteY119" fmla="*/ 4258310 h 6858000"/>
              <a:gd name="connsiteX120" fmla="*/ 9091546 w 11064076"/>
              <a:gd name="connsiteY120" fmla="*/ 4252595 h 6858000"/>
              <a:gd name="connsiteX121" fmla="*/ 9092214 w 11064076"/>
              <a:gd name="connsiteY121" fmla="*/ 4246563 h 6858000"/>
              <a:gd name="connsiteX122" fmla="*/ 9092548 w 11064076"/>
              <a:gd name="connsiteY122" fmla="*/ 4240848 h 6858000"/>
              <a:gd name="connsiteX123" fmla="*/ 9092548 w 11064076"/>
              <a:gd name="connsiteY123" fmla="*/ 4234815 h 6858000"/>
              <a:gd name="connsiteX124" fmla="*/ 9092548 w 11064076"/>
              <a:gd name="connsiteY124" fmla="*/ 4228783 h 6858000"/>
              <a:gd name="connsiteX125" fmla="*/ 9092214 w 11064076"/>
              <a:gd name="connsiteY125" fmla="*/ 4223068 h 6858000"/>
              <a:gd name="connsiteX126" fmla="*/ 9091546 w 11064076"/>
              <a:gd name="connsiteY126" fmla="*/ 4217353 h 6858000"/>
              <a:gd name="connsiteX127" fmla="*/ 9090544 w 11064076"/>
              <a:gd name="connsiteY127" fmla="*/ 4211320 h 6858000"/>
              <a:gd name="connsiteX128" fmla="*/ 9089207 w 11064076"/>
              <a:gd name="connsiteY128" fmla="*/ 4205605 h 6858000"/>
              <a:gd name="connsiteX129" fmla="*/ 9087537 w 11064076"/>
              <a:gd name="connsiteY129" fmla="*/ 4199890 h 6858000"/>
              <a:gd name="connsiteX130" fmla="*/ 9085532 w 11064076"/>
              <a:gd name="connsiteY130" fmla="*/ 4194175 h 6858000"/>
              <a:gd name="connsiteX131" fmla="*/ 9083528 w 11064076"/>
              <a:gd name="connsiteY131" fmla="*/ 4188460 h 6858000"/>
              <a:gd name="connsiteX132" fmla="*/ 9081189 w 11064076"/>
              <a:gd name="connsiteY132" fmla="*/ 4183063 h 6858000"/>
              <a:gd name="connsiteX133" fmla="*/ 9078516 w 11064076"/>
              <a:gd name="connsiteY133" fmla="*/ 4177665 h 6858000"/>
              <a:gd name="connsiteX134" fmla="*/ 9075509 w 11064076"/>
              <a:gd name="connsiteY134" fmla="*/ 4172268 h 6858000"/>
              <a:gd name="connsiteX135" fmla="*/ 9072168 w 11064076"/>
              <a:gd name="connsiteY135" fmla="*/ 4166870 h 6858000"/>
              <a:gd name="connsiteX136" fmla="*/ 9068827 w 11064076"/>
              <a:gd name="connsiteY136" fmla="*/ 4161790 h 6858000"/>
              <a:gd name="connsiteX137" fmla="*/ 9065152 w 11064076"/>
              <a:gd name="connsiteY137" fmla="*/ 4157028 h 6858000"/>
              <a:gd name="connsiteX138" fmla="*/ 9061143 w 11064076"/>
              <a:gd name="connsiteY138" fmla="*/ 4152265 h 6858000"/>
              <a:gd name="connsiteX139" fmla="*/ 9056465 w 11064076"/>
              <a:gd name="connsiteY139" fmla="*/ 4147820 h 6858000"/>
              <a:gd name="connsiteX140" fmla="*/ 8669577 w 11064076"/>
              <a:gd name="connsiteY140" fmla="*/ 3761423 h 6858000"/>
              <a:gd name="connsiteX141" fmla="*/ 8473460 w 11064076"/>
              <a:gd name="connsiteY141" fmla="*/ 3565208 h 6858000"/>
              <a:gd name="connsiteX142" fmla="*/ 8468782 w 11064076"/>
              <a:gd name="connsiteY142" fmla="*/ 3560445 h 6858000"/>
              <a:gd name="connsiteX143" fmla="*/ 8464773 w 11064076"/>
              <a:gd name="connsiteY143" fmla="*/ 3555683 h 6858000"/>
              <a:gd name="connsiteX144" fmla="*/ 8461098 w 11064076"/>
              <a:gd name="connsiteY144" fmla="*/ 3550920 h 6858000"/>
              <a:gd name="connsiteX145" fmla="*/ 8457423 w 11064076"/>
              <a:gd name="connsiteY145" fmla="*/ 3545840 h 6858000"/>
              <a:gd name="connsiteX146" fmla="*/ 8454082 w 11064076"/>
              <a:gd name="connsiteY146" fmla="*/ 3540760 h 6858000"/>
              <a:gd name="connsiteX147" fmla="*/ 8451409 w 11064076"/>
              <a:gd name="connsiteY147" fmla="*/ 3535680 h 6858000"/>
              <a:gd name="connsiteX148" fmla="*/ 8448736 w 11064076"/>
              <a:gd name="connsiteY148" fmla="*/ 3529965 h 6858000"/>
              <a:gd name="connsiteX149" fmla="*/ 8446398 w 11064076"/>
              <a:gd name="connsiteY149" fmla="*/ 3524568 h 6858000"/>
              <a:gd name="connsiteX150" fmla="*/ 8444059 w 11064076"/>
              <a:gd name="connsiteY150" fmla="*/ 3518853 h 6858000"/>
              <a:gd name="connsiteX151" fmla="*/ 8442054 w 11064076"/>
              <a:gd name="connsiteY151" fmla="*/ 3513455 h 6858000"/>
              <a:gd name="connsiteX152" fmla="*/ 8440718 w 11064076"/>
              <a:gd name="connsiteY152" fmla="*/ 3507423 h 6858000"/>
              <a:gd name="connsiteX153" fmla="*/ 8439382 w 11064076"/>
              <a:gd name="connsiteY153" fmla="*/ 3501708 h 6858000"/>
              <a:gd name="connsiteX154" fmla="*/ 8438379 w 11064076"/>
              <a:gd name="connsiteY154" fmla="*/ 3495993 h 6858000"/>
              <a:gd name="connsiteX155" fmla="*/ 8437711 w 11064076"/>
              <a:gd name="connsiteY155" fmla="*/ 3489960 h 6858000"/>
              <a:gd name="connsiteX156" fmla="*/ 8437377 w 11064076"/>
              <a:gd name="connsiteY156" fmla="*/ 3484245 h 6858000"/>
              <a:gd name="connsiteX157" fmla="*/ 8437043 w 11064076"/>
              <a:gd name="connsiteY157" fmla="*/ 3478213 h 6858000"/>
              <a:gd name="connsiteX158" fmla="*/ 8437377 w 11064076"/>
              <a:gd name="connsiteY158" fmla="*/ 3472180 h 6858000"/>
              <a:gd name="connsiteX159" fmla="*/ 8437711 w 11064076"/>
              <a:gd name="connsiteY159" fmla="*/ 3466465 h 6858000"/>
              <a:gd name="connsiteX160" fmla="*/ 8438379 w 11064076"/>
              <a:gd name="connsiteY160" fmla="*/ 3460750 h 6858000"/>
              <a:gd name="connsiteX161" fmla="*/ 8439382 w 11064076"/>
              <a:gd name="connsiteY161" fmla="*/ 3454718 h 6858000"/>
              <a:gd name="connsiteX162" fmla="*/ 8440718 w 11064076"/>
              <a:gd name="connsiteY162" fmla="*/ 3449003 h 6858000"/>
              <a:gd name="connsiteX163" fmla="*/ 8442054 w 11064076"/>
              <a:gd name="connsiteY163" fmla="*/ 3443288 h 6858000"/>
              <a:gd name="connsiteX164" fmla="*/ 8444059 w 11064076"/>
              <a:gd name="connsiteY164" fmla="*/ 3437255 h 6858000"/>
              <a:gd name="connsiteX165" fmla="*/ 8446398 w 11064076"/>
              <a:gd name="connsiteY165" fmla="*/ 3431858 h 6858000"/>
              <a:gd name="connsiteX166" fmla="*/ 8448736 w 11064076"/>
              <a:gd name="connsiteY166" fmla="*/ 3426460 h 6858000"/>
              <a:gd name="connsiteX167" fmla="*/ 8451409 w 11064076"/>
              <a:gd name="connsiteY167" fmla="*/ 3421063 h 6858000"/>
              <a:gd name="connsiteX168" fmla="*/ 8454082 w 11064076"/>
              <a:gd name="connsiteY168" fmla="*/ 3415348 h 6858000"/>
              <a:gd name="connsiteX169" fmla="*/ 8457423 w 11064076"/>
              <a:gd name="connsiteY169" fmla="*/ 3410268 h 6858000"/>
              <a:gd name="connsiteX170" fmla="*/ 8461098 w 11064076"/>
              <a:gd name="connsiteY170" fmla="*/ 3405505 h 6858000"/>
              <a:gd name="connsiteX171" fmla="*/ 8464773 w 11064076"/>
              <a:gd name="connsiteY171" fmla="*/ 3400425 h 6858000"/>
              <a:gd name="connsiteX172" fmla="*/ 8468782 w 11064076"/>
              <a:gd name="connsiteY172" fmla="*/ 3395663 h 6858000"/>
              <a:gd name="connsiteX173" fmla="*/ 8473460 w 11064076"/>
              <a:gd name="connsiteY173" fmla="*/ 3391218 h 6858000"/>
              <a:gd name="connsiteX174" fmla="*/ 8477803 w 11064076"/>
              <a:gd name="connsiteY174" fmla="*/ 3386773 h 6858000"/>
              <a:gd name="connsiteX175" fmla="*/ 8482481 w 11064076"/>
              <a:gd name="connsiteY175" fmla="*/ 3382645 h 6858000"/>
              <a:gd name="connsiteX176" fmla="*/ 8487826 w 11064076"/>
              <a:gd name="connsiteY176" fmla="*/ 3378835 h 6858000"/>
              <a:gd name="connsiteX177" fmla="*/ 8492504 w 11064076"/>
              <a:gd name="connsiteY177" fmla="*/ 3375343 h 6858000"/>
              <a:gd name="connsiteX178" fmla="*/ 8497515 w 11064076"/>
              <a:gd name="connsiteY178" fmla="*/ 3372168 h 6858000"/>
              <a:gd name="connsiteX179" fmla="*/ 8503195 w 11064076"/>
              <a:gd name="connsiteY179" fmla="*/ 3369310 h 6858000"/>
              <a:gd name="connsiteX180" fmla="*/ 8508540 w 11064076"/>
              <a:gd name="connsiteY180" fmla="*/ 3366453 h 6858000"/>
              <a:gd name="connsiteX181" fmla="*/ 8514220 w 11064076"/>
              <a:gd name="connsiteY181" fmla="*/ 3364230 h 6858000"/>
              <a:gd name="connsiteX182" fmla="*/ 8519566 w 11064076"/>
              <a:gd name="connsiteY182" fmla="*/ 3362008 h 6858000"/>
              <a:gd name="connsiteX183" fmla="*/ 8525245 w 11064076"/>
              <a:gd name="connsiteY183" fmla="*/ 3360103 h 6858000"/>
              <a:gd name="connsiteX184" fmla="*/ 8531259 w 11064076"/>
              <a:gd name="connsiteY184" fmla="*/ 3358833 h 6858000"/>
              <a:gd name="connsiteX185" fmla="*/ 8536939 w 11064076"/>
              <a:gd name="connsiteY185" fmla="*/ 3357245 h 6858000"/>
              <a:gd name="connsiteX186" fmla="*/ 8542953 w 11064076"/>
              <a:gd name="connsiteY186" fmla="*/ 3356293 h 6858000"/>
              <a:gd name="connsiteX187" fmla="*/ 8548632 w 11064076"/>
              <a:gd name="connsiteY187" fmla="*/ 3355658 h 6858000"/>
              <a:gd name="connsiteX188" fmla="*/ 8554646 w 11064076"/>
              <a:gd name="connsiteY188" fmla="*/ 3355340 h 6858000"/>
              <a:gd name="connsiteX189" fmla="*/ 8560326 w 11064076"/>
              <a:gd name="connsiteY189" fmla="*/ 3355023 h 6858000"/>
              <a:gd name="connsiteX190" fmla="*/ 8566340 w 11064076"/>
              <a:gd name="connsiteY190" fmla="*/ 3355340 h 6858000"/>
              <a:gd name="connsiteX191" fmla="*/ 8572354 w 11064076"/>
              <a:gd name="connsiteY191" fmla="*/ 3355658 h 6858000"/>
              <a:gd name="connsiteX192" fmla="*/ 8578033 w 11064076"/>
              <a:gd name="connsiteY192" fmla="*/ 3356293 h 6858000"/>
              <a:gd name="connsiteX193" fmla="*/ 8584047 w 11064076"/>
              <a:gd name="connsiteY193" fmla="*/ 3357245 h 6858000"/>
              <a:gd name="connsiteX194" fmla="*/ 8589727 w 11064076"/>
              <a:gd name="connsiteY194" fmla="*/ 3358833 h 6858000"/>
              <a:gd name="connsiteX195" fmla="*/ 8595741 w 11064076"/>
              <a:gd name="connsiteY195" fmla="*/ 3360103 h 6858000"/>
              <a:gd name="connsiteX196" fmla="*/ 8601086 w 11064076"/>
              <a:gd name="connsiteY196" fmla="*/ 3362008 h 6858000"/>
              <a:gd name="connsiteX197" fmla="*/ 8606766 w 11064076"/>
              <a:gd name="connsiteY197" fmla="*/ 3364230 h 6858000"/>
              <a:gd name="connsiteX198" fmla="*/ 8612446 w 11064076"/>
              <a:gd name="connsiteY198" fmla="*/ 3366453 h 6858000"/>
              <a:gd name="connsiteX199" fmla="*/ 8617791 w 11064076"/>
              <a:gd name="connsiteY199" fmla="*/ 3369310 h 6858000"/>
              <a:gd name="connsiteX200" fmla="*/ 8623137 w 11064076"/>
              <a:gd name="connsiteY200" fmla="*/ 3372168 h 6858000"/>
              <a:gd name="connsiteX201" fmla="*/ 8628148 w 11064076"/>
              <a:gd name="connsiteY201" fmla="*/ 3375343 h 6858000"/>
              <a:gd name="connsiteX202" fmla="*/ 8633160 w 11064076"/>
              <a:gd name="connsiteY202" fmla="*/ 3378835 h 6858000"/>
              <a:gd name="connsiteX203" fmla="*/ 8638171 w 11064076"/>
              <a:gd name="connsiteY203" fmla="*/ 3382645 h 6858000"/>
              <a:gd name="connsiteX204" fmla="*/ 8642849 w 11064076"/>
              <a:gd name="connsiteY204" fmla="*/ 3386773 h 6858000"/>
              <a:gd name="connsiteX205" fmla="*/ 8647526 w 11064076"/>
              <a:gd name="connsiteY205" fmla="*/ 3391218 h 6858000"/>
              <a:gd name="connsiteX206" fmla="*/ 8855003 w 11064076"/>
              <a:gd name="connsiteY206" fmla="*/ 3598228 h 6858000"/>
              <a:gd name="connsiteX207" fmla="*/ 8859346 w 11064076"/>
              <a:gd name="connsiteY207" fmla="*/ 3602673 h 6858000"/>
              <a:gd name="connsiteX208" fmla="*/ 8864023 w 11064076"/>
              <a:gd name="connsiteY208" fmla="*/ 3606800 h 6858000"/>
              <a:gd name="connsiteX209" fmla="*/ 8869369 w 11064076"/>
              <a:gd name="connsiteY209" fmla="*/ 3610610 h 6858000"/>
              <a:gd name="connsiteX210" fmla="*/ 8874046 w 11064076"/>
              <a:gd name="connsiteY210" fmla="*/ 3613785 h 6858000"/>
              <a:gd name="connsiteX211" fmla="*/ 8879392 w 11064076"/>
              <a:gd name="connsiteY211" fmla="*/ 3617278 h 6858000"/>
              <a:gd name="connsiteX212" fmla="*/ 8884738 w 11064076"/>
              <a:gd name="connsiteY212" fmla="*/ 3620135 h 6858000"/>
              <a:gd name="connsiteX213" fmla="*/ 8890083 w 11064076"/>
              <a:gd name="connsiteY213" fmla="*/ 3622675 h 6858000"/>
              <a:gd name="connsiteX214" fmla="*/ 8895763 w 11064076"/>
              <a:gd name="connsiteY214" fmla="*/ 3625215 h 6858000"/>
              <a:gd name="connsiteX215" fmla="*/ 8901109 w 11064076"/>
              <a:gd name="connsiteY215" fmla="*/ 3627120 h 6858000"/>
              <a:gd name="connsiteX216" fmla="*/ 8906788 w 11064076"/>
              <a:gd name="connsiteY216" fmla="*/ 3629343 h 6858000"/>
              <a:gd name="connsiteX217" fmla="*/ 8912802 w 11064076"/>
              <a:gd name="connsiteY217" fmla="*/ 3630613 h 6858000"/>
              <a:gd name="connsiteX218" fmla="*/ 8918482 w 11064076"/>
              <a:gd name="connsiteY218" fmla="*/ 3631883 h 6858000"/>
              <a:gd name="connsiteX219" fmla="*/ 8924496 w 11064076"/>
              <a:gd name="connsiteY219" fmla="*/ 3633153 h 6858000"/>
              <a:gd name="connsiteX220" fmla="*/ 8930175 w 11064076"/>
              <a:gd name="connsiteY220" fmla="*/ 3633788 h 6858000"/>
              <a:gd name="connsiteX221" fmla="*/ 8936189 w 11064076"/>
              <a:gd name="connsiteY221" fmla="*/ 3634105 h 6858000"/>
              <a:gd name="connsiteX222" fmla="*/ 8941869 w 11064076"/>
              <a:gd name="connsiteY222" fmla="*/ 3634105 h 6858000"/>
              <a:gd name="connsiteX223" fmla="*/ 8947883 w 11064076"/>
              <a:gd name="connsiteY223" fmla="*/ 3634105 h 6858000"/>
              <a:gd name="connsiteX224" fmla="*/ 8953897 w 11064076"/>
              <a:gd name="connsiteY224" fmla="*/ 3633788 h 6858000"/>
              <a:gd name="connsiteX225" fmla="*/ 8959576 w 11064076"/>
              <a:gd name="connsiteY225" fmla="*/ 3633153 h 6858000"/>
              <a:gd name="connsiteX226" fmla="*/ 8965590 w 11064076"/>
              <a:gd name="connsiteY226" fmla="*/ 3631883 h 6858000"/>
              <a:gd name="connsiteX227" fmla="*/ 8971270 w 11064076"/>
              <a:gd name="connsiteY227" fmla="*/ 3630613 h 6858000"/>
              <a:gd name="connsiteX228" fmla="*/ 8977284 w 11064076"/>
              <a:gd name="connsiteY228" fmla="*/ 3629343 h 6858000"/>
              <a:gd name="connsiteX229" fmla="*/ 8982629 w 11064076"/>
              <a:gd name="connsiteY229" fmla="*/ 3627120 h 6858000"/>
              <a:gd name="connsiteX230" fmla="*/ 8988309 w 11064076"/>
              <a:gd name="connsiteY230" fmla="*/ 3625215 h 6858000"/>
              <a:gd name="connsiteX231" fmla="*/ 8993989 w 11064076"/>
              <a:gd name="connsiteY231" fmla="*/ 3622675 h 6858000"/>
              <a:gd name="connsiteX232" fmla="*/ 8999334 w 11064076"/>
              <a:gd name="connsiteY232" fmla="*/ 3620135 h 6858000"/>
              <a:gd name="connsiteX233" fmla="*/ 9004680 w 11064076"/>
              <a:gd name="connsiteY233" fmla="*/ 3617278 h 6858000"/>
              <a:gd name="connsiteX234" fmla="*/ 9009691 w 11064076"/>
              <a:gd name="connsiteY234" fmla="*/ 3613785 h 6858000"/>
              <a:gd name="connsiteX235" fmla="*/ 9014703 w 11064076"/>
              <a:gd name="connsiteY235" fmla="*/ 3610610 h 6858000"/>
              <a:gd name="connsiteX236" fmla="*/ 9020048 w 11064076"/>
              <a:gd name="connsiteY236" fmla="*/ 3606800 h 6858000"/>
              <a:gd name="connsiteX237" fmla="*/ 9024392 w 11064076"/>
              <a:gd name="connsiteY237" fmla="*/ 3602673 h 6858000"/>
              <a:gd name="connsiteX238" fmla="*/ 9029069 w 11064076"/>
              <a:gd name="connsiteY238" fmla="*/ 3598228 h 6858000"/>
              <a:gd name="connsiteX239" fmla="*/ 9033747 w 11064076"/>
              <a:gd name="connsiteY239" fmla="*/ 3593783 h 6858000"/>
              <a:gd name="connsiteX240" fmla="*/ 9037756 w 11064076"/>
              <a:gd name="connsiteY240" fmla="*/ 3589020 h 6858000"/>
              <a:gd name="connsiteX241" fmla="*/ 9041431 w 11064076"/>
              <a:gd name="connsiteY241" fmla="*/ 3583940 h 6858000"/>
              <a:gd name="connsiteX242" fmla="*/ 9044772 w 11064076"/>
              <a:gd name="connsiteY242" fmla="*/ 3578860 h 6858000"/>
              <a:gd name="connsiteX243" fmla="*/ 9048113 w 11064076"/>
              <a:gd name="connsiteY243" fmla="*/ 3573463 h 6858000"/>
              <a:gd name="connsiteX244" fmla="*/ 9051120 w 11064076"/>
              <a:gd name="connsiteY244" fmla="*/ 3568383 h 6858000"/>
              <a:gd name="connsiteX245" fmla="*/ 9053793 w 11064076"/>
              <a:gd name="connsiteY245" fmla="*/ 3562985 h 6858000"/>
              <a:gd name="connsiteX246" fmla="*/ 9056131 w 11064076"/>
              <a:gd name="connsiteY246" fmla="*/ 3557588 h 6858000"/>
              <a:gd name="connsiteX247" fmla="*/ 9058136 w 11064076"/>
              <a:gd name="connsiteY247" fmla="*/ 3551873 h 6858000"/>
              <a:gd name="connsiteX248" fmla="*/ 9060141 w 11064076"/>
              <a:gd name="connsiteY248" fmla="*/ 3546158 h 6858000"/>
              <a:gd name="connsiteX249" fmla="*/ 9061811 w 11064076"/>
              <a:gd name="connsiteY249" fmla="*/ 3540443 h 6858000"/>
              <a:gd name="connsiteX250" fmla="*/ 9063147 w 11064076"/>
              <a:gd name="connsiteY250" fmla="*/ 3534410 h 6858000"/>
              <a:gd name="connsiteX251" fmla="*/ 9064150 w 11064076"/>
              <a:gd name="connsiteY251" fmla="*/ 3528695 h 6858000"/>
              <a:gd name="connsiteX252" fmla="*/ 9064818 w 11064076"/>
              <a:gd name="connsiteY252" fmla="*/ 3522980 h 6858000"/>
              <a:gd name="connsiteX253" fmla="*/ 9065152 w 11064076"/>
              <a:gd name="connsiteY253" fmla="*/ 3516948 h 6858000"/>
              <a:gd name="connsiteX254" fmla="*/ 9065152 w 11064076"/>
              <a:gd name="connsiteY254" fmla="*/ 3511233 h 6858000"/>
              <a:gd name="connsiteX255" fmla="*/ 9065152 w 11064076"/>
              <a:gd name="connsiteY255" fmla="*/ 3505200 h 6858000"/>
              <a:gd name="connsiteX256" fmla="*/ 9064818 w 11064076"/>
              <a:gd name="connsiteY256" fmla="*/ 3499168 h 6858000"/>
              <a:gd name="connsiteX257" fmla="*/ 9064150 w 11064076"/>
              <a:gd name="connsiteY257" fmla="*/ 3493453 h 6858000"/>
              <a:gd name="connsiteX258" fmla="*/ 9063147 w 11064076"/>
              <a:gd name="connsiteY258" fmla="*/ 3487738 h 6858000"/>
              <a:gd name="connsiteX259" fmla="*/ 9061811 w 11064076"/>
              <a:gd name="connsiteY259" fmla="*/ 3481705 h 6858000"/>
              <a:gd name="connsiteX260" fmla="*/ 9060141 w 11064076"/>
              <a:gd name="connsiteY260" fmla="*/ 3475990 h 6858000"/>
              <a:gd name="connsiteX261" fmla="*/ 9058136 w 11064076"/>
              <a:gd name="connsiteY261" fmla="*/ 3470593 h 6858000"/>
              <a:gd name="connsiteX262" fmla="*/ 9056131 w 11064076"/>
              <a:gd name="connsiteY262" fmla="*/ 3464878 h 6858000"/>
              <a:gd name="connsiteX263" fmla="*/ 9053793 w 11064076"/>
              <a:gd name="connsiteY263" fmla="*/ 3459163 h 6858000"/>
              <a:gd name="connsiteX264" fmla="*/ 9051120 w 11064076"/>
              <a:gd name="connsiteY264" fmla="*/ 3453765 h 6858000"/>
              <a:gd name="connsiteX265" fmla="*/ 9048113 w 11064076"/>
              <a:gd name="connsiteY265" fmla="*/ 3448685 h 6858000"/>
              <a:gd name="connsiteX266" fmla="*/ 9044772 w 11064076"/>
              <a:gd name="connsiteY266" fmla="*/ 3443605 h 6858000"/>
              <a:gd name="connsiteX267" fmla="*/ 9041431 w 11064076"/>
              <a:gd name="connsiteY267" fmla="*/ 3438525 h 6858000"/>
              <a:gd name="connsiteX268" fmla="*/ 9037756 w 11064076"/>
              <a:gd name="connsiteY268" fmla="*/ 3433763 h 6858000"/>
              <a:gd name="connsiteX269" fmla="*/ 9033747 w 11064076"/>
              <a:gd name="connsiteY269" fmla="*/ 3428683 h 6858000"/>
              <a:gd name="connsiteX270" fmla="*/ 9029069 w 11064076"/>
              <a:gd name="connsiteY270" fmla="*/ 3423920 h 6858000"/>
              <a:gd name="connsiteX271" fmla="*/ 8360534 w 11064076"/>
              <a:gd name="connsiteY271" fmla="*/ 2756218 h 6858000"/>
              <a:gd name="connsiteX272" fmla="*/ 8357193 w 11064076"/>
              <a:gd name="connsiteY272" fmla="*/ 2753043 h 6858000"/>
              <a:gd name="connsiteX273" fmla="*/ 8353852 w 11064076"/>
              <a:gd name="connsiteY273" fmla="*/ 2749233 h 6858000"/>
              <a:gd name="connsiteX274" fmla="*/ 8347504 w 11064076"/>
              <a:gd name="connsiteY274" fmla="*/ 2741295 h 6858000"/>
              <a:gd name="connsiteX275" fmla="*/ 8342492 w 11064076"/>
              <a:gd name="connsiteY275" fmla="*/ 2733040 h 6858000"/>
              <a:gd name="connsiteX276" fmla="*/ 8337815 w 11064076"/>
              <a:gd name="connsiteY276" fmla="*/ 2724468 h 6858000"/>
              <a:gd name="connsiteX277" fmla="*/ 8333471 w 11064076"/>
              <a:gd name="connsiteY277" fmla="*/ 2715895 h 6858000"/>
              <a:gd name="connsiteX278" fmla="*/ 8330465 w 11064076"/>
              <a:gd name="connsiteY278" fmla="*/ 2707005 h 6858000"/>
              <a:gd name="connsiteX279" fmla="*/ 8328126 w 11064076"/>
              <a:gd name="connsiteY279" fmla="*/ 2697798 h 6858000"/>
              <a:gd name="connsiteX280" fmla="*/ 8326121 w 11064076"/>
              <a:gd name="connsiteY280" fmla="*/ 2688590 h 6858000"/>
              <a:gd name="connsiteX281" fmla="*/ 5629596 w 11064076"/>
              <a:gd name="connsiteY281" fmla="*/ 0 h 6858000"/>
              <a:gd name="connsiteX0" fmla="*/ 5629596 w 11064076"/>
              <a:gd name="connsiteY0" fmla="*/ 0 h 6858000"/>
              <a:gd name="connsiteX1" fmla="*/ 0 w 11064076"/>
              <a:gd name="connsiteY1" fmla="*/ 0 h 6858000"/>
              <a:gd name="connsiteX2" fmla="*/ 0 w 11064076"/>
              <a:gd name="connsiteY2" fmla="*/ 6858000 h 6858000"/>
              <a:gd name="connsiteX3" fmla="*/ 11064076 w 11064076"/>
              <a:gd name="connsiteY3" fmla="*/ 6858000 h 6858000"/>
              <a:gd name="connsiteX4" fmla="*/ 9033747 w 11064076"/>
              <a:gd name="connsiteY4" fmla="*/ 4816793 h 6858000"/>
              <a:gd name="connsiteX5" fmla="*/ 9018378 w 11064076"/>
              <a:gd name="connsiteY5" fmla="*/ 4803458 h 6858000"/>
              <a:gd name="connsiteX6" fmla="*/ 9003009 w 11064076"/>
              <a:gd name="connsiteY6" fmla="*/ 4789488 h 6858000"/>
              <a:gd name="connsiteX7" fmla="*/ 8987975 w 11064076"/>
              <a:gd name="connsiteY7" fmla="*/ 4775518 h 6858000"/>
              <a:gd name="connsiteX8" fmla="*/ 8973274 w 11064076"/>
              <a:gd name="connsiteY8" fmla="*/ 4760913 h 6858000"/>
              <a:gd name="connsiteX9" fmla="*/ 8039129 w 11064076"/>
              <a:gd name="connsiteY9" fmla="*/ 3828098 h 6858000"/>
              <a:gd name="connsiteX10" fmla="*/ 8034451 w 11064076"/>
              <a:gd name="connsiteY10" fmla="*/ 3823335 h 6858000"/>
              <a:gd name="connsiteX11" fmla="*/ 8030443 w 11064076"/>
              <a:gd name="connsiteY11" fmla="*/ 3818573 h 6858000"/>
              <a:gd name="connsiteX12" fmla="*/ 8026767 w 11064076"/>
              <a:gd name="connsiteY12" fmla="*/ 3813493 h 6858000"/>
              <a:gd name="connsiteX13" fmla="*/ 8023426 w 11064076"/>
              <a:gd name="connsiteY13" fmla="*/ 3808413 h 6858000"/>
              <a:gd name="connsiteX14" fmla="*/ 8020086 w 11064076"/>
              <a:gd name="connsiteY14" fmla="*/ 3803333 h 6858000"/>
              <a:gd name="connsiteX15" fmla="*/ 8017079 w 11064076"/>
              <a:gd name="connsiteY15" fmla="*/ 3798253 h 6858000"/>
              <a:gd name="connsiteX16" fmla="*/ 8014406 w 11064076"/>
              <a:gd name="connsiteY16" fmla="*/ 3792855 h 6858000"/>
              <a:gd name="connsiteX17" fmla="*/ 8012067 w 11064076"/>
              <a:gd name="connsiteY17" fmla="*/ 3787458 h 6858000"/>
              <a:gd name="connsiteX18" fmla="*/ 8010062 w 11064076"/>
              <a:gd name="connsiteY18" fmla="*/ 3781425 h 6858000"/>
              <a:gd name="connsiteX19" fmla="*/ 8008392 w 11064076"/>
              <a:gd name="connsiteY19" fmla="*/ 3776028 h 6858000"/>
              <a:gd name="connsiteX20" fmla="*/ 8006387 w 11064076"/>
              <a:gd name="connsiteY20" fmla="*/ 3770313 h 6858000"/>
              <a:gd name="connsiteX21" fmla="*/ 8005051 w 11064076"/>
              <a:gd name="connsiteY21" fmla="*/ 3764280 h 6858000"/>
              <a:gd name="connsiteX22" fmla="*/ 8004049 w 11064076"/>
              <a:gd name="connsiteY22" fmla="*/ 3758565 h 6858000"/>
              <a:gd name="connsiteX23" fmla="*/ 8003380 w 11064076"/>
              <a:gd name="connsiteY23" fmla="*/ 3752850 h 6858000"/>
              <a:gd name="connsiteX24" fmla="*/ 8003046 w 11064076"/>
              <a:gd name="connsiteY24" fmla="*/ 3746818 h 6858000"/>
              <a:gd name="connsiteX25" fmla="*/ 8003046 w 11064076"/>
              <a:gd name="connsiteY25" fmla="*/ 3740785 h 6858000"/>
              <a:gd name="connsiteX26" fmla="*/ 8003046 w 11064076"/>
              <a:gd name="connsiteY26" fmla="*/ 3735070 h 6858000"/>
              <a:gd name="connsiteX27" fmla="*/ 8003380 w 11064076"/>
              <a:gd name="connsiteY27" fmla="*/ 3729038 h 6858000"/>
              <a:gd name="connsiteX28" fmla="*/ 8004049 w 11064076"/>
              <a:gd name="connsiteY28" fmla="*/ 3723323 h 6858000"/>
              <a:gd name="connsiteX29" fmla="*/ 8005051 w 11064076"/>
              <a:gd name="connsiteY29" fmla="*/ 3717608 h 6858000"/>
              <a:gd name="connsiteX30" fmla="*/ 8006387 w 11064076"/>
              <a:gd name="connsiteY30" fmla="*/ 3711575 h 6858000"/>
              <a:gd name="connsiteX31" fmla="*/ 8008392 w 11064076"/>
              <a:gd name="connsiteY31" fmla="*/ 3705860 h 6858000"/>
              <a:gd name="connsiteX32" fmla="*/ 8010062 w 11064076"/>
              <a:gd name="connsiteY32" fmla="*/ 3700145 h 6858000"/>
              <a:gd name="connsiteX33" fmla="*/ 8012067 w 11064076"/>
              <a:gd name="connsiteY33" fmla="*/ 3694748 h 6858000"/>
              <a:gd name="connsiteX34" fmla="*/ 8014406 w 11064076"/>
              <a:gd name="connsiteY34" fmla="*/ 3689033 h 6858000"/>
              <a:gd name="connsiteX35" fmla="*/ 8017079 w 11064076"/>
              <a:gd name="connsiteY35" fmla="*/ 3683635 h 6858000"/>
              <a:gd name="connsiteX36" fmla="*/ 8020086 w 11064076"/>
              <a:gd name="connsiteY36" fmla="*/ 3678238 h 6858000"/>
              <a:gd name="connsiteX37" fmla="*/ 8023426 w 11064076"/>
              <a:gd name="connsiteY37" fmla="*/ 3673158 h 6858000"/>
              <a:gd name="connsiteX38" fmla="*/ 8026767 w 11064076"/>
              <a:gd name="connsiteY38" fmla="*/ 3668078 h 6858000"/>
              <a:gd name="connsiteX39" fmla="*/ 8030443 w 11064076"/>
              <a:gd name="connsiteY39" fmla="*/ 3662998 h 6858000"/>
              <a:gd name="connsiteX40" fmla="*/ 8034451 w 11064076"/>
              <a:gd name="connsiteY40" fmla="*/ 3658235 h 6858000"/>
              <a:gd name="connsiteX41" fmla="*/ 8039129 w 11064076"/>
              <a:gd name="connsiteY41" fmla="*/ 3653790 h 6858000"/>
              <a:gd name="connsiteX42" fmla="*/ 8043807 w 11064076"/>
              <a:gd name="connsiteY42" fmla="*/ 3649345 h 6858000"/>
              <a:gd name="connsiteX43" fmla="*/ 8048149 w 11064076"/>
              <a:gd name="connsiteY43" fmla="*/ 3645218 h 6858000"/>
              <a:gd name="connsiteX44" fmla="*/ 8053495 w 11064076"/>
              <a:gd name="connsiteY44" fmla="*/ 3641725 h 6858000"/>
              <a:gd name="connsiteX45" fmla="*/ 8058507 w 11064076"/>
              <a:gd name="connsiteY45" fmla="*/ 3638233 h 6858000"/>
              <a:gd name="connsiteX46" fmla="*/ 8063852 w 11064076"/>
              <a:gd name="connsiteY46" fmla="*/ 3634740 h 6858000"/>
              <a:gd name="connsiteX47" fmla="*/ 8068864 w 11064076"/>
              <a:gd name="connsiteY47" fmla="*/ 3631883 h 6858000"/>
              <a:gd name="connsiteX48" fmla="*/ 8074209 w 11064076"/>
              <a:gd name="connsiteY48" fmla="*/ 3629343 h 6858000"/>
              <a:gd name="connsiteX49" fmla="*/ 8079889 w 11064076"/>
              <a:gd name="connsiteY49" fmla="*/ 3626803 h 6858000"/>
              <a:gd name="connsiteX50" fmla="*/ 8085569 w 11064076"/>
              <a:gd name="connsiteY50" fmla="*/ 3624898 h 6858000"/>
              <a:gd name="connsiteX51" fmla="*/ 8091248 w 11064076"/>
              <a:gd name="connsiteY51" fmla="*/ 3622675 h 6858000"/>
              <a:gd name="connsiteX52" fmla="*/ 8096928 w 11064076"/>
              <a:gd name="connsiteY52" fmla="*/ 3621405 h 6858000"/>
              <a:gd name="connsiteX53" fmla="*/ 8102608 w 11064076"/>
              <a:gd name="connsiteY53" fmla="*/ 3620135 h 6858000"/>
              <a:gd name="connsiteX54" fmla="*/ 8108622 w 11064076"/>
              <a:gd name="connsiteY54" fmla="*/ 3618865 h 6858000"/>
              <a:gd name="connsiteX55" fmla="*/ 8114301 w 11064076"/>
              <a:gd name="connsiteY55" fmla="*/ 3618230 h 6858000"/>
              <a:gd name="connsiteX56" fmla="*/ 8120315 w 11064076"/>
              <a:gd name="connsiteY56" fmla="*/ 3617913 h 6858000"/>
              <a:gd name="connsiteX57" fmla="*/ 8126329 w 11064076"/>
              <a:gd name="connsiteY57" fmla="*/ 3617595 h 6858000"/>
              <a:gd name="connsiteX58" fmla="*/ 8132343 w 11064076"/>
              <a:gd name="connsiteY58" fmla="*/ 3617913 h 6858000"/>
              <a:gd name="connsiteX59" fmla="*/ 8138023 w 11064076"/>
              <a:gd name="connsiteY59" fmla="*/ 3618230 h 6858000"/>
              <a:gd name="connsiteX60" fmla="*/ 8143702 w 11064076"/>
              <a:gd name="connsiteY60" fmla="*/ 3618865 h 6858000"/>
              <a:gd name="connsiteX61" fmla="*/ 8149716 w 11064076"/>
              <a:gd name="connsiteY61" fmla="*/ 3620135 h 6858000"/>
              <a:gd name="connsiteX62" fmla="*/ 8155396 w 11064076"/>
              <a:gd name="connsiteY62" fmla="*/ 3621405 h 6858000"/>
              <a:gd name="connsiteX63" fmla="*/ 8161410 w 11064076"/>
              <a:gd name="connsiteY63" fmla="*/ 3622675 h 6858000"/>
              <a:gd name="connsiteX64" fmla="*/ 8167089 w 11064076"/>
              <a:gd name="connsiteY64" fmla="*/ 3624898 h 6858000"/>
              <a:gd name="connsiteX65" fmla="*/ 8172769 w 11064076"/>
              <a:gd name="connsiteY65" fmla="*/ 3626803 h 6858000"/>
              <a:gd name="connsiteX66" fmla="*/ 8178115 w 11064076"/>
              <a:gd name="connsiteY66" fmla="*/ 3629343 h 6858000"/>
              <a:gd name="connsiteX67" fmla="*/ 8183460 w 11064076"/>
              <a:gd name="connsiteY67" fmla="*/ 3631883 h 6858000"/>
              <a:gd name="connsiteX68" fmla="*/ 8188806 w 11064076"/>
              <a:gd name="connsiteY68" fmla="*/ 3634740 h 6858000"/>
              <a:gd name="connsiteX69" fmla="*/ 8194151 w 11064076"/>
              <a:gd name="connsiteY69" fmla="*/ 3638233 h 6858000"/>
              <a:gd name="connsiteX70" fmla="*/ 8199163 w 11064076"/>
              <a:gd name="connsiteY70" fmla="*/ 3641725 h 6858000"/>
              <a:gd name="connsiteX71" fmla="*/ 8204175 w 11064076"/>
              <a:gd name="connsiteY71" fmla="*/ 3645218 h 6858000"/>
              <a:gd name="connsiteX72" fmla="*/ 8208852 w 11064076"/>
              <a:gd name="connsiteY72" fmla="*/ 3649345 h 6858000"/>
              <a:gd name="connsiteX73" fmla="*/ 8213529 w 11064076"/>
              <a:gd name="connsiteY73" fmla="*/ 3653790 h 6858000"/>
              <a:gd name="connsiteX74" fmla="*/ 8882399 w 11064076"/>
              <a:gd name="connsiteY74" fmla="*/ 4321810 h 6858000"/>
              <a:gd name="connsiteX75" fmla="*/ 8886742 w 11064076"/>
              <a:gd name="connsiteY75" fmla="*/ 4325938 h 6858000"/>
              <a:gd name="connsiteX76" fmla="*/ 8891420 w 11064076"/>
              <a:gd name="connsiteY76" fmla="*/ 4330065 h 6858000"/>
              <a:gd name="connsiteX77" fmla="*/ 8896765 w 11064076"/>
              <a:gd name="connsiteY77" fmla="*/ 4334193 h 6858000"/>
              <a:gd name="connsiteX78" fmla="*/ 8901443 w 11064076"/>
              <a:gd name="connsiteY78" fmla="*/ 4337685 h 6858000"/>
              <a:gd name="connsiteX79" fmla="*/ 8906788 w 11064076"/>
              <a:gd name="connsiteY79" fmla="*/ 4340860 h 6858000"/>
              <a:gd name="connsiteX80" fmla="*/ 8912134 w 11064076"/>
              <a:gd name="connsiteY80" fmla="*/ 4343718 h 6858000"/>
              <a:gd name="connsiteX81" fmla="*/ 8917480 w 11064076"/>
              <a:gd name="connsiteY81" fmla="*/ 4346575 h 6858000"/>
              <a:gd name="connsiteX82" fmla="*/ 8923159 w 11064076"/>
              <a:gd name="connsiteY82" fmla="*/ 4349115 h 6858000"/>
              <a:gd name="connsiteX83" fmla="*/ 8928505 w 11064076"/>
              <a:gd name="connsiteY83" fmla="*/ 4351020 h 6858000"/>
              <a:gd name="connsiteX84" fmla="*/ 8934185 w 11064076"/>
              <a:gd name="connsiteY84" fmla="*/ 4352608 h 6858000"/>
              <a:gd name="connsiteX85" fmla="*/ 8940198 w 11064076"/>
              <a:gd name="connsiteY85" fmla="*/ 4354513 h 6858000"/>
              <a:gd name="connsiteX86" fmla="*/ 8945878 w 11064076"/>
              <a:gd name="connsiteY86" fmla="*/ 4355465 h 6858000"/>
              <a:gd name="connsiteX87" fmla="*/ 8951892 w 11064076"/>
              <a:gd name="connsiteY87" fmla="*/ 4356418 h 6858000"/>
              <a:gd name="connsiteX88" fmla="*/ 8957572 w 11064076"/>
              <a:gd name="connsiteY88" fmla="*/ 4357053 h 6858000"/>
              <a:gd name="connsiteX89" fmla="*/ 8963585 w 11064076"/>
              <a:gd name="connsiteY89" fmla="*/ 4358005 h 6858000"/>
              <a:gd name="connsiteX90" fmla="*/ 8969265 w 11064076"/>
              <a:gd name="connsiteY90" fmla="*/ 4358005 h 6858000"/>
              <a:gd name="connsiteX91" fmla="*/ 8975279 w 11064076"/>
              <a:gd name="connsiteY91" fmla="*/ 4358005 h 6858000"/>
              <a:gd name="connsiteX92" fmla="*/ 8981293 w 11064076"/>
              <a:gd name="connsiteY92" fmla="*/ 4357053 h 6858000"/>
              <a:gd name="connsiteX93" fmla="*/ 8986972 w 11064076"/>
              <a:gd name="connsiteY93" fmla="*/ 4356418 h 6858000"/>
              <a:gd name="connsiteX94" fmla="*/ 8992986 w 11064076"/>
              <a:gd name="connsiteY94" fmla="*/ 4355465 h 6858000"/>
              <a:gd name="connsiteX95" fmla="*/ 8998666 w 11064076"/>
              <a:gd name="connsiteY95" fmla="*/ 4354513 h 6858000"/>
              <a:gd name="connsiteX96" fmla="*/ 9004680 w 11064076"/>
              <a:gd name="connsiteY96" fmla="*/ 4352608 h 6858000"/>
              <a:gd name="connsiteX97" fmla="*/ 9010025 w 11064076"/>
              <a:gd name="connsiteY97" fmla="*/ 4351020 h 6858000"/>
              <a:gd name="connsiteX98" fmla="*/ 9015705 w 11064076"/>
              <a:gd name="connsiteY98" fmla="*/ 4349115 h 6858000"/>
              <a:gd name="connsiteX99" fmla="*/ 9021385 w 11064076"/>
              <a:gd name="connsiteY99" fmla="*/ 4346575 h 6858000"/>
              <a:gd name="connsiteX100" fmla="*/ 9026730 w 11064076"/>
              <a:gd name="connsiteY100" fmla="*/ 4343718 h 6858000"/>
              <a:gd name="connsiteX101" fmla="*/ 9032076 w 11064076"/>
              <a:gd name="connsiteY101" fmla="*/ 4340860 h 6858000"/>
              <a:gd name="connsiteX102" fmla="*/ 9037088 w 11064076"/>
              <a:gd name="connsiteY102" fmla="*/ 4337685 h 6858000"/>
              <a:gd name="connsiteX103" fmla="*/ 9042099 w 11064076"/>
              <a:gd name="connsiteY103" fmla="*/ 4334193 h 6858000"/>
              <a:gd name="connsiteX104" fmla="*/ 9047445 w 11064076"/>
              <a:gd name="connsiteY104" fmla="*/ 4330065 h 6858000"/>
              <a:gd name="connsiteX105" fmla="*/ 9051788 w 11064076"/>
              <a:gd name="connsiteY105" fmla="*/ 4325938 h 6858000"/>
              <a:gd name="connsiteX106" fmla="*/ 9056465 w 11064076"/>
              <a:gd name="connsiteY106" fmla="*/ 4321810 h 6858000"/>
              <a:gd name="connsiteX107" fmla="*/ 9061143 w 11064076"/>
              <a:gd name="connsiteY107" fmla="*/ 4317048 h 6858000"/>
              <a:gd name="connsiteX108" fmla="*/ 9065152 w 11064076"/>
              <a:gd name="connsiteY108" fmla="*/ 4312285 h 6858000"/>
              <a:gd name="connsiteX109" fmla="*/ 9068827 w 11064076"/>
              <a:gd name="connsiteY109" fmla="*/ 4307523 h 6858000"/>
              <a:gd name="connsiteX110" fmla="*/ 9072168 w 11064076"/>
              <a:gd name="connsiteY110" fmla="*/ 4302443 h 6858000"/>
              <a:gd name="connsiteX111" fmla="*/ 9075509 w 11064076"/>
              <a:gd name="connsiteY111" fmla="*/ 4297363 h 6858000"/>
              <a:gd name="connsiteX112" fmla="*/ 9078516 w 11064076"/>
              <a:gd name="connsiteY112" fmla="*/ 4292283 h 6858000"/>
              <a:gd name="connsiteX113" fmla="*/ 9081189 w 11064076"/>
              <a:gd name="connsiteY113" fmla="*/ 4286568 h 6858000"/>
              <a:gd name="connsiteX114" fmla="*/ 9083528 w 11064076"/>
              <a:gd name="connsiteY114" fmla="*/ 4281170 h 6858000"/>
              <a:gd name="connsiteX115" fmla="*/ 9085532 w 11064076"/>
              <a:gd name="connsiteY115" fmla="*/ 4275455 h 6858000"/>
              <a:gd name="connsiteX116" fmla="*/ 9087537 w 11064076"/>
              <a:gd name="connsiteY116" fmla="*/ 4270058 h 6858000"/>
              <a:gd name="connsiteX117" fmla="*/ 9089207 w 11064076"/>
              <a:gd name="connsiteY117" fmla="*/ 4264025 h 6858000"/>
              <a:gd name="connsiteX118" fmla="*/ 9090544 w 11064076"/>
              <a:gd name="connsiteY118" fmla="*/ 4258310 h 6858000"/>
              <a:gd name="connsiteX119" fmla="*/ 9091546 w 11064076"/>
              <a:gd name="connsiteY119" fmla="*/ 4252595 h 6858000"/>
              <a:gd name="connsiteX120" fmla="*/ 9092214 w 11064076"/>
              <a:gd name="connsiteY120" fmla="*/ 4246563 h 6858000"/>
              <a:gd name="connsiteX121" fmla="*/ 9092548 w 11064076"/>
              <a:gd name="connsiteY121" fmla="*/ 4240848 h 6858000"/>
              <a:gd name="connsiteX122" fmla="*/ 9092548 w 11064076"/>
              <a:gd name="connsiteY122" fmla="*/ 4234815 h 6858000"/>
              <a:gd name="connsiteX123" fmla="*/ 9092548 w 11064076"/>
              <a:gd name="connsiteY123" fmla="*/ 4228783 h 6858000"/>
              <a:gd name="connsiteX124" fmla="*/ 9092214 w 11064076"/>
              <a:gd name="connsiteY124" fmla="*/ 4223068 h 6858000"/>
              <a:gd name="connsiteX125" fmla="*/ 9091546 w 11064076"/>
              <a:gd name="connsiteY125" fmla="*/ 4217353 h 6858000"/>
              <a:gd name="connsiteX126" fmla="*/ 9090544 w 11064076"/>
              <a:gd name="connsiteY126" fmla="*/ 4211320 h 6858000"/>
              <a:gd name="connsiteX127" fmla="*/ 9089207 w 11064076"/>
              <a:gd name="connsiteY127" fmla="*/ 4205605 h 6858000"/>
              <a:gd name="connsiteX128" fmla="*/ 9087537 w 11064076"/>
              <a:gd name="connsiteY128" fmla="*/ 4199890 h 6858000"/>
              <a:gd name="connsiteX129" fmla="*/ 9085532 w 11064076"/>
              <a:gd name="connsiteY129" fmla="*/ 4194175 h 6858000"/>
              <a:gd name="connsiteX130" fmla="*/ 9083528 w 11064076"/>
              <a:gd name="connsiteY130" fmla="*/ 4188460 h 6858000"/>
              <a:gd name="connsiteX131" fmla="*/ 9081189 w 11064076"/>
              <a:gd name="connsiteY131" fmla="*/ 4183063 h 6858000"/>
              <a:gd name="connsiteX132" fmla="*/ 9078516 w 11064076"/>
              <a:gd name="connsiteY132" fmla="*/ 4177665 h 6858000"/>
              <a:gd name="connsiteX133" fmla="*/ 9075509 w 11064076"/>
              <a:gd name="connsiteY133" fmla="*/ 4172268 h 6858000"/>
              <a:gd name="connsiteX134" fmla="*/ 9072168 w 11064076"/>
              <a:gd name="connsiteY134" fmla="*/ 4166870 h 6858000"/>
              <a:gd name="connsiteX135" fmla="*/ 9068827 w 11064076"/>
              <a:gd name="connsiteY135" fmla="*/ 4161790 h 6858000"/>
              <a:gd name="connsiteX136" fmla="*/ 9065152 w 11064076"/>
              <a:gd name="connsiteY136" fmla="*/ 4157028 h 6858000"/>
              <a:gd name="connsiteX137" fmla="*/ 9061143 w 11064076"/>
              <a:gd name="connsiteY137" fmla="*/ 4152265 h 6858000"/>
              <a:gd name="connsiteX138" fmla="*/ 9056465 w 11064076"/>
              <a:gd name="connsiteY138" fmla="*/ 4147820 h 6858000"/>
              <a:gd name="connsiteX139" fmla="*/ 8669577 w 11064076"/>
              <a:gd name="connsiteY139" fmla="*/ 3761423 h 6858000"/>
              <a:gd name="connsiteX140" fmla="*/ 8473460 w 11064076"/>
              <a:gd name="connsiteY140" fmla="*/ 3565208 h 6858000"/>
              <a:gd name="connsiteX141" fmla="*/ 8468782 w 11064076"/>
              <a:gd name="connsiteY141" fmla="*/ 3560445 h 6858000"/>
              <a:gd name="connsiteX142" fmla="*/ 8464773 w 11064076"/>
              <a:gd name="connsiteY142" fmla="*/ 3555683 h 6858000"/>
              <a:gd name="connsiteX143" fmla="*/ 8461098 w 11064076"/>
              <a:gd name="connsiteY143" fmla="*/ 3550920 h 6858000"/>
              <a:gd name="connsiteX144" fmla="*/ 8457423 w 11064076"/>
              <a:gd name="connsiteY144" fmla="*/ 3545840 h 6858000"/>
              <a:gd name="connsiteX145" fmla="*/ 8454082 w 11064076"/>
              <a:gd name="connsiteY145" fmla="*/ 3540760 h 6858000"/>
              <a:gd name="connsiteX146" fmla="*/ 8451409 w 11064076"/>
              <a:gd name="connsiteY146" fmla="*/ 3535680 h 6858000"/>
              <a:gd name="connsiteX147" fmla="*/ 8448736 w 11064076"/>
              <a:gd name="connsiteY147" fmla="*/ 3529965 h 6858000"/>
              <a:gd name="connsiteX148" fmla="*/ 8446398 w 11064076"/>
              <a:gd name="connsiteY148" fmla="*/ 3524568 h 6858000"/>
              <a:gd name="connsiteX149" fmla="*/ 8444059 w 11064076"/>
              <a:gd name="connsiteY149" fmla="*/ 3518853 h 6858000"/>
              <a:gd name="connsiteX150" fmla="*/ 8442054 w 11064076"/>
              <a:gd name="connsiteY150" fmla="*/ 3513455 h 6858000"/>
              <a:gd name="connsiteX151" fmla="*/ 8440718 w 11064076"/>
              <a:gd name="connsiteY151" fmla="*/ 3507423 h 6858000"/>
              <a:gd name="connsiteX152" fmla="*/ 8439382 w 11064076"/>
              <a:gd name="connsiteY152" fmla="*/ 3501708 h 6858000"/>
              <a:gd name="connsiteX153" fmla="*/ 8438379 w 11064076"/>
              <a:gd name="connsiteY153" fmla="*/ 3495993 h 6858000"/>
              <a:gd name="connsiteX154" fmla="*/ 8437711 w 11064076"/>
              <a:gd name="connsiteY154" fmla="*/ 3489960 h 6858000"/>
              <a:gd name="connsiteX155" fmla="*/ 8437377 w 11064076"/>
              <a:gd name="connsiteY155" fmla="*/ 3484245 h 6858000"/>
              <a:gd name="connsiteX156" fmla="*/ 8437043 w 11064076"/>
              <a:gd name="connsiteY156" fmla="*/ 3478213 h 6858000"/>
              <a:gd name="connsiteX157" fmla="*/ 8437377 w 11064076"/>
              <a:gd name="connsiteY157" fmla="*/ 3472180 h 6858000"/>
              <a:gd name="connsiteX158" fmla="*/ 8437711 w 11064076"/>
              <a:gd name="connsiteY158" fmla="*/ 3466465 h 6858000"/>
              <a:gd name="connsiteX159" fmla="*/ 8438379 w 11064076"/>
              <a:gd name="connsiteY159" fmla="*/ 3460750 h 6858000"/>
              <a:gd name="connsiteX160" fmla="*/ 8439382 w 11064076"/>
              <a:gd name="connsiteY160" fmla="*/ 3454718 h 6858000"/>
              <a:gd name="connsiteX161" fmla="*/ 8440718 w 11064076"/>
              <a:gd name="connsiteY161" fmla="*/ 3449003 h 6858000"/>
              <a:gd name="connsiteX162" fmla="*/ 8442054 w 11064076"/>
              <a:gd name="connsiteY162" fmla="*/ 3443288 h 6858000"/>
              <a:gd name="connsiteX163" fmla="*/ 8444059 w 11064076"/>
              <a:gd name="connsiteY163" fmla="*/ 3437255 h 6858000"/>
              <a:gd name="connsiteX164" fmla="*/ 8446398 w 11064076"/>
              <a:gd name="connsiteY164" fmla="*/ 3431858 h 6858000"/>
              <a:gd name="connsiteX165" fmla="*/ 8448736 w 11064076"/>
              <a:gd name="connsiteY165" fmla="*/ 3426460 h 6858000"/>
              <a:gd name="connsiteX166" fmla="*/ 8451409 w 11064076"/>
              <a:gd name="connsiteY166" fmla="*/ 3421063 h 6858000"/>
              <a:gd name="connsiteX167" fmla="*/ 8454082 w 11064076"/>
              <a:gd name="connsiteY167" fmla="*/ 3415348 h 6858000"/>
              <a:gd name="connsiteX168" fmla="*/ 8457423 w 11064076"/>
              <a:gd name="connsiteY168" fmla="*/ 3410268 h 6858000"/>
              <a:gd name="connsiteX169" fmla="*/ 8461098 w 11064076"/>
              <a:gd name="connsiteY169" fmla="*/ 3405505 h 6858000"/>
              <a:gd name="connsiteX170" fmla="*/ 8464773 w 11064076"/>
              <a:gd name="connsiteY170" fmla="*/ 3400425 h 6858000"/>
              <a:gd name="connsiteX171" fmla="*/ 8468782 w 11064076"/>
              <a:gd name="connsiteY171" fmla="*/ 3395663 h 6858000"/>
              <a:gd name="connsiteX172" fmla="*/ 8473460 w 11064076"/>
              <a:gd name="connsiteY172" fmla="*/ 3391218 h 6858000"/>
              <a:gd name="connsiteX173" fmla="*/ 8477803 w 11064076"/>
              <a:gd name="connsiteY173" fmla="*/ 3386773 h 6858000"/>
              <a:gd name="connsiteX174" fmla="*/ 8482481 w 11064076"/>
              <a:gd name="connsiteY174" fmla="*/ 3382645 h 6858000"/>
              <a:gd name="connsiteX175" fmla="*/ 8487826 w 11064076"/>
              <a:gd name="connsiteY175" fmla="*/ 3378835 h 6858000"/>
              <a:gd name="connsiteX176" fmla="*/ 8492504 w 11064076"/>
              <a:gd name="connsiteY176" fmla="*/ 3375343 h 6858000"/>
              <a:gd name="connsiteX177" fmla="*/ 8497515 w 11064076"/>
              <a:gd name="connsiteY177" fmla="*/ 3372168 h 6858000"/>
              <a:gd name="connsiteX178" fmla="*/ 8503195 w 11064076"/>
              <a:gd name="connsiteY178" fmla="*/ 3369310 h 6858000"/>
              <a:gd name="connsiteX179" fmla="*/ 8508540 w 11064076"/>
              <a:gd name="connsiteY179" fmla="*/ 3366453 h 6858000"/>
              <a:gd name="connsiteX180" fmla="*/ 8514220 w 11064076"/>
              <a:gd name="connsiteY180" fmla="*/ 3364230 h 6858000"/>
              <a:gd name="connsiteX181" fmla="*/ 8519566 w 11064076"/>
              <a:gd name="connsiteY181" fmla="*/ 3362008 h 6858000"/>
              <a:gd name="connsiteX182" fmla="*/ 8525245 w 11064076"/>
              <a:gd name="connsiteY182" fmla="*/ 3360103 h 6858000"/>
              <a:gd name="connsiteX183" fmla="*/ 8531259 w 11064076"/>
              <a:gd name="connsiteY183" fmla="*/ 3358833 h 6858000"/>
              <a:gd name="connsiteX184" fmla="*/ 8536939 w 11064076"/>
              <a:gd name="connsiteY184" fmla="*/ 3357245 h 6858000"/>
              <a:gd name="connsiteX185" fmla="*/ 8542953 w 11064076"/>
              <a:gd name="connsiteY185" fmla="*/ 3356293 h 6858000"/>
              <a:gd name="connsiteX186" fmla="*/ 8548632 w 11064076"/>
              <a:gd name="connsiteY186" fmla="*/ 3355658 h 6858000"/>
              <a:gd name="connsiteX187" fmla="*/ 8554646 w 11064076"/>
              <a:gd name="connsiteY187" fmla="*/ 3355340 h 6858000"/>
              <a:gd name="connsiteX188" fmla="*/ 8560326 w 11064076"/>
              <a:gd name="connsiteY188" fmla="*/ 3355023 h 6858000"/>
              <a:gd name="connsiteX189" fmla="*/ 8566340 w 11064076"/>
              <a:gd name="connsiteY189" fmla="*/ 3355340 h 6858000"/>
              <a:gd name="connsiteX190" fmla="*/ 8572354 w 11064076"/>
              <a:gd name="connsiteY190" fmla="*/ 3355658 h 6858000"/>
              <a:gd name="connsiteX191" fmla="*/ 8578033 w 11064076"/>
              <a:gd name="connsiteY191" fmla="*/ 3356293 h 6858000"/>
              <a:gd name="connsiteX192" fmla="*/ 8584047 w 11064076"/>
              <a:gd name="connsiteY192" fmla="*/ 3357245 h 6858000"/>
              <a:gd name="connsiteX193" fmla="*/ 8589727 w 11064076"/>
              <a:gd name="connsiteY193" fmla="*/ 3358833 h 6858000"/>
              <a:gd name="connsiteX194" fmla="*/ 8595741 w 11064076"/>
              <a:gd name="connsiteY194" fmla="*/ 3360103 h 6858000"/>
              <a:gd name="connsiteX195" fmla="*/ 8601086 w 11064076"/>
              <a:gd name="connsiteY195" fmla="*/ 3362008 h 6858000"/>
              <a:gd name="connsiteX196" fmla="*/ 8606766 w 11064076"/>
              <a:gd name="connsiteY196" fmla="*/ 3364230 h 6858000"/>
              <a:gd name="connsiteX197" fmla="*/ 8612446 w 11064076"/>
              <a:gd name="connsiteY197" fmla="*/ 3366453 h 6858000"/>
              <a:gd name="connsiteX198" fmla="*/ 8617791 w 11064076"/>
              <a:gd name="connsiteY198" fmla="*/ 3369310 h 6858000"/>
              <a:gd name="connsiteX199" fmla="*/ 8623137 w 11064076"/>
              <a:gd name="connsiteY199" fmla="*/ 3372168 h 6858000"/>
              <a:gd name="connsiteX200" fmla="*/ 8628148 w 11064076"/>
              <a:gd name="connsiteY200" fmla="*/ 3375343 h 6858000"/>
              <a:gd name="connsiteX201" fmla="*/ 8633160 w 11064076"/>
              <a:gd name="connsiteY201" fmla="*/ 3378835 h 6858000"/>
              <a:gd name="connsiteX202" fmla="*/ 8638171 w 11064076"/>
              <a:gd name="connsiteY202" fmla="*/ 3382645 h 6858000"/>
              <a:gd name="connsiteX203" fmla="*/ 8642849 w 11064076"/>
              <a:gd name="connsiteY203" fmla="*/ 3386773 h 6858000"/>
              <a:gd name="connsiteX204" fmla="*/ 8647526 w 11064076"/>
              <a:gd name="connsiteY204" fmla="*/ 3391218 h 6858000"/>
              <a:gd name="connsiteX205" fmla="*/ 8855003 w 11064076"/>
              <a:gd name="connsiteY205" fmla="*/ 3598228 h 6858000"/>
              <a:gd name="connsiteX206" fmla="*/ 8859346 w 11064076"/>
              <a:gd name="connsiteY206" fmla="*/ 3602673 h 6858000"/>
              <a:gd name="connsiteX207" fmla="*/ 8864023 w 11064076"/>
              <a:gd name="connsiteY207" fmla="*/ 3606800 h 6858000"/>
              <a:gd name="connsiteX208" fmla="*/ 8869369 w 11064076"/>
              <a:gd name="connsiteY208" fmla="*/ 3610610 h 6858000"/>
              <a:gd name="connsiteX209" fmla="*/ 8874046 w 11064076"/>
              <a:gd name="connsiteY209" fmla="*/ 3613785 h 6858000"/>
              <a:gd name="connsiteX210" fmla="*/ 8879392 w 11064076"/>
              <a:gd name="connsiteY210" fmla="*/ 3617278 h 6858000"/>
              <a:gd name="connsiteX211" fmla="*/ 8884738 w 11064076"/>
              <a:gd name="connsiteY211" fmla="*/ 3620135 h 6858000"/>
              <a:gd name="connsiteX212" fmla="*/ 8890083 w 11064076"/>
              <a:gd name="connsiteY212" fmla="*/ 3622675 h 6858000"/>
              <a:gd name="connsiteX213" fmla="*/ 8895763 w 11064076"/>
              <a:gd name="connsiteY213" fmla="*/ 3625215 h 6858000"/>
              <a:gd name="connsiteX214" fmla="*/ 8901109 w 11064076"/>
              <a:gd name="connsiteY214" fmla="*/ 3627120 h 6858000"/>
              <a:gd name="connsiteX215" fmla="*/ 8906788 w 11064076"/>
              <a:gd name="connsiteY215" fmla="*/ 3629343 h 6858000"/>
              <a:gd name="connsiteX216" fmla="*/ 8912802 w 11064076"/>
              <a:gd name="connsiteY216" fmla="*/ 3630613 h 6858000"/>
              <a:gd name="connsiteX217" fmla="*/ 8918482 w 11064076"/>
              <a:gd name="connsiteY217" fmla="*/ 3631883 h 6858000"/>
              <a:gd name="connsiteX218" fmla="*/ 8924496 w 11064076"/>
              <a:gd name="connsiteY218" fmla="*/ 3633153 h 6858000"/>
              <a:gd name="connsiteX219" fmla="*/ 8930175 w 11064076"/>
              <a:gd name="connsiteY219" fmla="*/ 3633788 h 6858000"/>
              <a:gd name="connsiteX220" fmla="*/ 8936189 w 11064076"/>
              <a:gd name="connsiteY220" fmla="*/ 3634105 h 6858000"/>
              <a:gd name="connsiteX221" fmla="*/ 8941869 w 11064076"/>
              <a:gd name="connsiteY221" fmla="*/ 3634105 h 6858000"/>
              <a:gd name="connsiteX222" fmla="*/ 8947883 w 11064076"/>
              <a:gd name="connsiteY222" fmla="*/ 3634105 h 6858000"/>
              <a:gd name="connsiteX223" fmla="*/ 8953897 w 11064076"/>
              <a:gd name="connsiteY223" fmla="*/ 3633788 h 6858000"/>
              <a:gd name="connsiteX224" fmla="*/ 8959576 w 11064076"/>
              <a:gd name="connsiteY224" fmla="*/ 3633153 h 6858000"/>
              <a:gd name="connsiteX225" fmla="*/ 8965590 w 11064076"/>
              <a:gd name="connsiteY225" fmla="*/ 3631883 h 6858000"/>
              <a:gd name="connsiteX226" fmla="*/ 8971270 w 11064076"/>
              <a:gd name="connsiteY226" fmla="*/ 3630613 h 6858000"/>
              <a:gd name="connsiteX227" fmla="*/ 8977284 w 11064076"/>
              <a:gd name="connsiteY227" fmla="*/ 3629343 h 6858000"/>
              <a:gd name="connsiteX228" fmla="*/ 8982629 w 11064076"/>
              <a:gd name="connsiteY228" fmla="*/ 3627120 h 6858000"/>
              <a:gd name="connsiteX229" fmla="*/ 8988309 w 11064076"/>
              <a:gd name="connsiteY229" fmla="*/ 3625215 h 6858000"/>
              <a:gd name="connsiteX230" fmla="*/ 8993989 w 11064076"/>
              <a:gd name="connsiteY230" fmla="*/ 3622675 h 6858000"/>
              <a:gd name="connsiteX231" fmla="*/ 8999334 w 11064076"/>
              <a:gd name="connsiteY231" fmla="*/ 3620135 h 6858000"/>
              <a:gd name="connsiteX232" fmla="*/ 9004680 w 11064076"/>
              <a:gd name="connsiteY232" fmla="*/ 3617278 h 6858000"/>
              <a:gd name="connsiteX233" fmla="*/ 9009691 w 11064076"/>
              <a:gd name="connsiteY233" fmla="*/ 3613785 h 6858000"/>
              <a:gd name="connsiteX234" fmla="*/ 9014703 w 11064076"/>
              <a:gd name="connsiteY234" fmla="*/ 3610610 h 6858000"/>
              <a:gd name="connsiteX235" fmla="*/ 9020048 w 11064076"/>
              <a:gd name="connsiteY235" fmla="*/ 3606800 h 6858000"/>
              <a:gd name="connsiteX236" fmla="*/ 9024392 w 11064076"/>
              <a:gd name="connsiteY236" fmla="*/ 3602673 h 6858000"/>
              <a:gd name="connsiteX237" fmla="*/ 9029069 w 11064076"/>
              <a:gd name="connsiteY237" fmla="*/ 3598228 h 6858000"/>
              <a:gd name="connsiteX238" fmla="*/ 9033747 w 11064076"/>
              <a:gd name="connsiteY238" fmla="*/ 3593783 h 6858000"/>
              <a:gd name="connsiteX239" fmla="*/ 9037756 w 11064076"/>
              <a:gd name="connsiteY239" fmla="*/ 3589020 h 6858000"/>
              <a:gd name="connsiteX240" fmla="*/ 9041431 w 11064076"/>
              <a:gd name="connsiteY240" fmla="*/ 3583940 h 6858000"/>
              <a:gd name="connsiteX241" fmla="*/ 9044772 w 11064076"/>
              <a:gd name="connsiteY241" fmla="*/ 3578860 h 6858000"/>
              <a:gd name="connsiteX242" fmla="*/ 9048113 w 11064076"/>
              <a:gd name="connsiteY242" fmla="*/ 3573463 h 6858000"/>
              <a:gd name="connsiteX243" fmla="*/ 9051120 w 11064076"/>
              <a:gd name="connsiteY243" fmla="*/ 3568383 h 6858000"/>
              <a:gd name="connsiteX244" fmla="*/ 9053793 w 11064076"/>
              <a:gd name="connsiteY244" fmla="*/ 3562985 h 6858000"/>
              <a:gd name="connsiteX245" fmla="*/ 9056131 w 11064076"/>
              <a:gd name="connsiteY245" fmla="*/ 3557588 h 6858000"/>
              <a:gd name="connsiteX246" fmla="*/ 9058136 w 11064076"/>
              <a:gd name="connsiteY246" fmla="*/ 3551873 h 6858000"/>
              <a:gd name="connsiteX247" fmla="*/ 9060141 w 11064076"/>
              <a:gd name="connsiteY247" fmla="*/ 3546158 h 6858000"/>
              <a:gd name="connsiteX248" fmla="*/ 9061811 w 11064076"/>
              <a:gd name="connsiteY248" fmla="*/ 3540443 h 6858000"/>
              <a:gd name="connsiteX249" fmla="*/ 9063147 w 11064076"/>
              <a:gd name="connsiteY249" fmla="*/ 3534410 h 6858000"/>
              <a:gd name="connsiteX250" fmla="*/ 9064150 w 11064076"/>
              <a:gd name="connsiteY250" fmla="*/ 3528695 h 6858000"/>
              <a:gd name="connsiteX251" fmla="*/ 9064818 w 11064076"/>
              <a:gd name="connsiteY251" fmla="*/ 3522980 h 6858000"/>
              <a:gd name="connsiteX252" fmla="*/ 9065152 w 11064076"/>
              <a:gd name="connsiteY252" fmla="*/ 3516948 h 6858000"/>
              <a:gd name="connsiteX253" fmla="*/ 9065152 w 11064076"/>
              <a:gd name="connsiteY253" fmla="*/ 3511233 h 6858000"/>
              <a:gd name="connsiteX254" fmla="*/ 9065152 w 11064076"/>
              <a:gd name="connsiteY254" fmla="*/ 3505200 h 6858000"/>
              <a:gd name="connsiteX255" fmla="*/ 9064818 w 11064076"/>
              <a:gd name="connsiteY255" fmla="*/ 3499168 h 6858000"/>
              <a:gd name="connsiteX256" fmla="*/ 9064150 w 11064076"/>
              <a:gd name="connsiteY256" fmla="*/ 3493453 h 6858000"/>
              <a:gd name="connsiteX257" fmla="*/ 9063147 w 11064076"/>
              <a:gd name="connsiteY257" fmla="*/ 3487738 h 6858000"/>
              <a:gd name="connsiteX258" fmla="*/ 9061811 w 11064076"/>
              <a:gd name="connsiteY258" fmla="*/ 3481705 h 6858000"/>
              <a:gd name="connsiteX259" fmla="*/ 9060141 w 11064076"/>
              <a:gd name="connsiteY259" fmla="*/ 3475990 h 6858000"/>
              <a:gd name="connsiteX260" fmla="*/ 9058136 w 11064076"/>
              <a:gd name="connsiteY260" fmla="*/ 3470593 h 6858000"/>
              <a:gd name="connsiteX261" fmla="*/ 9056131 w 11064076"/>
              <a:gd name="connsiteY261" fmla="*/ 3464878 h 6858000"/>
              <a:gd name="connsiteX262" fmla="*/ 9053793 w 11064076"/>
              <a:gd name="connsiteY262" fmla="*/ 3459163 h 6858000"/>
              <a:gd name="connsiteX263" fmla="*/ 9051120 w 11064076"/>
              <a:gd name="connsiteY263" fmla="*/ 3453765 h 6858000"/>
              <a:gd name="connsiteX264" fmla="*/ 9048113 w 11064076"/>
              <a:gd name="connsiteY264" fmla="*/ 3448685 h 6858000"/>
              <a:gd name="connsiteX265" fmla="*/ 9044772 w 11064076"/>
              <a:gd name="connsiteY265" fmla="*/ 3443605 h 6858000"/>
              <a:gd name="connsiteX266" fmla="*/ 9041431 w 11064076"/>
              <a:gd name="connsiteY266" fmla="*/ 3438525 h 6858000"/>
              <a:gd name="connsiteX267" fmla="*/ 9037756 w 11064076"/>
              <a:gd name="connsiteY267" fmla="*/ 3433763 h 6858000"/>
              <a:gd name="connsiteX268" fmla="*/ 9033747 w 11064076"/>
              <a:gd name="connsiteY268" fmla="*/ 3428683 h 6858000"/>
              <a:gd name="connsiteX269" fmla="*/ 9029069 w 11064076"/>
              <a:gd name="connsiteY269" fmla="*/ 3423920 h 6858000"/>
              <a:gd name="connsiteX270" fmla="*/ 8360534 w 11064076"/>
              <a:gd name="connsiteY270" fmla="*/ 2756218 h 6858000"/>
              <a:gd name="connsiteX271" fmla="*/ 8357193 w 11064076"/>
              <a:gd name="connsiteY271" fmla="*/ 2753043 h 6858000"/>
              <a:gd name="connsiteX272" fmla="*/ 8353852 w 11064076"/>
              <a:gd name="connsiteY272" fmla="*/ 2749233 h 6858000"/>
              <a:gd name="connsiteX273" fmla="*/ 8347504 w 11064076"/>
              <a:gd name="connsiteY273" fmla="*/ 2741295 h 6858000"/>
              <a:gd name="connsiteX274" fmla="*/ 8342492 w 11064076"/>
              <a:gd name="connsiteY274" fmla="*/ 2733040 h 6858000"/>
              <a:gd name="connsiteX275" fmla="*/ 8337815 w 11064076"/>
              <a:gd name="connsiteY275" fmla="*/ 2724468 h 6858000"/>
              <a:gd name="connsiteX276" fmla="*/ 8333471 w 11064076"/>
              <a:gd name="connsiteY276" fmla="*/ 2715895 h 6858000"/>
              <a:gd name="connsiteX277" fmla="*/ 8330465 w 11064076"/>
              <a:gd name="connsiteY277" fmla="*/ 2707005 h 6858000"/>
              <a:gd name="connsiteX278" fmla="*/ 8328126 w 11064076"/>
              <a:gd name="connsiteY278" fmla="*/ 2697798 h 6858000"/>
              <a:gd name="connsiteX279" fmla="*/ 8326121 w 11064076"/>
              <a:gd name="connsiteY279" fmla="*/ 2688590 h 6858000"/>
              <a:gd name="connsiteX280" fmla="*/ 5629596 w 11064076"/>
              <a:gd name="connsiteY280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</a:cxnLst>
            <a:rect l="l" t="t" r="r" b="b"/>
            <a:pathLst>
              <a:path w="11064076" h="6858000">
                <a:moveTo>
                  <a:pt x="5629596" y="0"/>
                </a:moveTo>
                <a:lnTo>
                  <a:pt x="0" y="0"/>
                </a:lnTo>
                <a:lnTo>
                  <a:pt x="0" y="6858000"/>
                </a:lnTo>
                <a:lnTo>
                  <a:pt x="11064076" y="6858000"/>
                </a:lnTo>
                <a:lnTo>
                  <a:pt x="9033747" y="4816793"/>
                </a:lnTo>
                <a:lnTo>
                  <a:pt x="9018378" y="4803458"/>
                </a:lnTo>
                <a:lnTo>
                  <a:pt x="9003009" y="4789488"/>
                </a:lnTo>
                <a:lnTo>
                  <a:pt x="8987975" y="4775518"/>
                </a:lnTo>
                <a:lnTo>
                  <a:pt x="8973274" y="4760913"/>
                </a:lnTo>
                <a:lnTo>
                  <a:pt x="8039129" y="3828098"/>
                </a:lnTo>
                <a:lnTo>
                  <a:pt x="8034451" y="3823335"/>
                </a:lnTo>
                <a:lnTo>
                  <a:pt x="8030443" y="3818573"/>
                </a:lnTo>
                <a:lnTo>
                  <a:pt x="8026767" y="3813493"/>
                </a:lnTo>
                <a:lnTo>
                  <a:pt x="8023426" y="3808413"/>
                </a:lnTo>
                <a:lnTo>
                  <a:pt x="8020086" y="3803333"/>
                </a:lnTo>
                <a:lnTo>
                  <a:pt x="8017079" y="3798253"/>
                </a:lnTo>
                <a:lnTo>
                  <a:pt x="8014406" y="3792855"/>
                </a:lnTo>
                <a:lnTo>
                  <a:pt x="8012067" y="3787458"/>
                </a:lnTo>
                <a:lnTo>
                  <a:pt x="8010062" y="3781425"/>
                </a:lnTo>
                <a:lnTo>
                  <a:pt x="8008392" y="3776028"/>
                </a:lnTo>
                <a:lnTo>
                  <a:pt x="8006387" y="3770313"/>
                </a:lnTo>
                <a:lnTo>
                  <a:pt x="8005051" y="3764280"/>
                </a:lnTo>
                <a:lnTo>
                  <a:pt x="8004049" y="3758565"/>
                </a:lnTo>
                <a:lnTo>
                  <a:pt x="8003380" y="3752850"/>
                </a:lnTo>
                <a:cubicBezTo>
                  <a:pt x="8003269" y="3750839"/>
                  <a:pt x="8003157" y="3748829"/>
                  <a:pt x="8003046" y="3746818"/>
                </a:cubicBezTo>
                <a:lnTo>
                  <a:pt x="8003046" y="3740785"/>
                </a:lnTo>
                <a:lnTo>
                  <a:pt x="8003046" y="3735070"/>
                </a:lnTo>
                <a:cubicBezTo>
                  <a:pt x="8003157" y="3733059"/>
                  <a:pt x="8003269" y="3731049"/>
                  <a:pt x="8003380" y="3729038"/>
                </a:cubicBezTo>
                <a:lnTo>
                  <a:pt x="8004049" y="3723323"/>
                </a:lnTo>
                <a:lnTo>
                  <a:pt x="8005051" y="3717608"/>
                </a:lnTo>
                <a:lnTo>
                  <a:pt x="8006387" y="3711575"/>
                </a:lnTo>
                <a:lnTo>
                  <a:pt x="8008392" y="3705860"/>
                </a:lnTo>
                <a:lnTo>
                  <a:pt x="8010062" y="3700145"/>
                </a:lnTo>
                <a:lnTo>
                  <a:pt x="8012067" y="3694748"/>
                </a:lnTo>
                <a:lnTo>
                  <a:pt x="8014406" y="3689033"/>
                </a:lnTo>
                <a:lnTo>
                  <a:pt x="8017079" y="3683635"/>
                </a:lnTo>
                <a:lnTo>
                  <a:pt x="8020086" y="3678238"/>
                </a:lnTo>
                <a:lnTo>
                  <a:pt x="8023426" y="3673158"/>
                </a:lnTo>
                <a:lnTo>
                  <a:pt x="8026767" y="3668078"/>
                </a:lnTo>
                <a:lnTo>
                  <a:pt x="8030443" y="3662998"/>
                </a:lnTo>
                <a:lnTo>
                  <a:pt x="8034451" y="3658235"/>
                </a:lnTo>
                <a:lnTo>
                  <a:pt x="8039129" y="3653790"/>
                </a:lnTo>
                <a:lnTo>
                  <a:pt x="8043807" y="3649345"/>
                </a:lnTo>
                <a:lnTo>
                  <a:pt x="8048149" y="3645218"/>
                </a:lnTo>
                <a:lnTo>
                  <a:pt x="8053495" y="3641725"/>
                </a:lnTo>
                <a:lnTo>
                  <a:pt x="8058507" y="3638233"/>
                </a:lnTo>
                <a:lnTo>
                  <a:pt x="8063852" y="3634740"/>
                </a:lnTo>
                <a:lnTo>
                  <a:pt x="8068864" y="3631883"/>
                </a:lnTo>
                <a:lnTo>
                  <a:pt x="8074209" y="3629343"/>
                </a:lnTo>
                <a:lnTo>
                  <a:pt x="8079889" y="3626803"/>
                </a:lnTo>
                <a:lnTo>
                  <a:pt x="8085569" y="3624898"/>
                </a:lnTo>
                <a:lnTo>
                  <a:pt x="8091248" y="3622675"/>
                </a:lnTo>
                <a:lnTo>
                  <a:pt x="8096928" y="3621405"/>
                </a:lnTo>
                <a:lnTo>
                  <a:pt x="8102608" y="3620135"/>
                </a:lnTo>
                <a:lnTo>
                  <a:pt x="8108622" y="3618865"/>
                </a:lnTo>
                <a:lnTo>
                  <a:pt x="8114301" y="3618230"/>
                </a:lnTo>
                <a:lnTo>
                  <a:pt x="8120315" y="3617913"/>
                </a:lnTo>
                <a:lnTo>
                  <a:pt x="8126329" y="3617595"/>
                </a:lnTo>
                <a:lnTo>
                  <a:pt x="8132343" y="3617913"/>
                </a:lnTo>
                <a:lnTo>
                  <a:pt x="8138023" y="3618230"/>
                </a:lnTo>
                <a:lnTo>
                  <a:pt x="8143702" y="3618865"/>
                </a:lnTo>
                <a:lnTo>
                  <a:pt x="8149716" y="3620135"/>
                </a:lnTo>
                <a:lnTo>
                  <a:pt x="8155396" y="3621405"/>
                </a:lnTo>
                <a:lnTo>
                  <a:pt x="8161410" y="3622675"/>
                </a:lnTo>
                <a:lnTo>
                  <a:pt x="8167089" y="3624898"/>
                </a:lnTo>
                <a:lnTo>
                  <a:pt x="8172769" y="3626803"/>
                </a:lnTo>
                <a:lnTo>
                  <a:pt x="8178115" y="3629343"/>
                </a:lnTo>
                <a:lnTo>
                  <a:pt x="8183460" y="3631883"/>
                </a:lnTo>
                <a:lnTo>
                  <a:pt x="8188806" y="3634740"/>
                </a:lnTo>
                <a:lnTo>
                  <a:pt x="8194151" y="3638233"/>
                </a:lnTo>
                <a:lnTo>
                  <a:pt x="8199163" y="3641725"/>
                </a:lnTo>
                <a:lnTo>
                  <a:pt x="8204175" y="3645218"/>
                </a:lnTo>
                <a:lnTo>
                  <a:pt x="8208852" y="3649345"/>
                </a:lnTo>
                <a:lnTo>
                  <a:pt x="8213529" y="3653790"/>
                </a:lnTo>
                <a:lnTo>
                  <a:pt x="8882399" y="4321810"/>
                </a:lnTo>
                <a:lnTo>
                  <a:pt x="8886742" y="4325938"/>
                </a:lnTo>
                <a:lnTo>
                  <a:pt x="8891420" y="4330065"/>
                </a:lnTo>
                <a:lnTo>
                  <a:pt x="8896765" y="4334193"/>
                </a:lnTo>
                <a:lnTo>
                  <a:pt x="8901443" y="4337685"/>
                </a:lnTo>
                <a:lnTo>
                  <a:pt x="8906788" y="4340860"/>
                </a:lnTo>
                <a:lnTo>
                  <a:pt x="8912134" y="4343718"/>
                </a:lnTo>
                <a:lnTo>
                  <a:pt x="8917480" y="4346575"/>
                </a:lnTo>
                <a:lnTo>
                  <a:pt x="8923159" y="4349115"/>
                </a:lnTo>
                <a:lnTo>
                  <a:pt x="8928505" y="4351020"/>
                </a:lnTo>
                <a:lnTo>
                  <a:pt x="8934185" y="4352608"/>
                </a:lnTo>
                <a:lnTo>
                  <a:pt x="8940198" y="4354513"/>
                </a:lnTo>
                <a:lnTo>
                  <a:pt x="8945878" y="4355465"/>
                </a:lnTo>
                <a:lnTo>
                  <a:pt x="8951892" y="4356418"/>
                </a:lnTo>
                <a:lnTo>
                  <a:pt x="8957572" y="4357053"/>
                </a:lnTo>
                <a:lnTo>
                  <a:pt x="8963585" y="4358005"/>
                </a:lnTo>
                <a:lnTo>
                  <a:pt x="8969265" y="4358005"/>
                </a:lnTo>
                <a:lnTo>
                  <a:pt x="8975279" y="4358005"/>
                </a:lnTo>
                <a:lnTo>
                  <a:pt x="8981293" y="4357053"/>
                </a:lnTo>
                <a:lnTo>
                  <a:pt x="8986972" y="4356418"/>
                </a:lnTo>
                <a:lnTo>
                  <a:pt x="8992986" y="4355465"/>
                </a:lnTo>
                <a:lnTo>
                  <a:pt x="8998666" y="4354513"/>
                </a:lnTo>
                <a:lnTo>
                  <a:pt x="9004680" y="4352608"/>
                </a:lnTo>
                <a:lnTo>
                  <a:pt x="9010025" y="4351020"/>
                </a:lnTo>
                <a:lnTo>
                  <a:pt x="9015705" y="4349115"/>
                </a:lnTo>
                <a:lnTo>
                  <a:pt x="9021385" y="4346575"/>
                </a:lnTo>
                <a:lnTo>
                  <a:pt x="9026730" y="4343718"/>
                </a:lnTo>
                <a:lnTo>
                  <a:pt x="9032076" y="4340860"/>
                </a:lnTo>
                <a:lnTo>
                  <a:pt x="9037088" y="4337685"/>
                </a:lnTo>
                <a:lnTo>
                  <a:pt x="9042099" y="4334193"/>
                </a:lnTo>
                <a:lnTo>
                  <a:pt x="9047445" y="4330065"/>
                </a:lnTo>
                <a:lnTo>
                  <a:pt x="9051788" y="4325938"/>
                </a:lnTo>
                <a:lnTo>
                  <a:pt x="9056465" y="4321810"/>
                </a:lnTo>
                <a:lnTo>
                  <a:pt x="9061143" y="4317048"/>
                </a:lnTo>
                <a:lnTo>
                  <a:pt x="9065152" y="4312285"/>
                </a:lnTo>
                <a:lnTo>
                  <a:pt x="9068827" y="4307523"/>
                </a:lnTo>
                <a:lnTo>
                  <a:pt x="9072168" y="4302443"/>
                </a:lnTo>
                <a:lnTo>
                  <a:pt x="9075509" y="4297363"/>
                </a:lnTo>
                <a:lnTo>
                  <a:pt x="9078516" y="4292283"/>
                </a:lnTo>
                <a:lnTo>
                  <a:pt x="9081189" y="4286568"/>
                </a:lnTo>
                <a:lnTo>
                  <a:pt x="9083528" y="4281170"/>
                </a:lnTo>
                <a:lnTo>
                  <a:pt x="9085532" y="4275455"/>
                </a:lnTo>
                <a:lnTo>
                  <a:pt x="9087537" y="4270058"/>
                </a:lnTo>
                <a:lnTo>
                  <a:pt x="9089207" y="4264025"/>
                </a:lnTo>
                <a:lnTo>
                  <a:pt x="9090544" y="4258310"/>
                </a:lnTo>
                <a:lnTo>
                  <a:pt x="9091546" y="4252595"/>
                </a:lnTo>
                <a:cubicBezTo>
                  <a:pt x="9091769" y="4250584"/>
                  <a:pt x="9091991" y="4248574"/>
                  <a:pt x="9092214" y="4246563"/>
                </a:cubicBezTo>
                <a:cubicBezTo>
                  <a:pt x="9092325" y="4244658"/>
                  <a:pt x="9092437" y="4242753"/>
                  <a:pt x="9092548" y="4240848"/>
                </a:cubicBezTo>
                <a:lnTo>
                  <a:pt x="9092548" y="4234815"/>
                </a:lnTo>
                <a:lnTo>
                  <a:pt x="9092548" y="4228783"/>
                </a:lnTo>
                <a:cubicBezTo>
                  <a:pt x="9092437" y="4226878"/>
                  <a:pt x="9092325" y="4224973"/>
                  <a:pt x="9092214" y="4223068"/>
                </a:cubicBezTo>
                <a:cubicBezTo>
                  <a:pt x="9091991" y="4221163"/>
                  <a:pt x="9091769" y="4219258"/>
                  <a:pt x="9091546" y="4217353"/>
                </a:cubicBezTo>
                <a:lnTo>
                  <a:pt x="9090544" y="4211320"/>
                </a:lnTo>
                <a:lnTo>
                  <a:pt x="9089207" y="4205605"/>
                </a:lnTo>
                <a:lnTo>
                  <a:pt x="9087537" y="4199890"/>
                </a:lnTo>
                <a:lnTo>
                  <a:pt x="9085532" y="4194175"/>
                </a:lnTo>
                <a:lnTo>
                  <a:pt x="9083528" y="4188460"/>
                </a:lnTo>
                <a:lnTo>
                  <a:pt x="9081189" y="4183063"/>
                </a:lnTo>
                <a:lnTo>
                  <a:pt x="9078516" y="4177665"/>
                </a:lnTo>
                <a:lnTo>
                  <a:pt x="9075509" y="4172268"/>
                </a:lnTo>
                <a:lnTo>
                  <a:pt x="9072168" y="4166870"/>
                </a:lnTo>
                <a:lnTo>
                  <a:pt x="9068827" y="4161790"/>
                </a:lnTo>
                <a:lnTo>
                  <a:pt x="9065152" y="4157028"/>
                </a:lnTo>
                <a:lnTo>
                  <a:pt x="9061143" y="4152265"/>
                </a:lnTo>
                <a:lnTo>
                  <a:pt x="9056465" y="4147820"/>
                </a:lnTo>
                <a:lnTo>
                  <a:pt x="8669577" y="3761423"/>
                </a:lnTo>
                <a:lnTo>
                  <a:pt x="8473460" y="3565208"/>
                </a:lnTo>
                <a:lnTo>
                  <a:pt x="8468782" y="3560445"/>
                </a:lnTo>
                <a:lnTo>
                  <a:pt x="8464773" y="3555683"/>
                </a:lnTo>
                <a:lnTo>
                  <a:pt x="8461098" y="3550920"/>
                </a:lnTo>
                <a:lnTo>
                  <a:pt x="8457423" y="3545840"/>
                </a:lnTo>
                <a:lnTo>
                  <a:pt x="8454082" y="3540760"/>
                </a:lnTo>
                <a:lnTo>
                  <a:pt x="8451409" y="3535680"/>
                </a:lnTo>
                <a:lnTo>
                  <a:pt x="8448736" y="3529965"/>
                </a:lnTo>
                <a:lnTo>
                  <a:pt x="8446398" y="3524568"/>
                </a:lnTo>
                <a:lnTo>
                  <a:pt x="8444059" y="3518853"/>
                </a:lnTo>
                <a:lnTo>
                  <a:pt x="8442054" y="3513455"/>
                </a:lnTo>
                <a:lnTo>
                  <a:pt x="8440718" y="3507423"/>
                </a:lnTo>
                <a:lnTo>
                  <a:pt x="8439382" y="3501708"/>
                </a:lnTo>
                <a:lnTo>
                  <a:pt x="8438379" y="3495993"/>
                </a:lnTo>
                <a:cubicBezTo>
                  <a:pt x="8438156" y="3493982"/>
                  <a:pt x="8437934" y="3491971"/>
                  <a:pt x="8437711" y="3489960"/>
                </a:cubicBezTo>
                <a:cubicBezTo>
                  <a:pt x="8437600" y="3488055"/>
                  <a:pt x="8437488" y="3486150"/>
                  <a:pt x="8437377" y="3484245"/>
                </a:cubicBezTo>
                <a:cubicBezTo>
                  <a:pt x="8437266" y="3482234"/>
                  <a:pt x="8437154" y="3480224"/>
                  <a:pt x="8437043" y="3478213"/>
                </a:cubicBezTo>
                <a:cubicBezTo>
                  <a:pt x="8437154" y="3476202"/>
                  <a:pt x="8437266" y="3474191"/>
                  <a:pt x="8437377" y="3472180"/>
                </a:cubicBezTo>
                <a:cubicBezTo>
                  <a:pt x="8437488" y="3470275"/>
                  <a:pt x="8437600" y="3468370"/>
                  <a:pt x="8437711" y="3466465"/>
                </a:cubicBezTo>
                <a:cubicBezTo>
                  <a:pt x="8437934" y="3464560"/>
                  <a:pt x="8438156" y="3462655"/>
                  <a:pt x="8438379" y="3460750"/>
                </a:cubicBezTo>
                <a:lnTo>
                  <a:pt x="8439382" y="3454718"/>
                </a:lnTo>
                <a:lnTo>
                  <a:pt x="8440718" y="3449003"/>
                </a:lnTo>
                <a:lnTo>
                  <a:pt x="8442054" y="3443288"/>
                </a:lnTo>
                <a:lnTo>
                  <a:pt x="8444059" y="3437255"/>
                </a:lnTo>
                <a:lnTo>
                  <a:pt x="8446398" y="3431858"/>
                </a:lnTo>
                <a:lnTo>
                  <a:pt x="8448736" y="3426460"/>
                </a:lnTo>
                <a:lnTo>
                  <a:pt x="8451409" y="3421063"/>
                </a:lnTo>
                <a:lnTo>
                  <a:pt x="8454082" y="3415348"/>
                </a:lnTo>
                <a:lnTo>
                  <a:pt x="8457423" y="3410268"/>
                </a:lnTo>
                <a:lnTo>
                  <a:pt x="8461098" y="3405505"/>
                </a:lnTo>
                <a:lnTo>
                  <a:pt x="8464773" y="3400425"/>
                </a:lnTo>
                <a:lnTo>
                  <a:pt x="8468782" y="3395663"/>
                </a:lnTo>
                <a:lnTo>
                  <a:pt x="8473460" y="3391218"/>
                </a:lnTo>
                <a:lnTo>
                  <a:pt x="8477803" y="3386773"/>
                </a:lnTo>
                <a:lnTo>
                  <a:pt x="8482481" y="3382645"/>
                </a:lnTo>
                <a:lnTo>
                  <a:pt x="8487826" y="3378835"/>
                </a:lnTo>
                <a:lnTo>
                  <a:pt x="8492504" y="3375343"/>
                </a:lnTo>
                <a:lnTo>
                  <a:pt x="8497515" y="3372168"/>
                </a:lnTo>
                <a:lnTo>
                  <a:pt x="8503195" y="3369310"/>
                </a:lnTo>
                <a:lnTo>
                  <a:pt x="8508540" y="3366453"/>
                </a:lnTo>
                <a:lnTo>
                  <a:pt x="8514220" y="3364230"/>
                </a:lnTo>
                <a:lnTo>
                  <a:pt x="8519566" y="3362008"/>
                </a:lnTo>
                <a:lnTo>
                  <a:pt x="8525245" y="3360103"/>
                </a:lnTo>
                <a:lnTo>
                  <a:pt x="8531259" y="3358833"/>
                </a:lnTo>
                <a:lnTo>
                  <a:pt x="8536939" y="3357245"/>
                </a:lnTo>
                <a:lnTo>
                  <a:pt x="8542953" y="3356293"/>
                </a:lnTo>
                <a:lnTo>
                  <a:pt x="8548632" y="3355658"/>
                </a:lnTo>
                <a:lnTo>
                  <a:pt x="8554646" y="3355340"/>
                </a:lnTo>
                <a:lnTo>
                  <a:pt x="8560326" y="3355023"/>
                </a:lnTo>
                <a:lnTo>
                  <a:pt x="8566340" y="3355340"/>
                </a:lnTo>
                <a:lnTo>
                  <a:pt x="8572354" y="3355658"/>
                </a:lnTo>
                <a:lnTo>
                  <a:pt x="8578033" y="3356293"/>
                </a:lnTo>
                <a:lnTo>
                  <a:pt x="8584047" y="3357245"/>
                </a:lnTo>
                <a:lnTo>
                  <a:pt x="8589727" y="3358833"/>
                </a:lnTo>
                <a:lnTo>
                  <a:pt x="8595741" y="3360103"/>
                </a:lnTo>
                <a:lnTo>
                  <a:pt x="8601086" y="3362008"/>
                </a:lnTo>
                <a:lnTo>
                  <a:pt x="8606766" y="3364230"/>
                </a:lnTo>
                <a:lnTo>
                  <a:pt x="8612446" y="3366453"/>
                </a:lnTo>
                <a:lnTo>
                  <a:pt x="8617791" y="3369310"/>
                </a:lnTo>
                <a:lnTo>
                  <a:pt x="8623137" y="3372168"/>
                </a:lnTo>
                <a:lnTo>
                  <a:pt x="8628148" y="3375343"/>
                </a:lnTo>
                <a:lnTo>
                  <a:pt x="8633160" y="3378835"/>
                </a:lnTo>
                <a:lnTo>
                  <a:pt x="8638171" y="3382645"/>
                </a:lnTo>
                <a:lnTo>
                  <a:pt x="8642849" y="3386773"/>
                </a:lnTo>
                <a:lnTo>
                  <a:pt x="8647526" y="3391218"/>
                </a:lnTo>
                <a:lnTo>
                  <a:pt x="8855003" y="3598228"/>
                </a:lnTo>
                <a:lnTo>
                  <a:pt x="8859346" y="3602673"/>
                </a:lnTo>
                <a:lnTo>
                  <a:pt x="8864023" y="3606800"/>
                </a:lnTo>
                <a:lnTo>
                  <a:pt x="8869369" y="3610610"/>
                </a:lnTo>
                <a:lnTo>
                  <a:pt x="8874046" y="3613785"/>
                </a:lnTo>
                <a:lnTo>
                  <a:pt x="8879392" y="3617278"/>
                </a:lnTo>
                <a:lnTo>
                  <a:pt x="8884738" y="3620135"/>
                </a:lnTo>
                <a:lnTo>
                  <a:pt x="8890083" y="3622675"/>
                </a:lnTo>
                <a:lnTo>
                  <a:pt x="8895763" y="3625215"/>
                </a:lnTo>
                <a:lnTo>
                  <a:pt x="8901109" y="3627120"/>
                </a:lnTo>
                <a:lnTo>
                  <a:pt x="8906788" y="3629343"/>
                </a:lnTo>
                <a:lnTo>
                  <a:pt x="8912802" y="3630613"/>
                </a:lnTo>
                <a:lnTo>
                  <a:pt x="8918482" y="3631883"/>
                </a:lnTo>
                <a:lnTo>
                  <a:pt x="8924496" y="3633153"/>
                </a:lnTo>
                <a:lnTo>
                  <a:pt x="8930175" y="3633788"/>
                </a:lnTo>
                <a:lnTo>
                  <a:pt x="8936189" y="3634105"/>
                </a:lnTo>
                <a:lnTo>
                  <a:pt x="8941869" y="3634105"/>
                </a:lnTo>
                <a:lnTo>
                  <a:pt x="8947883" y="3634105"/>
                </a:lnTo>
                <a:lnTo>
                  <a:pt x="8953897" y="3633788"/>
                </a:lnTo>
                <a:lnTo>
                  <a:pt x="8959576" y="3633153"/>
                </a:lnTo>
                <a:lnTo>
                  <a:pt x="8965590" y="3631883"/>
                </a:lnTo>
                <a:lnTo>
                  <a:pt x="8971270" y="3630613"/>
                </a:lnTo>
                <a:lnTo>
                  <a:pt x="8977284" y="3629343"/>
                </a:lnTo>
                <a:lnTo>
                  <a:pt x="8982629" y="3627120"/>
                </a:lnTo>
                <a:lnTo>
                  <a:pt x="8988309" y="3625215"/>
                </a:lnTo>
                <a:lnTo>
                  <a:pt x="8993989" y="3622675"/>
                </a:lnTo>
                <a:lnTo>
                  <a:pt x="8999334" y="3620135"/>
                </a:lnTo>
                <a:lnTo>
                  <a:pt x="9004680" y="3617278"/>
                </a:lnTo>
                <a:lnTo>
                  <a:pt x="9009691" y="3613785"/>
                </a:lnTo>
                <a:lnTo>
                  <a:pt x="9014703" y="3610610"/>
                </a:lnTo>
                <a:lnTo>
                  <a:pt x="9020048" y="3606800"/>
                </a:lnTo>
                <a:lnTo>
                  <a:pt x="9024392" y="3602673"/>
                </a:lnTo>
                <a:lnTo>
                  <a:pt x="9029069" y="3598228"/>
                </a:lnTo>
                <a:lnTo>
                  <a:pt x="9033747" y="3593783"/>
                </a:lnTo>
                <a:lnTo>
                  <a:pt x="9037756" y="3589020"/>
                </a:lnTo>
                <a:lnTo>
                  <a:pt x="9041431" y="3583940"/>
                </a:lnTo>
                <a:lnTo>
                  <a:pt x="9044772" y="3578860"/>
                </a:lnTo>
                <a:lnTo>
                  <a:pt x="9048113" y="3573463"/>
                </a:lnTo>
                <a:lnTo>
                  <a:pt x="9051120" y="3568383"/>
                </a:lnTo>
                <a:lnTo>
                  <a:pt x="9053793" y="3562985"/>
                </a:lnTo>
                <a:lnTo>
                  <a:pt x="9056131" y="3557588"/>
                </a:lnTo>
                <a:lnTo>
                  <a:pt x="9058136" y="3551873"/>
                </a:lnTo>
                <a:lnTo>
                  <a:pt x="9060141" y="3546158"/>
                </a:lnTo>
                <a:lnTo>
                  <a:pt x="9061811" y="3540443"/>
                </a:lnTo>
                <a:lnTo>
                  <a:pt x="9063147" y="3534410"/>
                </a:lnTo>
                <a:lnTo>
                  <a:pt x="9064150" y="3528695"/>
                </a:lnTo>
                <a:cubicBezTo>
                  <a:pt x="9064373" y="3526790"/>
                  <a:pt x="9064595" y="3524885"/>
                  <a:pt x="9064818" y="3522980"/>
                </a:cubicBezTo>
                <a:cubicBezTo>
                  <a:pt x="9064929" y="3520969"/>
                  <a:pt x="9065041" y="3518959"/>
                  <a:pt x="9065152" y="3516948"/>
                </a:cubicBezTo>
                <a:lnTo>
                  <a:pt x="9065152" y="3511233"/>
                </a:lnTo>
                <a:lnTo>
                  <a:pt x="9065152" y="3505200"/>
                </a:lnTo>
                <a:cubicBezTo>
                  <a:pt x="9065041" y="3503189"/>
                  <a:pt x="9064929" y="3501179"/>
                  <a:pt x="9064818" y="3499168"/>
                </a:cubicBezTo>
                <a:cubicBezTo>
                  <a:pt x="9064595" y="3497263"/>
                  <a:pt x="9064373" y="3495358"/>
                  <a:pt x="9064150" y="3493453"/>
                </a:cubicBezTo>
                <a:lnTo>
                  <a:pt x="9063147" y="3487738"/>
                </a:lnTo>
                <a:lnTo>
                  <a:pt x="9061811" y="3481705"/>
                </a:lnTo>
                <a:lnTo>
                  <a:pt x="9060141" y="3475990"/>
                </a:lnTo>
                <a:lnTo>
                  <a:pt x="9058136" y="3470593"/>
                </a:lnTo>
                <a:lnTo>
                  <a:pt x="9056131" y="3464878"/>
                </a:lnTo>
                <a:lnTo>
                  <a:pt x="9053793" y="3459163"/>
                </a:lnTo>
                <a:lnTo>
                  <a:pt x="9051120" y="3453765"/>
                </a:lnTo>
                <a:lnTo>
                  <a:pt x="9048113" y="3448685"/>
                </a:lnTo>
                <a:lnTo>
                  <a:pt x="9044772" y="3443605"/>
                </a:lnTo>
                <a:lnTo>
                  <a:pt x="9041431" y="3438525"/>
                </a:lnTo>
                <a:lnTo>
                  <a:pt x="9037756" y="3433763"/>
                </a:lnTo>
                <a:lnTo>
                  <a:pt x="9033747" y="3428683"/>
                </a:lnTo>
                <a:lnTo>
                  <a:pt x="9029069" y="3423920"/>
                </a:lnTo>
                <a:lnTo>
                  <a:pt x="8360534" y="2756218"/>
                </a:lnTo>
                <a:lnTo>
                  <a:pt x="8357193" y="2753043"/>
                </a:lnTo>
                <a:lnTo>
                  <a:pt x="8353852" y="2749233"/>
                </a:lnTo>
                <a:lnTo>
                  <a:pt x="8347504" y="2741295"/>
                </a:lnTo>
                <a:lnTo>
                  <a:pt x="8342492" y="2733040"/>
                </a:lnTo>
                <a:lnTo>
                  <a:pt x="8337815" y="2724468"/>
                </a:lnTo>
                <a:lnTo>
                  <a:pt x="8333471" y="2715895"/>
                </a:lnTo>
                <a:lnTo>
                  <a:pt x="8330465" y="2707005"/>
                </a:lnTo>
                <a:lnTo>
                  <a:pt x="8328126" y="2697798"/>
                </a:lnTo>
                <a:lnTo>
                  <a:pt x="8326121" y="2688590"/>
                </a:lnTo>
                <a:lnTo>
                  <a:pt x="5629596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1E5ED99-8DAF-4368-BC68-3A94DF88148E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1"/>
            <a:ext cx="9186430" cy="6778625"/>
          </a:xfrm>
          <a:custGeom>
            <a:avLst/>
            <a:gdLst>
              <a:gd name="connsiteX0" fmla="*/ 6561736 w 6561737"/>
              <a:gd name="connsiteY0" fmla="*/ 0 h 4841875"/>
              <a:gd name="connsiteX1" fmla="*/ 0 w 6561737"/>
              <a:gd name="connsiteY1" fmla="*/ 0 h 4841875"/>
              <a:gd name="connsiteX2" fmla="*/ 2696252 w 6561737"/>
              <a:gd name="connsiteY2" fmla="*/ 2688414 h 4841875"/>
              <a:gd name="connsiteX3" fmla="*/ 2695583 w 6561737"/>
              <a:gd name="connsiteY3" fmla="*/ 2681112 h 4841875"/>
              <a:gd name="connsiteX4" fmla="*/ 2694915 w 6561737"/>
              <a:gd name="connsiteY4" fmla="*/ 2674127 h 4841875"/>
              <a:gd name="connsiteX5" fmla="*/ 2694915 w 6561737"/>
              <a:gd name="connsiteY5" fmla="*/ 2667143 h 4841875"/>
              <a:gd name="connsiteX6" fmla="*/ 2695249 w 6561737"/>
              <a:gd name="connsiteY6" fmla="*/ 2660158 h 4841875"/>
              <a:gd name="connsiteX7" fmla="*/ 2695918 w 6561737"/>
              <a:gd name="connsiteY7" fmla="*/ 2652856 h 4841875"/>
              <a:gd name="connsiteX8" fmla="*/ 2696920 w 6561737"/>
              <a:gd name="connsiteY8" fmla="*/ 2645872 h 4841875"/>
              <a:gd name="connsiteX9" fmla="*/ 2698590 w 6561737"/>
              <a:gd name="connsiteY9" fmla="*/ 2638887 h 4841875"/>
              <a:gd name="connsiteX10" fmla="*/ 2700260 w 6561737"/>
              <a:gd name="connsiteY10" fmla="*/ 2631903 h 4841875"/>
              <a:gd name="connsiteX11" fmla="*/ 2702599 w 6561737"/>
              <a:gd name="connsiteY11" fmla="*/ 2625235 h 4841875"/>
              <a:gd name="connsiteX12" fmla="*/ 2705605 w 6561737"/>
              <a:gd name="connsiteY12" fmla="*/ 2618568 h 4841875"/>
              <a:gd name="connsiteX13" fmla="*/ 2708946 w 6561737"/>
              <a:gd name="connsiteY13" fmla="*/ 2612219 h 4841875"/>
              <a:gd name="connsiteX14" fmla="*/ 2712287 w 6561737"/>
              <a:gd name="connsiteY14" fmla="*/ 2605552 h 4841875"/>
              <a:gd name="connsiteX15" fmla="*/ 2716296 w 6561737"/>
              <a:gd name="connsiteY15" fmla="*/ 2599520 h 4841875"/>
              <a:gd name="connsiteX16" fmla="*/ 2720973 w 6561737"/>
              <a:gd name="connsiteY16" fmla="*/ 2593488 h 4841875"/>
              <a:gd name="connsiteX17" fmla="*/ 2725649 w 6561737"/>
              <a:gd name="connsiteY17" fmla="*/ 2587773 h 4841875"/>
              <a:gd name="connsiteX18" fmla="*/ 2730660 w 6561737"/>
              <a:gd name="connsiteY18" fmla="*/ 2582058 h 4841875"/>
              <a:gd name="connsiteX19" fmla="*/ 2735337 w 6561737"/>
              <a:gd name="connsiteY19" fmla="*/ 2577931 h 4841875"/>
              <a:gd name="connsiteX20" fmla="*/ 2740014 w 6561737"/>
              <a:gd name="connsiteY20" fmla="*/ 2573804 h 4841875"/>
              <a:gd name="connsiteX21" fmla="*/ 2745025 w 6561737"/>
              <a:gd name="connsiteY21" fmla="*/ 2569994 h 4841875"/>
              <a:gd name="connsiteX22" fmla="*/ 2750036 w 6561737"/>
              <a:gd name="connsiteY22" fmla="*/ 2566184 h 4841875"/>
              <a:gd name="connsiteX23" fmla="*/ 2755381 w 6561737"/>
              <a:gd name="connsiteY23" fmla="*/ 2563327 h 4841875"/>
              <a:gd name="connsiteX24" fmla="*/ 2760726 w 6561737"/>
              <a:gd name="connsiteY24" fmla="*/ 2560152 h 4841875"/>
              <a:gd name="connsiteX25" fmla="*/ 2766072 w 6561737"/>
              <a:gd name="connsiteY25" fmla="*/ 2557295 h 4841875"/>
              <a:gd name="connsiteX26" fmla="*/ 2771417 w 6561737"/>
              <a:gd name="connsiteY26" fmla="*/ 2555073 h 4841875"/>
              <a:gd name="connsiteX27" fmla="*/ 2777096 w 6561737"/>
              <a:gd name="connsiteY27" fmla="*/ 2552850 h 4841875"/>
              <a:gd name="connsiteX28" fmla="*/ 2782775 w 6561737"/>
              <a:gd name="connsiteY28" fmla="*/ 2551263 h 4841875"/>
              <a:gd name="connsiteX29" fmla="*/ 2788788 w 6561737"/>
              <a:gd name="connsiteY29" fmla="*/ 2549675 h 4841875"/>
              <a:gd name="connsiteX30" fmla="*/ 2794467 w 6561737"/>
              <a:gd name="connsiteY30" fmla="*/ 2548406 h 4841875"/>
              <a:gd name="connsiteX31" fmla="*/ 2800146 w 6561737"/>
              <a:gd name="connsiteY31" fmla="*/ 2547453 h 4841875"/>
              <a:gd name="connsiteX32" fmla="*/ 2806159 w 6561737"/>
              <a:gd name="connsiteY32" fmla="*/ 2546818 h 4841875"/>
              <a:gd name="connsiteX33" fmla="*/ 2811839 w 6561737"/>
              <a:gd name="connsiteY33" fmla="*/ 2546183 h 4841875"/>
              <a:gd name="connsiteX34" fmla="*/ 2817852 w 6561737"/>
              <a:gd name="connsiteY34" fmla="*/ 2546183 h 4841875"/>
              <a:gd name="connsiteX35" fmla="*/ 2823865 w 6561737"/>
              <a:gd name="connsiteY35" fmla="*/ 2546183 h 4841875"/>
              <a:gd name="connsiteX36" fmla="*/ 2829878 w 6561737"/>
              <a:gd name="connsiteY36" fmla="*/ 2546818 h 4841875"/>
              <a:gd name="connsiteX37" fmla="*/ 2835557 w 6561737"/>
              <a:gd name="connsiteY37" fmla="*/ 2547453 h 4841875"/>
              <a:gd name="connsiteX38" fmla="*/ 2841236 w 6561737"/>
              <a:gd name="connsiteY38" fmla="*/ 2548406 h 4841875"/>
              <a:gd name="connsiteX39" fmla="*/ 2847250 w 6561737"/>
              <a:gd name="connsiteY39" fmla="*/ 2549675 h 4841875"/>
              <a:gd name="connsiteX40" fmla="*/ 2852929 w 6561737"/>
              <a:gd name="connsiteY40" fmla="*/ 2551263 h 4841875"/>
              <a:gd name="connsiteX41" fmla="*/ 2858608 w 6561737"/>
              <a:gd name="connsiteY41" fmla="*/ 2552850 h 4841875"/>
              <a:gd name="connsiteX42" fmla="*/ 2864287 w 6561737"/>
              <a:gd name="connsiteY42" fmla="*/ 2555073 h 4841875"/>
              <a:gd name="connsiteX43" fmla="*/ 2869966 w 6561737"/>
              <a:gd name="connsiteY43" fmla="*/ 2557295 h 4841875"/>
              <a:gd name="connsiteX44" fmla="*/ 2875311 w 6561737"/>
              <a:gd name="connsiteY44" fmla="*/ 2560152 h 4841875"/>
              <a:gd name="connsiteX45" fmla="*/ 2880322 w 6561737"/>
              <a:gd name="connsiteY45" fmla="*/ 2563327 h 4841875"/>
              <a:gd name="connsiteX46" fmla="*/ 2885667 w 6561737"/>
              <a:gd name="connsiteY46" fmla="*/ 2566184 h 4841875"/>
              <a:gd name="connsiteX47" fmla="*/ 2890678 w 6561737"/>
              <a:gd name="connsiteY47" fmla="*/ 2569994 h 4841875"/>
              <a:gd name="connsiteX48" fmla="*/ 2895689 w 6561737"/>
              <a:gd name="connsiteY48" fmla="*/ 2573804 h 4841875"/>
              <a:gd name="connsiteX49" fmla="*/ 2900366 w 6561737"/>
              <a:gd name="connsiteY49" fmla="*/ 2577931 h 4841875"/>
              <a:gd name="connsiteX50" fmla="*/ 2905043 w 6561737"/>
              <a:gd name="connsiteY50" fmla="*/ 2582058 h 4841875"/>
              <a:gd name="connsiteX51" fmla="*/ 4398989 w 6561737"/>
              <a:gd name="connsiteY51" fmla="*/ 4073893 h 4841875"/>
              <a:gd name="connsiteX52" fmla="*/ 4403332 w 6561737"/>
              <a:gd name="connsiteY52" fmla="*/ 4078338 h 4841875"/>
              <a:gd name="connsiteX53" fmla="*/ 4408009 w 6561737"/>
              <a:gd name="connsiteY53" fmla="*/ 4082465 h 4841875"/>
              <a:gd name="connsiteX54" fmla="*/ 4413020 w 6561737"/>
              <a:gd name="connsiteY54" fmla="*/ 4086275 h 4841875"/>
              <a:gd name="connsiteX55" fmla="*/ 4418031 w 6561737"/>
              <a:gd name="connsiteY55" fmla="*/ 4089767 h 4841875"/>
              <a:gd name="connsiteX56" fmla="*/ 4423042 w 6561737"/>
              <a:gd name="connsiteY56" fmla="*/ 4093259 h 4841875"/>
              <a:gd name="connsiteX57" fmla="*/ 4428721 w 6561737"/>
              <a:gd name="connsiteY57" fmla="*/ 4095799 h 4841875"/>
              <a:gd name="connsiteX58" fmla="*/ 4433732 w 6561737"/>
              <a:gd name="connsiteY58" fmla="*/ 4098656 h 4841875"/>
              <a:gd name="connsiteX59" fmla="*/ 4439745 w 6561737"/>
              <a:gd name="connsiteY59" fmla="*/ 4101196 h 4841875"/>
              <a:gd name="connsiteX60" fmla="*/ 4445090 w 6561737"/>
              <a:gd name="connsiteY60" fmla="*/ 4103101 h 4841875"/>
              <a:gd name="connsiteX61" fmla="*/ 4450769 w 6561737"/>
              <a:gd name="connsiteY61" fmla="*/ 4105006 h 4841875"/>
              <a:gd name="connsiteX62" fmla="*/ 4456449 w 6561737"/>
              <a:gd name="connsiteY62" fmla="*/ 4106593 h 4841875"/>
              <a:gd name="connsiteX63" fmla="*/ 4462127 w 6561737"/>
              <a:gd name="connsiteY63" fmla="*/ 4107863 h 4841875"/>
              <a:gd name="connsiteX64" fmla="*/ 4468140 w 6561737"/>
              <a:gd name="connsiteY64" fmla="*/ 4108816 h 4841875"/>
              <a:gd name="connsiteX65" fmla="*/ 4474154 w 6561737"/>
              <a:gd name="connsiteY65" fmla="*/ 4109451 h 4841875"/>
              <a:gd name="connsiteX66" fmla="*/ 4480167 w 6561737"/>
              <a:gd name="connsiteY66" fmla="*/ 4110086 h 4841875"/>
              <a:gd name="connsiteX67" fmla="*/ 4485846 w 6561737"/>
              <a:gd name="connsiteY67" fmla="*/ 4110086 h 4841875"/>
              <a:gd name="connsiteX68" fmla="*/ 4491526 w 6561737"/>
              <a:gd name="connsiteY68" fmla="*/ 4110086 h 4841875"/>
              <a:gd name="connsiteX69" fmla="*/ 4497538 w 6561737"/>
              <a:gd name="connsiteY69" fmla="*/ 4109451 h 4841875"/>
              <a:gd name="connsiteX70" fmla="*/ 4503551 w 6561737"/>
              <a:gd name="connsiteY70" fmla="*/ 4108816 h 4841875"/>
              <a:gd name="connsiteX71" fmla="*/ 4509565 w 6561737"/>
              <a:gd name="connsiteY71" fmla="*/ 4107863 h 4841875"/>
              <a:gd name="connsiteX72" fmla="*/ 4515244 w 6561737"/>
              <a:gd name="connsiteY72" fmla="*/ 4106593 h 4841875"/>
              <a:gd name="connsiteX73" fmla="*/ 4520589 w 6561737"/>
              <a:gd name="connsiteY73" fmla="*/ 4105006 h 4841875"/>
              <a:gd name="connsiteX74" fmla="*/ 4526602 w 6561737"/>
              <a:gd name="connsiteY74" fmla="*/ 4103101 h 4841875"/>
              <a:gd name="connsiteX75" fmla="*/ 4531948 w 6561737"/>
              <a:gd name="connsiteY75" fmla="*/ 4101196 h 4841875"/>
              <a:gd name="connsiteX76" fmla="*/ 4537960 w 6561737"/>
              <a:gd name="connsiteY76" fmla="*/ 4098656 h 4841875"/>
              <a:gd name="connsiteX77" fmla="*/ 4542971 w 6561737"/>
              <a:gd name="connsiteY77" fmla="*/ 4095799 h 4841875"/>
              <a:gd name="connsiteX78" fmla="*/ 4548650 w 6561737"/>
              <a:gd name="connsiteY78" fmla="*/ 4093259 h 4841875"/>
              <a:gd name="connsiteX79" fmla="*/ 4553661 w 6561737"/>
              <a:gd name="connsiteY79" fmla="*/ 4089767 h 4841875"/>
              <a:gd name="connsiteX80" fmla="*/ 4558672 w 6561737"/>
              <a:gd name="connsiteY80" fmla="*/ 4086275 h 4841875"/>
              <a:gd name="connsiteX81" fmla="*/ 4563683 w 6561737"/>
              <a:gd name="connsiteY81" fmla="*/ 4082465 h 4841875"/>
              <a:gd name="connsiteX82" fmla="*/ 4568360 w 6561737"/>
              <a:gd name="connsiteY82" fmla="*/ 4078338 h 4841875"/>
              <a:gd name="connsiteX83" fmla="*/ 4572704 w 6561737"/>
              <a:gd name="connsiteY83" fmla="*/ 4073893 h 4841875"/>
              <a:gd name="connsiteX84" fmla="*/ 4577381 w 6561737"/>
              <a:gd name="connsiteY84" fmla="*/ 4069448 h 4841875"/>
              <a:gd name="connsiteX85" fmla="*/ 4581389 w 6561737"/>
              <a:gd name="connsiteY85" fmla="*/ 4064686 h 4841875"/>
              <a:gd name="connsiteX86" fmla="*/ 4585064 w 6561737"/>
              <a:gd name="connsiteY86" fmla="*/ 4059606 h 4841875"/>
              <a:gd name="connsiteX87" fmla="*/ 4588738 w 6561737"/>
              <a:gd name="connsiteY87" fmla="*/ 4054844 h 4841875"/>
              <a:gd name="connsiteX88" fmla="*/ 4592079 w 6561737"/>
              <a:gd name="connsiteY88" fmla="*/ 4049447 h 4841875"/>
              <a:gd name="connsiteX89" fmla="*/ 4595086 w 6561737"/>
              <a:gd name="connsiteY89" fmla="*/ 4044367 h 4841875"/>
              <a:gd name="connsiteX90" fmla="*/ 4597424 w 6561737"/>
              <a:gd name="connsiteY90" fmla="*/ 4038653 h 4841875"/>
              <a:gd name="connsiteX91" fmla="*/ 4599763 w 6561737"/>
              <a:gd name="connsiteY91" fmla="*/ 4033256 h 4841875"/>
              <a:gd name="connsiteX92" fmla="*/ 4602101 w 6561737"/>
              <a:gd name="connsiteY92" fmla="*/ 4027859 h 4841875"/>
              <a:gd name="connsiteX93" fmla="*/ 4604106 w 6561737"/>
              <a:gd name="connsiteY93" fmla="*/ 4022144 h 4841875"/>
              <a:gd name="connsiteX94" fmla="*/ 4605776 w 6561737"/>
              <a:gd name="connsiteY94" fmla="*/ 4016112 h 4841875"/>
              <a:gd name="connsiteX95" fmla="*/ 4606778 w 6561737"/>
              <a:gd name="connsiteY95" fmla="*/ 4010397 h 4841875"/>
              <a:gd name="connsiteX96" fmla="*/ 4607781 w 6561737"/>
              <a:gd name="connsiteY96" fmla="*/ 4004683 h 4841875"/>
              <a:gd name="connsiteX97" fmla="*/ 4608448 w 6561737"/>
              <a:gd name="connsiteY97" fmla="*/ 3998650 h 4841875"/>
              <a:gd name="connsiteX98" fmla="*/ 4608782 w 6561737"/>
              <a:gd name="connsiteY98" fmla="*/ 3992936 h 4841875"/>
              <a:gd name="connsiteX99" fmla="*/ 4609117 w 6561737"/>
              <a:gd name="connsiteY99" fmla="*/ 3987221 h 4841875"/>
              <a:gd name="connsiteX100" fmla="*/ 4608782 w 6561737"/>
              <a:gd name="connsiteY100" fmla="*/ 3980872 h 4841875"/>
              <a:gd name="connsiteX101" fmla="*/ 4608448 w 6561737"/>
              <a:gd name="connsiteY101" fmla="*/ 3975157 h 4841875"/>
              <a:gd name="connsiteX102" fmla="*/ 4607781 w 6561737"/>
              <a:gd name="connsiteY102" fmla="*/ 3969442 h 4841875"/>
              <a:gd name="connsiteX103" fmla="*/ 4606778 w 6561737"/>
              <a:gd name="connsiteY103" fmla="*/ 3963410 h 4841875"/>
              <a:gd name="connsiteX104" fmla="*/ 4605776 w 6561737"/>
              <a:gd name="connsiteY104" fmla="*/ 3957696 h 4841875"/>
              <a:gd name="connsiteX105" fmla="*/ 4604106 w 6561737"/>
              <a:gd name="connsiteY105" fmla="*/ 3951981 h 4841875"/>
              <a:gd name="connsiteX106" fmla="*/ 4602101 w 6561737"/>
              <a:gd name="connsiteY106" fmla="*/ 3946584 h 4841875"/>
              <a:gd name="connsiteX107" fmla="*/ 4599763 w 6561737"/>
              <a:gd name="connsiteY107" fmla="*/ 3940552 h 4841875"/>
              <a:gd name="connsiteX108" fmla="*/ 4597424 w 6561737"/>
              <a:gd name="connsiteY108" fmla="*/ 3935155 h 4841875"/>
              <a:gd name="connsiteX109" fmla="*/ 4595086 w 6561737"/>
              <a:gd name="connsiteY109" fmla="*/ 3929757 h 4841875"/>
              <a:gd name="connsiteX110" fmla="*/ 4592079 w 6561737"/>
              <a:gd name="connsiteY110" fmla="*/ 3924678 h 4841875"/>
              <a:gd name="connsiteX111" fmla="*/ 4588738 w 6561737"/>
              <a:gd name="connsiteY111" fmla="*/ 3919281 h 4841875"/>
              <a:gd name="connsiteX112" fmla="*/ 4585064 w 6561737"/>
              <a:gd name="connsiteY112" fmla="*/ 3914201 h 4841875"/>
              <a:gd name="connsiteX113" fmla="*/ 4581389 w 6561737"/>
              <a:gd name="connsiteY113" fmla="*/ 3909121 h 4841875"/>
              <a:gd name="connsiteX114" fmla="*/ 4577381 w 6561737"/>
              <a:gd name="connsiteY114" fmla="*/ 3904677 h 4841875"/>
              <a:gd name="connsiteX115" fmla="*/ 4572704 w 6561737"/>
              <a:gd name="connsiteY115" fmla="*/ 3899914 h 4841875"/>
              <a:gd name="connsiteX116" fmla="*/ 3276525 w 6561737"/>
              <a:gd name="connsiteY116" fmla="*/ 2605234 h 4841875"/>
              <a:gd name="connsiteX117" fmla="*/ 3272182 w 6561737"/>
              <a:gd name="connsiteY117" fmla="*/ 2600472 h 4841875"/>
              <a:gd name="connsiteX118" fmla="*/ 3268174 w 6561737"/>
              <a:gd name="connsiteY118" fmla="*/ 2596027 h 4841875"/>
              <a:gd name="connsiteX119" fmla="*/ 3264165 w 6561737"/>
              <a:gd name="connsiteY119" fmla="*/ 2590948 h 4841875"/>
              <a:gd name="connsiteX120" fmla="*/ 3260824 w 6561737"/>
              <a:gd name="connsiteY120" fmla="*/ 2585868 h 4841875"/>
              <a:gd name="connsiteX121" fmla="*/ 3257818 w 6561737"/>
              <a:gd name="connsiteY121" fmla="*/ 2580788 h 4841875"/>
              <a:gd name="connsiteX122" fmla="*/ 3254811 w 6561737"/>
              <a:gd name="connsiteY122" fmla="*/ 2575709 h 4841875"/>
              <a:gd name="connsiteX123" fmla="*/ 3252138 w 6561737"/>
              <a:gd name="connsiteY123" fmla="*/ 2569994 h 4841875"/>
              <a:gd name="connsiteX124" fmla="*/ 3249466 w 6561737"/>
              <a:gd name="connsiteY124" fmla="*/ 2564597 h 4841875"/>
              <a:gd name="connsiteX125" fmla="*/ 3247461 w 6561737"/>
              <a:gd name="connsiteY125" fmla="*/ 2558882 h 4841875"/>
              <a:gd name="connsiteX126" fmla="*/ 3245791 w 6561737"/>
              <a:gd name="connsiteY126" fmla="*/ 2553168 h 4841875"/>
              <a:gd name="connsiteX127" fmla="*/ 3244121 w 6561737"/>
              <a:gd name="connsiteY127" fmla="*/ 2547453 h 4841875"/>
              <a:gd name="connsiteX128" fmla="*/ 3242785 w 6561737"/>
              <a:gd name="connsiteY128" fmla="*/ 2541738 h 4841875"/>
              <a:gd name="connsiteX129" fmla="*/ 3241782 w 6561737"/>
              <a:gd name="connsiteY129" fmla="*/ 2536024 h 4841875"/>
              <a:gd name="connsiteX130" fmla="*/ 3241114 w 6561737"/>
              <a:gd name="connsiteY130" fmla="*/ 2529992 h 4841875"/>
              <a:gd name="connsiteX131" fmla="*/ 3240780 w 6561737"/>
              <a:gd name="connsiteY131" fmla="*/ 2524277 h 4841875"/>
              <a:gd name="connsiteX132" fmla="*/ 3240780 w 6561737"/>
              <a:gd name="connsiteY132" fmla="*/ 2518245 h 4841875"/>
              <a:gd name="connsiteX133" fmla="*/ 3240780 w 6561737"/>
              <a:gd name="connsiteY133" fmla="*/ 2512213 h 4841875"/>
              <a:gd name="connsiteX134" fmla="*/ 3241114 w 6561737"/>
              <a:gd name="connsiteY134" fmla="*/ 2506498 h 4841875"/>
              <a:gd name="connsiteX135" fmla="*/ 3241782 w 6561737"/>
              <a:gd name="connsiteY135" fmla="*/ 2500784 h 4841875"/>
              <a:gd name="connsiteX136" fmla="*/ 3242785 w 6561737"/>
              <a:gd name="connsiteY136" fmla="*/ 2494752 h 4841875"/>
              <a:gd name="connsiteX137" fmla="*/ 3244121 w 6561737"/>
              <a:gd name="connsiteY137" fmla="*/ 2489037 h 4841875"/>
              <a:gd name="connsiteX138" fmla="*/ 3245791 w 6561737"/>
              <a:gd name="connsiteY138" fmla="*/ 2483322 h 4841875"/>
              <a:gd name="connsiteX139" fmla="*/ 3247461 w 6561737"/>
              <a:gd name="connsiteY139" fmla="*/ 2477290 h 4841875"/>
              <a:gd name="connsiteX140" fmla="*/ 3249466 w 6561737"/>
              <a:gd name="connsiteY140" fmla="*/ 2471893 h 4841875"/>
              <a:gd name="connsiteX141" fmla="*/ 3252138 w 6561737"/>
              <a:gd name="connsiteY141" fmla="*/ 2466496 h 4841875"/>
              <a:gd name="connsiteX142" fmla="*/ 3254811 w 6561737"/>
              <a:gd name="connsiteY142" fmla="*/ 2461099 h 4841875"/>
              <a:gd name="connsiteX143" fmla="*/ 3257818 w 6561737"/>
              <a:gd name="connsiteY143" fmla="*/ 2455702 h 4841875"/>
              <a:gd name="connsiteX144" fmla="*/ 3260824 w 6561737"/>
              <a:gd name="connsiteY144" fmla="*/ 2450304 h 4841875"/>
              <a:gd name="connsiteX145" fmla="*/ 3264165 w 6561737"/>
              <a:gd name="connsiteY145" fmla="*/ 2445542 h 4841875"/>
              <a:gd name="connsiteX146" fmla="*/ 3268174 w 6561737"/>
              <a:gd name="connsiteY146" fmla="*/ 2440463 h 4841875"/>
              <a:gd name="connsiteX147" fmla="*/ 3272182 w 6561737"/>
              <a:gd name="connsiteY147" fmla="*/ 2435700 h 4841875"/>
              <a:gd name="connsiteX148" fmla="*/ 3276525 w 6561737"/>
              <a:gd name="connsiteY148" fmla="*/ 2431256 h 4841875"/>
              <a:gd name="connsiteX149" fmla="*/ 3281536 w 6561737"/>
              <a:gd name="connsiteY149" fmla="*/ 2426811 h 4841875"/>
              <a:gd name="connsiteX150" fmla="*/ 3285879 w 6561737"/>
              <a:gd name="connsiteY150" fmla="*/ 2422684 h 4841875"/>
              <a:gd name="connsiteX151" fmla="*/ 3290890 w 6561737"/>
              <a:gd name="connsiteY151" fmla="*/ 2418874 h 4841875"/>
              <a:gd name="connsiteX152" fmla="*/ 3296235 w 6561737"/>
              <a:gd name="connsiteY152" fmla="*/ 2415382 h 4841875"/>
              <a:gd name="connsiteX153" fmla="*/ 3301246 w 6561737"/>
              <a:gd name="connsiteY153" fmla="*/ 2412207 h 4841875"/>
              <a:gd name="connsiteX154" fmla="*/ 3306591 w 6561737"/>
              <a:gd name="connsiteY154" fmla="*/ 2409350 h 4841875"/>
              <a:gd name="connsiteX155" fmla="*/ 3311936 w 6561737"/>
              <a:gd name="connsiteY155" fmla="*/ 2406492 h 4841875"/>
              <a:gd name="connsiteX156" fmla="*/ 3317281 w 6561737"/>
              <a:gd name="connsiteY156" fmla="*/ 2404270 h 4841875"/>
              <a:gd name="connsiteX157" fmla="*/ 3323295 w 6561737"/>
              <a:gd name="connsiteY157" fmla="*/ 2402048 h 4841875"/>
              <a:gd name="connsiteX158" fmla="*/ 3328640 w 6561737"/>
              <a:gd name="connsiteY158" fmla="*/ 2400143 h 4841875"/>
              <a:gd name="connsiteX159" fmla="*/ 3334653 w 6561737"/>
              <a:gd name="connsiteY159" fmla="*/ 2398873 h 4841875"/>
              <a:gd name="connsiteX160" fmla="*/ 3340332 w 6561737"/>
              <a:gd name="connsiteY160" fmla="*/ 2397285 h 4841875"/>
              <a:gd name="connsiteX161" fmla="*/ 3346011 w 6561737"/>
              <a:gd name="connsiteY161" fmla="*/ 2396333 h 4841875"/>
              <a:gd name="connsiteX162" fmla="*/ 3352024 w 6561737"/>
              <a:gd name="connsiteY162" fmla="*/ 2395698 h 4841875"/>
              <a:gd name="connsiteX163" fmla="*/ 3357703 w 6561737"/>
              <a:gd name="connsiteY163" fmla="*/ 2395381 h 4841875"/>
              <a:gd name="connsiteX164" fmla="*/ 3364051 w 6561737"/>
              <a:gd name="connsiteY164" fmla="*/ 2395381 h 4841875"/>
              <a:gd name="connsiteX165" fmla="*/ 3369730 w 6561737"/>
              <a:gd name="connsiteY165" fmla="*/ 2395381 h 4841875"/>
              <a:gd name="connsiteX166" fmla="*/ 3375743 w 6561737"/>
              <a:gd name="connsiteY166" fmla="*/ 2395698 h 4841875"/>
              <a:gd name="connsiteX167" fmla="*/ 3381422 w 6561737"/>
              <a:gd name="connsiteY167" fmla="*/ 2396333 h 4841875"/>
              <a:gd name="connsiteX168" fmla="*/ 3387101 w 6561737"/>
              <a:gd name="connsiteY168" fmla="*/ 2397285 h 4841875"/>
              <a:gd name="connsiteX169" fmla="*/ 3393114 w 6561737"/>
              <a:gd name="connsiteY169" fmla="*/ 2398873 h 4841875"/>
              <a:gd name="connsiteX170" fmla="*/ 3398794 w 6561737"/>
              <a:gd name="connsiteY170" fmla="*/ 2400143 h 4841875"/>
              <a:gd name="connsiteX171" fmla="*/ 3404807 w 6561737"/>
              <a:gd name="connsiteY171" fmla="*/ 2402048 h 4841875"/>
              <a:gd name="connsiteX172" fmla="*/ 3410152 w 6561737"/>
              <a:gd name="connsiteY172" fmla="*/ 2404270 h 4841875"/>
              <a:gd name="connsiteX173" fmla="*/ 3415831 w 6561737"/>
              <a:gd name="connsiteY173" fmla="*/ 2406492 h 4841875"/>
              <a:gd name="connsiteX174" fmla="*/ 3421176 w 6561737"/>
              <a:gd name="connsiteY174" fmla="*/ 2409350 h 4841875"/>
              <a:gd name="connsiteX175" fmla="*/ 3426187 w 6561737"/>
              <a:gd name="connsiteY175" fmla="*/ 2412207 h 4841875"/>
              <a:gd name="connsiteX176" fmla="*/ 3431866 w 6561737"/>
              <a:gd name="connsiteY176" fmla="*/ 2415382 h 4841875"/>
              <a:gd name="connsiteX177" fmla="*/ 3436543 w 6561737"/>
              <a:gd name="connsiteY177" fmla="*/ 2418874 h 4841875"/>
              <a:gd name="connsiteX178" fmla="*/ 3441554 w 6561737"/>
              <a:gd name="connsiteY178" fmla="*/ 2422684 h 4841875"/>
              <a:gd name="connsiteX179" fmla="*/ 3446565 w 6561737"/>
              <a:gd name="connsiteY179" fmla="*/ 2426811 h 4841875"/>
              <a:gd name="connsiteX180" fmla="*/ 3450908 w 6561737"/>
              <a:gd name="connsiteY180" fmla="*/ 2431256 h 4841875"/>
              <a:gd name="connsiteX181" fmla="*/ 4169819 w 6561737"/>
              <a:gd name="connsiteY181" fmla="*/ 3149076 h 4841875"/>
              <a:gd name="connsiteX182" fmla="*/ 4174496 w 6561737"/>
              <a:gd name="connsiteY182" fmla="*/ 3153521 h 4841875"/>
              <a:gd name="connsiteX183" fmla="*/ 4179173 w 6561737"/>
              <a:gd name="connsiteY183" fmla="*/ 3157648 h 4841875"/>
              <a:gd name="connsiteX184" fmla="*/ 4184184 w 6561737"/>
              <a:gd name="connsiteY184" fmla="*/ 3161458 h 4841875"/>
              <a:gd name="connsiteX185" fmla="*/ 4189195 w 6561737"/>
              <a:gd name="connsiteY185" fmla="*/ 3164950 h 4841875"/>
              <a:gd name="connsiteX186" fmla="*/ 4194540 w 6561737"/>
              <a:gd name="connsiteY186" fmla="*/ 3168442 h 4841875"/>
              <a:gd name="connsiteX187" fmla="*/ 4199551 w 6561737"/>
              <a:gd name="connsiteY187" fmla="*/ 3170982 h 4841875"/>
              <a:gd name="connsiteX188" fmla="*/ 4204896 w 6561737"/>
              <a:gd name="connsiteY188" fmla="*/ 3173840 h 4841875"/>
              <a:gd name="connsiteX189" fmla="*/ 4210576 w 6561737"/>
              <a:gd name="connsiteY189" fmla="*/ 3176062 h 4841875"/>
              <a:gd name="connsiteX190" fmla="*/ 4216255 w 6561737"/>
              <a:gd name="connsiteY190" fmla="*/ 3178284 h 4841875"/>
              <a:gd name="connsiteX191" fmla="*/ 4221934 w 6561737"/>
              <a:gd name="connsiteY191" fmla="*/ 3180189 h 4841875"/>
              <a:gd name="connsiteX192" fmla="*/ 4227613 w 6561737"/>
              <a:gd name="connsiteY192" fmla="*/ 3181776 h 4841875"/>
              <a:gd name="connsiteX193" fmla="*/ 4233292 w 6561737"/>
              <a:gd name="connsiteY193" fmla="*/ 3183046 h 4841875"/>
              <a:gd name="connsiteX194" fmla="*/ 4239305 w 6561737"/>
              <a:gd name="connsiteY194" fmla="*/ 3183999 h 4841875"/>
              <a:gd name="connsiteX195" fmla="*/ 4244984 w 6561737"/>
              <a:gd name="connsiteY195" fmla="*/ 3184634 h 4841875"/>
              <a:gd name="connsiteX196" fmla="*/ 4250998 w 6561737"/>
              <a:gd name="connsiteY196" fmla="*/ 3184951 h 4841875"/>
              <a:gd name="connsiteX197" fmla="*/ 4257011 w 6561737"/>
              <a:gd name="connsiteY197" fmla="*/ 3185269 h 4841875"/>
              <a:gd name="connsiteX198" fmla="*/ 4263024 w 6561737"/>
              <a:gd name="connsiteY198" fmla="*/ 3184951 h 4841875"/>
              <a:gd name="connsiteX199" fmla="*/ 4268703 w 6561737"/>
              <a:gd name="connsiteY199" fmla="*/ 3184634 h 4841875"/>
              <a:gd name="connsiteX200" fmla="*/ 4274382 w 6561737"/>
              <a:gd name="connsiteY200" fmla="*/ 3183999 h 4841875"/>
              <a:gd name="connsiteX201" fmla="*/ 4280395 w 6561737"/>
              <a:gd name="connsiteY201" fmla="*/ 3183046 h 4841875"/>
              <a:gd name="connsiteX202" fmla="*/ 4286075 w 6561737"/>
              <a:gd name="connsiteY202" fmla="*/ 3181776 h 4841875"/>
              <a:gd name="connsiteX203" fmla="*/ 4292088 w 6561737"/>
              <a:gd name="connsiteY203" fmla="*/ 3180189 h 4841875"/>
              <a:gd name="connsiteX204" fmla="*/ 4297767 w 6561737"/>
              <a:gd name="connsiteY204" fmla="*/ 3178284 h 4841875"/>
              <a:gd name="connsiteX205" fmla="*/ 4303446 w 6561737"/>
              <a:gd name="connsiteY205" fmla="*/ 3176062 h 4841875"/>
              <a:gd name="connsiteX206" fmla="*/ 4308791 w 6561737"/>
              <a:gd name="connsiteY206" fmla="*/ 3173840 h 4841875"/>
              <a:gd name="connsiteX207" fmla="*/ 4314136 w 6561737"/>
              <a:gd name="connsiteY207" fmla="*/ 3170982 h 4841875"/>
              <a:gd name="connsiteX208" fmla="*/ 4319815 w 6561737"/>
              <a:gd name="connsiteY208" fmla="*/ 3168442 h 4841875"/>
              <a:gd name="connsiteX209" fmla="*/ 4324826 w 6561737"/>
              <a:gd name="connsiteY209" fmla="*/ 3164950 h 4841875"/>
              <a:gd name="connsiteX210" fmla="*/ 4329503 w 6561737"/>
              <a:gd name="connsiteY210" fmla="*/ 3161458 h 4841875"/>
              <a:gd name="connsiteX211" fmla="*/ 4334848 w 6561737"/>
              <a:gd name="connsiteY211" fmla="*/ 3157648 h 4841875"/>
              <a:gd name="connsiteX212" fmla="*/ 4339525 w 6561737"/>
              <a:gd name="connsiteY212" fmla="*/ 3153521 h 4841875"/>
              <a:gd name="connsiteX213" fmla="*/ 4344202 w 6561737"/>
              <a:gd name="connsiteY213" fmla="*/ 3149076 h 4841875"/>
              <a:gd name="connsiteX214" fmla="*/ 4348545 w 6561737"/>
              <a:gd name="connsiteY214" fmla="*/ 3144631 h 4841875"/>
              <a:gd name="connsiteX215" fmla="*/ 4352554 w 6561737"/>
              <a:gd name="connsiteY215" fmla="*/ 3139869 h 4841875"/>
              <a:gd name="connsiteX216" fmla="*/ 4356228 w 6561737"/>
              <a:gd name="connsiteY216" fmla="*/ 3134790 h 4841875"/>
              <a:gd name="connsiteX217" fmla="*/ 4359903 w 6561737"/>
              <a:gd name="connsiteY217" fmla="*/ 3130027 h 4841875"/>
              <a:gd name="connsiteX218" fmla="*/ 4363244 w 6561737"/>
              <a:gd name="connsiteY218" fmla="*/ 3124948 h 4841875"/>
              <a:gd name="connsiteX219" fmla="*/ 4365916 w 6561737"/>
              <a:gd name="connsiteY219" fmla="*/ 3119551 h 4841875"/>
              <a:gd name="connsiteX220" fmla="*/ 4368589 w 6561737"/>
              <a:gd name="connsiteY220" fmla="*/ 3113836 h 4841875"/>
              <a:gd name="connsiteX221" fmla="*/ 4371261 w 6561737"/>
              <a:gd name="connsiteY221" fmla="*/ 3108439 h 4841875"/>
              <a:gd name="connsiteX222" fmla="*/ 4373266 w 6561737"/>
              <a:gd name="connsiteY222" fmla="*/ 3103042 h 4841875"/>
              <a:gd name="connsiteX223" fmla="*/ 4375270 w 6561737"/>
              <a:gd name="connsiteY223" fmla="*/ 3097010 h 4841875"/>
              <a:gd name="connsiteX224" fmla="*/ 4376606 w 6561737"/>
              <a:gd name="connsiteY224" fmla="*/ 3091295 h 4841875"/>
              <a:gd name="connsiteX225" fmla="*/ 4377943 w 6561737"/>
              <a:gd name="connsiteY225" fmla="*/ 3085580 h 4841875"/>
              <a:gd name="connsiteX226" fmla="*/ 4378945 w 6561737"/>
              <a:gd name="connsiteY226" fmla="*/ 3079866 h 4841875"/>
              <a:gd name="connsiteX227" fmla="*/ 4379613 w 6561737"/>
              <a:gd name="connsiteY227" fmla="*/ 3073834 h 4841875"/>
              <a:gd name="connsiteX228" fmla="*/ 4379947 w 6561737"/>
              <a:gd name="connsiteY228" fmla="*/ 3068119 h 4841875"/>
              <a:gd name="connsiteX229" fmla="*/ 4380281 w 6561737"/>
              <a:gd name="connsiteY229" fmla="*/ 3062404 h 4841875"/>
              <a:gd name="connsiteX230" fmla="*/ 4379947 w 6561737"/>
              <a:gd name="connsiteY230" fmla="*/ 3056055 h 4841875"/>
              <a:gd name="connsiteX231" fmla="*/ 4379613 w 6561737"/>
              <a:gd name="connsiteY231" fmla="*/ 3050340 h 4841875"/>
              <a:gd name="connsiteX232" fmla="*/ 4378945 w 6561737"/>
              <a:gd name="connsiteY232" fmla="*/ 3044625 h 4841875"/>
              <a:gd name="connsiteX233" fmla="*/ 4377943 w 6561737"/>
              <a:gd name="connsiteY233" fmla="*/ 3038593 h 4841875"/>
              <a:gd name="connsiteX234" fmla="*/ 4376606 w 6561737"/>
              <a:gd name="connsiteY234" fmla="*/ 3032879 h 4841875"/>
              <a:gd name="connsiteX235" fmla="*/ 4375270 w 6561737"/>
              <a:gd name="connsiteY235" fmla="*/ 3027164 h 4841875"/>
              <a:gd name="connsiteX236" fmla="*/ 4373266 w 6561737"/>
              <a:gd name="connsiteY236" fmla="*/ 3021449 h 4841875"/>
              <a:gd name="connsiteX237" fmla="*/ 4371261 w 6561737"/>
              <a:gd name="connsiteY237" fmla="*/ 3015735 h 4841875"/>
              <a:gd name="connsiteX238" fmla="*/ 4368589 w 6561737"/>
              <a:gd name="connsiteY238" fmla="*/ 3010338 h 4841875"/>
              <a:gd name="connsiteX239" fmla="*/ 4365916 w 6561737"/>
              <a:gd name="connsiteY239" fmla="*/ 3004941 h 4841875"/>
              <a:gd name="connsiteX240" fmla="*/ 4363244 w 6561737"/>
              <a:gd name="connsiteY240" fmla="*/ 2999543 h 4841875"/>
              <a:gd name="connsiteX241" fmla="*/ 4359903 w 6561737"/>
              <a:gd name="connsiteY241" fmla="*/ 2994464 h 4841875"/>
              <a:gd name="connsiteX242" fmla="*/ 4356228 w 6561737"/>
              <a:gd name="connsiteY242" fmla="*/ 2989384 h 4841875"/>
              <a:gd name="connsiteX243" fmla="*/ 4352554 w 6561737"/>
              <a:gd name="connsiteY243" fmla="*/ 2984622 h 4841875"/>
              <a:gd name="connsiteX244" fmla="*/ 4348545 w 6561737"/>
              <a:gd name="connsiteY244" fmla="*/ 2979860 h 4841875"/>
              <a:gd name="connsiteX245" fmla="*/ 4344202 w 6561737"/>
              <a:gd name="connsiteY245" fmla="*/ 2975098 h 4841875"/>
              <a:gd name="connsiteX246" fmla="*/ 4244650 w 6561737"/>
              <a:gd name="connsiteY246" fmla="*/ 2875727 h 4841875"/>
              <a:gd name="connsiteX247" fmla="*/ 3995771 w 6561737"/>
              <a:gd name="connsiteY247" fmla="*/ 2627140 h 4841875"/>
              <a:gd name="connsiteX248" fmla="*/ 3991428 w 6561737"/>
              <a:gd name="connsiteY248" fmla="*/ 2622696 h 4841875"/>
              <a:gd name="connsiteX249" fmla="*/ 3987419 w 6561737"/>
              <a:gd name="connsiteY249" fmla="*/ 2617933 h 4841875"/>
              <a:gd name="connsiteX250" fmla="*/ 3983410 w 6561737"/>
              <a:gd name="connsiteY250" fmla="*/ 2613171 h 4841875"/>
              <a:gd name="connsiteX251" fmla="*/ 3980070 w 6561737"/>
              <a:gd name="connsiteY251" fmla="*/ 2608092 h 4841875"/>
              <a:gd name="connsiteX252" fmla="*/ 3977063 w 6561737"/>
              <a:gd name="connsiteY252" fmla="*/ 2603012 h 4841875"/>
              <a:gd name="connsiteX253" fmla="*/ 3973722 w 6561737"/>
              <a:gd name="connsiteY253" fmla="*/ 2597297 h 4841875"/>
              <a:gd name="connsiteX254" fmla="*/ 3971050 w 6561737"/>
              <a:gd name="connsiteY254" fmla="*/ 2591900 h 4841875"/>
              <a:gd name="connsiteX255" fmla="*/ 3968711 w 6561737"/>
              <a:gd name="connsiteY255" fmla="*/ 2586503 h 4841875"/>
              <a:gd name="connsiteX256" fmla="*/ 3966707 w 6561737"/>
              <a:gd name="connsiteY256" fmla="*/ 2581106 h 4841875"/>
              <a:gd name="connsiteX257" fmla="*/ 3965037 w 6561737"/>
              <a:gd name="connsiteY257" fmla="*/ 2575074 h 4841875"/>
              <a:gd name="connsiteX258" fmla="*/ 3963366 w 6561737"/>
              <a:gd name="connsiteY258" fmla="*/ 2569677 h 4841875"/>
              <a:gd name="connsiteX259" fmla="*/ 3962030 w 6561737"/>
              <a:gd name="connsiteY259" fmla="*/ 2563962 h 4841875"/>
              <a:gd name="connsiteX260" fmla="*/ 3961028 w 6561737"/>
              <a:gd name="connsiteY260" fmla="*/ 2558247 h 4841875"/>
              <a:gd name="connsiteX261" fmla="*/ 3960026 w 6561737"/>
              <a:gd name="connsiteY261" fmla="*/ 2551898 h 4841875"/>
              <a:gd name="connsiteX262" fmla="*/ 3959691 w 6561737"/>
              <a:gd name="connsiteY262" fmla="*/ 2546183 h 4841875"/>
              <a:gd name="connsiteX263" fmla="*/ 3959691 w 6561737"/>
              <a:gd name="connsiteY263" fmla="*/ 2540469 h 4841875"/>
              <a:gd name="connsiteX264" fmla="*/ 3959691 w 6561737"/>
              <a:gd name="connsiteY264" fmla="*/ 2534436 h 4841875"/>
              <a:gd name="connsiteX265" fmla="*/ 3960026 w 6561737"/>
              <a:gd name="connsiteY265" fmla="*/ 2528404 h 4841875"/>
              <a:gd name="connsiteX266" fmla="*/ 3961028 w 6561737"/>
              <a:gd name="connsiteY266" fmla="*/ 2522690 h 4841875"/>
              <a:gd name="connsiteX267" fmla="*/ 3962030 w 6561737"/>
              <a:gd name="connsiteY267" fmla="*/ 2516658 h 4841875"/>
              <a:gd name="connsiteX268" fmla="*/ 3963366 w 6561737"/>
              <a:gd name="connsiteY268" fmla="*/ 2510943 h 4841875"/>
              <a:gd name="connsiteX269" fmla="*/ 3965037 w 6561737"/>
              <a:gd name="connsiteY269" fmla="*/ 2505228 h 4841875"/>
              <a:gd name="connsiteX270" fmla="*/ 3966707 w 6561737"/>
              <a:gd name="connsiteY270" fmla="*/ 2499514 h 4841875"/>
              <a:gd name="connsiteX271" fmla="*/ 3968711 w 6561737"/>
              <a:gd name="connsiteY271" fmla="*/ 2494117 h 4841875"/>
              <a:gd name="connsiteX272" fmla="*/ 3971050 w 6561737"/>
              <a:gd name="connsiteY272" fmla="*/ 2488402 h 4841875"/>
              <a:gd name="connsiteX273" fmla="*/ 3973722 w 6561737"/>
              <a:gd name="connsiteY273" fmla="*/ 2483322 h 4841875"/>
              <a:gd name="connsiteX274" fmla="*/ 3977063 w 6561737"/>
              <a:gd name="connsiteY274" fmla="*/ 2477608 h 4841875"/>
              <a:gd name="connsiteX275" fmla="*/ 3980070 w 6561737"/>
              <a:gd name="connsiteY275" fmla="*/ 2472528 h 4841875"/>
              <a:gd name="connsiteX276" fmla="*/ 3983410 w 6561737"/>
              <a:gd name="connsiteY276" fmla="*/ 2467448 h 4841875"/>
              <a:gd name="connsiteX277" fmla="*/ 3987419 w 6561737"/>
              <a:gd name="connsiteY277" fmla="*/ 2462686 h 4841875"/>
              <a:gd name="connsiteX278" fmla="*/ 3991428 w 6561737"/>
              <a:gd name="connsiteY278" fmla="*/ 2457924 h 4841875"/>
              <a:gd name="connsiteX279" fmla="*/ 3995771 w 6561737"/>
              <a:gd name="connsiteY279" fmla="*/ 2453162 h 4841875"/>
              <a:gd name="connsiteX280" fmla="*/ 4000448 w 6561737"/>
              <a:gd name="connsiteY280" fmla="*/ 2449035 h 4841875"/>
              <a:gd name="connsiteX281" fmla="*/ 4005459 w 6561737"/>
              <a:gd name="connsiteY281" fmla="*/ 2444907 h 4841875"/>
              <a:gd name="connsiteX282" fmla="*/ 4010135 w 6561737"/>
              <a:gd name="connsiteY282" fmla="*/ 2441098 h 4841875"/>
              <a:gd name="connsiteX283" fmla="*/ 4015146 w 6561737"/>
              <a:gd name="connsiteY283" fmla="*/ 2437288 h 4841875"/>
              <a:gd name="connsiteX284" fmla="*/ 4020492 w 6561737"/>
              <a:gd name="connsiteY284" fmla="*/ 2434430 h 4841875"/>
              <a:gd name="connsiteX285" fmla="*/ 4025503 w 6561737"/>
              <a:gd name="connsiteY285" fmla="*/ 2431256 h 4841875"/>
              <a:gd name="connsiteX286" fmla="*/ 4031182 w 6561737"/>
              <a:gd name="connsiteY286" fmla="*/ 2428398 h 4841875"/>
              <a:gd name="connsiteX287" fmla="*/ 4036527 w 6561737"/>
              <a:gd name="connsiteY287" fmla="*/ 2426176 h 4841875"/>
              <a:gd name="connsiteX288" fmla="*/ 4042206 w 6561737"/>
              <a:gd name="connsiteY288" fmla="*/ 2423954 h 4841875"/>
              <a:gd name="connsiteX289" fmla="*/ 4047885 w 6561737"/>
              <a:gd name="connsiteY289" fmla="*/ 2422366 h 4841875"/>
              <a:gd name="connsiteX290" fmla="*/ 4053564 w 6561737"/>
              <a:gd name="connsiteY290" fmla="*/ 2420461 h 4841875"/>
              <a:gd name="connsiteX291" fmla="*/ 4059577 w 6561737"/>
              <a:gd name="connsiteY291" fmla="*/ 2419509 h 4841875"/>
              <a:gd name="connsiteX292" fmla="*/ 4065256 w 6561737"/>
              <a:gd name="connsiteY292" fmla="*/ 2418557 h 4841875"/>
              <a:gd name="connsiteX293" fmla="*/ 4071270 w 6561737"/>
              <a:gd name="connsiteY293" fmla="*/ 2417922 h 4841875"/>
              <a:gd name="connsiteX294" fmla="*/ 4076949 w 6561737"/>
              <a:gd name="connsiteY294" fmla="*/ 2417287 h 4841875"/>
              <a:gd name="connsiteX295" fmla="*/ 4082962 w 6561737"/>
              <a:gd name="connsiteY295" fmla="*/ 2417287 h 4841875"/>
              <a:gd name="connsiteX296" fmla="*/ 4088975 w 6561737"/>
              <a:gd name="connsiteY296" fmla="*/ 2417287 h 4841875"/>
              <a:gd name="connsiteX297" fmla="*/ 4094654 w 6561737"/>
              <a:gd name="connsiteY297" fmla="*/ 2417922 h 4841875"/>
              <a:gd name="connsiteX298" fmla="*/ 4100668 w 6561737"/>
              <a:gd name="connsiteY298" fmla="*/ 2418557 h 4841875"/>
              <a:gd name="connsiteX299" fmla="*/ 4106347 w 6561737"/>
              <a:gd name="connsiteY299" fmla="*/ 2419509 h 4841875"/>
              <a:gd name="connsiteX300" fmla="*/ 4112360 w 6561737"/>
              <a:gd name="connsiteY300" fmla="*/ 2420461 h 4841875"/>
              <a:gd name="connsiteX301" fmla="*/ 4118039 w 6561737"/>
              <a:gd name="connsiteY301" fmla="*/ 2422366 h 4841875"/>
              <a:gd name="connsiteX302" fmla="*/ 4123718 w 6561737"/>
              <a:gd name="connsiteY302" fmla="*/ 2423954 h 4841875"/>
              <a:gd name="connsiteX303" fmla="*/ 4129397 w 6561737"/>
              <a:gd name="connsiteY303" fmla="*/ 2426176 h 4841875"/>
              <a:gd name="connsiteX304" fmla="*/ 4134742 w 6561737"/>
              <a:gd name="connsiteY304" fmla="*/ 2428398 h 4841875"/>
              <a:gd name="connsiteX305" fmla="*/ 4140421 w 6561737"/>
              <a:gd name="connsiteY305" fmla="*/ 2431256 h 4841875"/>
              <a:gd name="connsiteX306" fmla="*/ 4145767 w 6561737"/>
              <a:gd name="connsiteY306" fmla="*/ 2434430 h 4841875"/>
              <a:gd name="connsiteX307" fmla="*/ 4150778 w 6561737"/>
              <a:gd name="connsiteY307" fmla="*/ 2437288 h 4841875"/>
              <a:gd name="connsiteX308" fmla="*/ 4155789 w 6561737"/>
              <a:gd name="connsiteY308" fmla="*/ 2441098 h 4841875"/>
              <a:gd name="connsiteX309" fmla="*/ 4160800 w 6561737"/>
              <a:gd name="connsiteY309" fmla="*/ 2444907 h 4841875"/>
              <a:gd name="connsiteX310" fmla="*/ 4165476 w 6561737"/>
              <a:gd name="connsiteY310" fmla="*/ 2449035 h 4841875"/>
              <a:gd name="connsiteX311" fmla="*/ 4170153 w 6561737"/>
              <a:gd name="connsiteY311" fmla="*/ 2453162 h 4841875"/>
              <a:gd name="connsiteX312" fmla="*/ 4969908 w 6561737"/>
              <a:gd name="connsiteY312" fmla="*/ 3252257 h 4841875"/>
              <a:gd name="connsiteX313" fmla="*/ 6561736 w 6561737"/>
              <a:gd name="connsiteY313" fmla="*/ 4841875 h 4841875"/>
              <a:gd name="connsiteX314" fmla="*/ 6561736 w 6561737"/>
              <a:gd name="connsiteY314" fmla="*/ 4559209 h 4841875"/>
              <a:gd name="connsiteX315" fmla="*/ 6561737 w 6561737"/>
              <a:gd name="connsiteY315" fmla="*/ 4559210 h 4841875"/>
              <a:gd name="connsiteX316" fmla="*/ 6561737 w 6561737"/>
              <a:gd name="connsiteY316" fmla="*/ 4059791 h 4841875"/>
              <a:gd name="connsiteX317" fmla="*/ 6561736 w 6561737"/>
              <a:gd name="connsiteY317" fmla="*/ 4059790 h 4841875"/>
              <a:gd name="connsiteX0" fmla="*/ 6561736 w 6561737"/>
              <a:gd name="connsiteY0" fmla="*/ 0 h 4841875"/>
              <a:gd name="connsiteX1" fmla="*/ 0 w 6561737"/>
              <a:gd name="connsiteY1" fmla="*/ 0 h 4841875"/>
              <a:gd name="connsiteX2" fmla="*/ 2696252 w 6561737"/>
              <a:gd name="connsiteY2" fmla="*/ 2688414 h 4841875"/>
              <a:gd name="connsiteX3" fmla="*/ 2695583 w 6561737"/>
              <a:gd name="connsiteY3" fmla="*/ 2681112 h 4841875"/>
              <a:gd name="connsiteX4" fmla="*/ 2694915 w 6561737"/>
              <a:gd name="connsiteY4" fmla="*/ 2674127 h 4841875"/>
              <a:gd name="connsiteX5" fmla="*/ 2694915 w 6561737"/>
              <a:gd name="connsiteY5" fmla="*/ 2667143 h 4841875"/>
              <a:gd name="connsiteX6" fmla="*/ 2695249 w 6561737"/>
              <a:gd name="connsiteY6" fmla="*/ 2660158 h 4841875"/>
              <a:gd name="connsiteX7" fmla="*/ 2695918 w 6561737"/>
              <a:gd name="connsiteY7" fmla="*/ 2652856 h 4841875"/>
              <a:gd name="connsiteX8" fmla="*/ 2696920 w 6561737"/>
              <a:gd name="connsiteY8" fmla="*/ 2645872 h 4841875"/>
              <a:gd name="connsiteX9" fmla="*/ 2698590 w 6561737"/>
              <a:gd name="connsiteY9" fmla="*/ 2638887 h 4841875"/>
              <a:gd name="connsiteX10" fmla="*/ 2700260 w 6561737"/>
              <a:gd name="connsiteY10" fmla="*/ 2631903 h 4841875"/>
              <a:gd name="connsiteX11" fmla="*/ 2702599 w 6561737"/>
              <a:gd name="connsiteY11" fmla="*/ 2625235 h 4841875"/>
              <a:gd name="connsiteX12" fmla="*/ 2705605 w 6561737"/>
              <a:gd name="connsiteY12" fmla="*/ 2618568 h 4841875"/>
              <a:gd name="connsiteX13" fmla="*/ 2708946 w 6561737"/>
              <a:gd name="connsiteY13" fmla="*/ 2612219 h 4841875"/>
              <a:gd name="connsiteX14" fmla="*/ 2712287 w 6561737"/>
              <a:gd name="connsiteY14" fmla="*/ 2605552 h 4841875"/>
              <a:gd name="connsiteX15" fmla="*/ 2716296 w 6561737"/>
              <a:gd name="connsiteY15" fmla="*/ 2599520 h 4841875"/>
              <a:gd name="connsiteX16" fmla="*/ 2720973 w 6561737"/>
              <a:gd name="connsiteY16" fmla="*/ 2593488 h 4841875"/>
              <a:gd name="connsiteX17" fmla="*/ 2725649 w 6561737"/>
              <a:gd name="connsiteY17" fmla="*/ 2587773 h 4841875"/>
              <a:gd name="connsiteX18" fmla="*/ 2730660 w 6561737"/>
              <a:gd name="connsiteY18" fmla="*/ 2582058 h 4841875"/>
              <a:gd name="connsiteX19" fmla="*/ 2735337 w 6561737"/>
              <a:gd name="connsiteY19" fmla="*/ 2577931 h 4841875"/>
              <a:gd name="connsiteX20" fmla="*/ 2740014 w 6561737"/>
              <a:gd name="connsiteY20" fmla="*/ 2573804 h 4841875"/>
              <a:gd name="connsiteX21" fmla="*/ 2745025 w 6561737"/>
              <a:gd name="connsiteY21" fmla="*/ 2569994 h 4841875"/>
              <a:gd name="connsiteX22" fmla="*/ 2750036 w 6561737"/>
              <a:gd name="connsiteY22" fmla="*/ 2566184 h 4841875"/>
              <a:gd name="connsiteX23" fmla="*/ 2755381 w 6561737"/>
              <a:gd name="connsiteY23" fmla="*/ 2563327 h 4841875"/>
              <a:gd name="connsiteX24" fmla="*/ 2760726 w 6561737"/>
              <a:gd name="connsiteY24" fmla="*/ 2560152 h 4841875"/>
              <a:gd name="connsiteX25" fmla="*/ 2766072 w 6561737"/>
              <a:gd name="connsiteY25" fmla="*/ 2557295 h 4841875"/>
              <a:gd name="connsiteX26" fmla="*/ 2771417 w 6561737"/>
              <a:gd name="connsiteY26" fmla="*/ 2555073 h 4841875"/>
              <a:gd name="connsiteX27" fmla="*/ 2777096 w 6561737"/>
              <a:gd name="connsiteY27" fmla="*/ 2552850 h 4841875"/>
              <a:gd name="connsiteX28" fmla="*/ 2782775 w 6561737"/>
              <a:gd name="connsiteY28" fmla="*/ 2551263 h 4841875"/>
              <a:gd name="connsiteX29" fmla="*/ 2788788 w 6561737"/>
              <a:gd name="connsiteY29" fmla="*/ 2549675 h 4841875"/>
              <a:gd name="connsiteX30" fmla="*/ 2794467 w 6561737"/>
              <a:gd name="connsiteY30" fmla="*/ 2548406 h 4841875"/>
              <a:gd name="connsiteX31" fmla="*/ 2800146 w 6561737"/>
              <a:gd name="connsiteY31" fmla="*/ 2547453 h 4841875"/>
              <a:gd name="connsiteX32" fmla="*/ 2806159 w 6561737"/>
              <a:gd name="connsiteY32" fmla="*/ 2546818 h 4841875"/>
              <a:gd name="connsiteX33" fmla="*/ 2811839 w 6561737"/>
              <a:gd name="connsiteY33" fmla="*/ 2546183 h 4841875"/>
              <a:gd name="connsiteX34" fmla="*/ 2817852 w 6561737"/>
              <a:gd name="connsiteY34" fmla="*/ 2546183 h 4841875"/>
              <a:gd name="connsiteX35" fmla="*/ 2823865 w 6561737"/>
              <a:gd name="connsiteY35" fmla="*/ 2546183 h 4841875"/>
              <a:gd name="connsiteX36" fmla="*/ 2829878 w 6561737"/>
              <a:gd name="connsiteY36" fmla="*/ 2546818 h 4841875"/>
              <a:gd name="connsiteX37" fmla="*/ 2835557 w 6561737"/>
              <a:gd name="connsiteY37" fmla="*/ 2547453 h 4841875"/>
              <a:gd name="connsiteX38" fmla="*/ 2841236 w 6561737"/>
              <a:gd name="connsiteY38" fmla="*/ 2548406 h 4841875"/>
              <a:gd name="connsiteX39" fmla="*/ 2847250 w 6561737"/>
              <a:gd name="connsiteY39" fmla="*/ 2549675 h 4841875"/>
              <a:gd name="connsiteX40" fmla="*/ 2852929 w 6561737"/>
              <a:gd name="connsiteY40" fmla="*/ 2551263 h 4841875"/>
              <a:gd name="connsiteX41" fmla="*/ 2858608 w 6561737"/>
              <a:gd name="connsiteY41" fmla="*/ 2552850 h 4841875"/>
              <a:gd name="connsiteX42" fmla="*/ 2864287 w 6561737"/>
              <a:gd name="connsiteY42" fmla="*/ 2555073 h 4841875"/>
              <a:gd name="connsiteX43" fmla="*/ 2869966 w 6561737"/>
              <a:gd name="connsiteY43" fmla="*/ 2557295 h 4841875"/>
              <a:gd name="connsiteX44" fmla="*/ 2875311 w 6561737"/>
              <a:gd name="connsiteY44" fmla="*/ 2560152 h 4841875"/>
              <a:gd name="connsiteX45" fmla="*/ 2880322 w 6561737"/>
              <a:gd name="connsiteY45" fmla="*/ 2563327 h 4841875"/>
              <a:gd name="connsiteX46" fmla="*/ 2885667 w 6561737"/>
              <a:gd name="connsiteY46" fmla="*/ 2566184 h 4841875"/>
              <a:gd name="connsiteX47" fmla="*/ 2890678 w 6561737"/>
              <a:gd name="connsiteY47" fmla="*/ 2569994 h 4841875"/>
              <a:gd name="connsiteX48" fmla="*/ 2895689 w 6561737"/>
              <a:gd name="connsiteY48" fmla="*/ 2573804 h 4841875"/>
              <a:gd name="connsiteX49" fmla="*/ 2900366 w 6561737"/>
              <a:gd name="connsiteY49" fmla="*/ 2577931 h 4841875"/>
              <a:gd name="connsiteX50" fmla="*/ 2905043 w 6561737"/>
              <a:gd name="connsiteY50" fmla="*/ 2582058 h 4841875"/>
              <a:gd name="connsiteX51" fmla="*/ 4398989 w 6561737"/>
              <a:gd name="connsiteY51" fmla="*/ 4073893 h 4841875"/>
              <a:gd name="connsiteX52" fmla="*/ 4403332 w 6561737"/>
              <a:gd name="connsiteY52" fmla="*/ 4078338 h 4841875"/>
              <a:gd name="connsiteX53" fmla="*/ 4408009 w 6561737"/>
              <a:gd name="connsiteY53" fmla="*/ 4082465 h 4841875"/>
              <a:gd name="connsiteX54" fmla="*/ 4413020 w 6561737"/>
              <a:gd name="connsiteY54" fmla="*/ 4086275 h 4841875"/>
              <a:gd name="connsiteX55" fmla="*/ 4418031 w 6561737"/>
              <a:gd name="connsiteY55" fmla="*/ 4089767 h 4841875"/>
              <a:gd name="connsiteX56" fmla="*/ 4423042 w 6561737"/>
              <a:gd name="connsiteY56" fmla="*/ 4093259 h 4841875"/>
              <a:gd name="connsiteX57" fmla="*/ 4428721 w 6561737"/>
              <a:gd name="connsiteY57" fmla="*/ 4095799 h 4841875"/>
              <a:gd name="connsiteX58" fmla="*/ 4433732 w 6561737"/>
              <a:gd name="connsiteY58" fmla="*/ 4098656 h 4841875"/>
              <a:gd name="connsiteX59" fmla="*/ 4439745 w 6561737"/>
              <a:gd name="connsiteY59" fmla="*/ 4101196 h 4841875"/>
              <a:gd name="connsiteX60" fmla="*/ 4445090 w 6561737"/>
              <a:gd name="connsiteY60" fmla="*/ 4103101 h 4841875"/>
              <a:gd name="connsiteX61" fmla="*/ 4450769 w 6561737"/>
              <a:gd name="connsiteY61" fmla="*/ 4105006 h 4841875"/>
              <a:gd name="connsiteX62" fmla="*/ 4456449 w 6561737"/>
              <a:gd name="connsiteY62" fmla="*/ 4106593 h 4841875"/>
              <a:gd name="connsiteX63" fmla="*/ 4462127 w 6561737"/>
              <a:gd name="connsiteY63" fmla="*/ 4107863 h 4841875"/>
              <a:gd name="connsiteX64" fmla="*/ 4468140 w 6561737"/>
              <a:gd name="connsiteY64" fmla="*/ 4108816 h 4841875"/>
              <a:gd name="connsiteX65" fmla="*/ 4474154 w 6561737"/>
              <a:gd name="connsiteY65" fmla="*/ 4109451 h 4841875"/>
              <a:gd name="connsiteX66" fmla="*/ 4480167 w 6561737"/>
              <a:gd name="connsiteY66" fmla="*/ 4110086 h 4841875"/>
              <a:gd name="connsiteX67" fmla="*/ 4485846 w 6561737"/>
              <a:gd name="connsiteY67" fmla="*/ 4110086 h 4841875"/>
              <a:gd name="connsiteX68" fmla="*/ 4491526 w 6561737"/>
              <a:gd name="connsiteY68" fmla="*/ 4110086 h 4841875"/>
              <a:gd name="connsiteX69" fmla="*/ 4497538 w 6561737"/>
              <a:gd name="connsiteY69" fmla="*/ 4109451 h 4841875"/>
              <a:gd name="connsiteX70" fmla="*/ 4503551 w 6561737"/>
              <a:gd name="connsiteY70" fmla="*/ 4108816 h 4841875"/>
              <a:gd name="connsiteX71" fmla="*/ 4509565 w 6561737"/>
              <a:gd name="connsiteY71" fmla="*/ 4107863 h 4841875"/>
              <a:gd name="connsiteX72" fmla="*/ 4515244 w 6561737"/>
              <a:gd name="connsiteY72" fmla="*/ 4106593 h 4841875"/>
              <a:gd name="connsiteX73" fmla="*/ 4520589 w 6561737"/>
              <a:gd name="connsiteY73" fmla="*/ 4105006 h 4841875"/>
              <a:gd name="connsiteX74" fmla="*/ 4526602 w 6561737"/>
              <a:gd name="connsiteY74" fmla="*/ 4103101 h 4841875"/>
              <a:gd name="connsiteX75" fmla="*/ 4531948 w 6561737"/>
              <a:gd name="connsiteY75" fmla="*/ 4101196 h 4841875"/>
              <a:gd name="connsiteX76" fmla="*/ 4537960 w 6561737"/>
              <a:gd name="connsiteY76" fmla="*/ 4098656 h 4841875"/>
              <a:gd name="connsiteX77" fmla="*/ 4542971 w 6561737"/>
              <a:gd name="connsiteY77" fmla="*/ 4095799 h 4841875"/>
              <a:gd name="connsiteX78" fmla="*/ 4548650 w 6561737"/>
              <a:gd name="connsiteY78" fmla="*/ 4093259 h 4841875"/>
              <a:gd name="connsiteX79" fmla="*/ 4553661 w 6561737"/>
              <a:gd name="connsiteY79" fmla="*/ 4089767 h 4841875"/>
              <a:gd name="connsiteX80" fmla="*/ 4558672 w 6561737"/>
              <a:gd name="connsiteY80" fmla="*/ 4086275 h 4841875"/>
              <a:gd name="connsiteX81" fmla="*/ 4563683 w 6561737"/>
              <a:gd name="connsiteY81" fmla="*/ 4082465 h 4841875"/>
              <a:gd name="connsiteX82" fmla="*/ 4568360 w 6561737"/>
              <a:gd name="connsiteY82" fmla="*/ 4078338 h 4841875"/>
              <a:gd name="connsiteX83" fmla="*/ 4572704 w 6561737"/>
              <a:gd name="connsiteY83" fmla="*/ 4073893 h 4841875"/>
              <a:gd name="connsiteX84" fmla="*/ 4577381 w 6561737"/>
              <a:gd name="connsiteY84" fmla="*/ 4069448 h 4841875"/>
              <a:gd name="connsiteX85" fmla="*/ 4581389 w 6561737"/>
              <a:gd name="connsiteY85" fmla="*/ 4064686 h 4841875"/>
              <a:gd name="connsiteX86" fmla="*/ 4585064 w 6561737"/>
              <a:gd name="connsiteY86" fmla="*/ 4059606 h 4841875"/>
              <a:gd name="connsiteX87" fmla="*/ 4588738 w 6561737"/>
              <a:gd name="connsiteY87" fmla="*/ 4054844 h 4841875"/>
              <a:gd name="connsiteX88" fmla="*/ 4592079 w 6561737"/>
              <a:gd name="connsiteY88" fmla="*/ 4049447 h 4841875"/>
              <a:gd name="connsiteX89" fmla="*/ 4595086 w 6561737"/>
              <a:gd name="connsiteY89" fmla="*/ 4044367 h 4841875"/>
              <a:gd name="connsiteX90" fmla="*/ 4597424 w 6561737"/>
              <a:gd name="connsiteY90" fmla="*/ 4038653 h 4841875"/>
              <a:gd name="connsiteX91" fmla="*/ 4599763 w 6561737"/>
              <a:gd name="connsiteY91" fmla="*/ 4033256 h 4841875"/>
              <a:gd name="connsiteX92" fmla="*/ 4602101 w 6561737"/>
              <a:gd name="connsiteY92" fmla="*/ 4027859 h 4841875"/>
              <a:gd name="connsiteX93" fmla="*/ 4604106 w 6561737"/>
              <a:gd name="connsiteY93" fmla="*/ 4022144 h 4841875"/>
              <a:gd name="connsiteX94" fmla="*/ 4605776 w 6561737"/>
              <a:gd name="connsiteY94" fmla="*/ 4016112 h 4841875"/>
              <a:gd name="connsiteX95" fmla="*/ 4606778 w 6561737"/>
              <a:gd name="connsiteY95" fmla="*/ 4010397 h 4841875"/>
              <a:gd name="connsiteX96" fmla="*/ 4607781 w 6561737"/>
              <a:gd name="connsiteY96" fmla="*/ 4004683 h 4841875"/>
              <a:gd name="connsiteX97" fmla="*/ 4608448 w 6561737"/>
              <a:gd name="connsiteY97" fmla="*/ 3998650 h 4841875"/>
              <a:gd name="connsiteX98" fmla="*/ 4608782 w 6561737"/>
              <a:gd name="connsiteY98" fmla="*/ 3992936 h 4841875"/>
              <a:gd name="connsiteX99" fmla="*/ 4609117 w 6561737"/>
              <a:gd name="connsiteY99" fmla="*/ 3987221 h 4841875"/>
              <a:gd name="connsiteX100" fmla="*/ 4608782 w 6561737"/>
              <a:gd name="connsiteY100" fmla="*/ 3980872 h 4841875"/>
              <a:gd name="connsiteX101" fmla="*/ 4608448 w 6561737"/>
              <a:gd name="connsiteY101" fmla="*/ 3975157 h 4841875"/>
              <a:gd name="connsiteX102" fmla="*/ 4607781 w 6561737"/>
              <a:gd name="connsiteY102" fmla="*/ 3969442 h 4841875"/>
              <a:gd name="connsiteX103" fmla="*/ 4606778 w 6561737"/>
              <a:gd name="connsiteY103" fmla="*/ 3963410 h 4841875"/>
              <a:gd name="connsiteX104" fmla="*/ 4605776 w 6561737"/>
              <a:gd name="connsiteY104" fmla="*/ 3957696 h 4841875"/>
              <a:gd name="connsiteX105" fmla="*/ 4604106 w 6561737"/>
              <a:gd name="connsiteY105" fmla="*/ 3951981 h 4841875"/>
              <a:gd name="connsiteX106" fmla="*/ 4602101 w 6561737"/>
              <a:gd name="connsiteY106" fmla="*/ 3946584 h 4841875"/>
              <a:gd name="connsiteX107" fmla="*/ 4599763 w 6561737"/>
              <a:gd name="connsiteY107" fmla="*/ 3940552 h 4841875"/>
              <a:gd name="connsiteX108" fmla="*/ 4597424 w 6561737"/>
              <a:gd name="connsiteY108" fmla="*/ 3935155 h 4841875"/>
              <a:gd name="connsiteX109" fmla="*/ 4595086 w 6561737"/>
              <a:gd name="connsiteY109" fmla="*/ 3929757 h 4841875"/>
              <a:gd name="connsiteX110" fmla="*/ 4592079 w 6561737"/>
              <a:gd name="connsiteY110" fmla="*/ 3924678 h 4841875"/>
              <a:gd name="connsiteX111" fmla="*/ 4588738 w 6561737"/>
              <a:gd name="connsiteY111" fmla="*/ 3919281 h 4841875"/>
              <a:gd name="connsiteX112" fmla="*/ 4585064 w 6561737"/>
              <a:gd name="connsiteY112" fmla="*/ 3914201 h 4841875"/>
              <a:gd name="connsiteX113" fmla="*/ 4581389 w 6561737"/>
              <a:gd name="connsiteY113" fmla="*/ 3909121 h 4841875"/>
              <a:gd name="connsiteX114" fmla="*/ 4577381 w 6561737"/>
              <a:gd name="connsiteY114" fmla="*/ 3904677 h 4841875"/>
              <a:gd name="connsiteX115" fmla="*/ 4572704 w 6561737"/>
              <a:gd name="connsiteY115" fmla="*/ 3899914 h 4841875"/>
              <a:gd name="connsiteX116" fmla="*/ 3276525 w 6561737"/>
              <a:gd name="connsiteY116" fmla="*/ 2605234 h 4841875"/>
              <a:gd name="connsiteX117" fmla="*/ 3272182 w 6561737"/>
              <a:gd name="connsiteY117" fmla="*/ 2600472 h 4841875"/>
              <a:gd name="connsiteX118" fmla="*/ 3268174 w 6561737"/>
              <a:gd name="connsiteY118" fmla="*/ 2596027 h 4841875"/>
              <a:gd name="connsiteX119" fmla="*/ 3264165 w 6561737"/>
              <a:gd name="connsiteY119" fmla="*/ 2590948 h 4841875"/>
              <a:gd name="connsiteX120" fmla="*/ 3260824 w 6561737"/>
              <a:gd name="connsiteY120" fmla="*/ 2585868 h 4841875"/>
              <a:gd name="connsiteX121" fmla="*/ 3257818 w 6561737"/>
              <a:gd name="connsiteY121" fmla="*/ 2580788 h 4841875"/>
              <a:gd name="connsiteX122" fmla="*/ 3254811 w 6561737"/>
              <a:gd name="connsiteY122" fmla="*/ 2575709 h 4841875"/>
              <a:gd name="connsiteX123" fmla="*/ 3252138 w 6561737"/>
              <a:gd name="connsiteY123" fmla="*/ 2569994 h 4841875"/>
              <a:gd name="connsiteX124" fmla="*/ 3249466 w 6561737"/>
              <a:gd name="connsiteY124" fmla="*/ 2564597 h 4841875"/>
              <a:gd name="connsiteX125" fmla="*/ 3247461 w 6561737"/>
              <a:gd name="connsiteY125" fmla="*/ 2558882 h 4841875"/>
              <a:gd name="connsiteX126" fmla="*/ 3245791 w 6561737"/>
              <a:gd name="connsiteY126" fmla="*/ 2553168 h 4841875"/>
              <a:gd name="connsiteX127" fmla="*/ 3244121 w 6561737"/>
              <a:gd name="connsiteY127" fmla="*/ 2547453 h 4841875"/>
              <a:gd name="connsiteX128" fmla="*/ 3242785 w 6561737"/>
              <a:gd name="connsiteY128" fmla="*/ 2541738 h 4841875"/>
              <a:gd name="connsiteX129" fmla="*/ 3241782 w 6561737"/>
              <a:gd name="connsiteY129" fmla="*/ 2536024 h 4841875"/>
              <a:gd name="connsiteX130" fmla="*/ 3241114 w 6561737"/>
              <a:gd name="connsiteY130" fmla="*/ 2529992 h 4841875"/>
              <a:gd name="connsiteX131" fmla="*/ 3240780 w 6561737"/>
              <a:gd name="connsiteY131" fmla="*/ 2524277 h 4841875"/>
              <a:gd name="connsiteX132" fmla="*/ 3240780 w 6561737"/>
              <a:gd name="connsiteY132" fmla="*/ 2518245 h 4841875"/>
              <a:gd name="connsiteX133" fmla="*/ 3240780 w 6561737"/>
              <a:gd name="connsiteY133" fmla="*/ 2512213 h 4841875"/>
              <a:gd name="connsiteX134" fmla="*/ 3241114 w 6561737"/>
              <a:gd name="connsiteY134" fmla="*/ 2506498 h 4841875"/>
              <a:gd name="connsiteX135" fmla="*/ 3241782 w 6561737"/>
              <a:gd name="connsiteY135" fmla="*/ 2500784 h 4841875"/>
              <a:gd name="connsiteX136" fmla="*/ 3242785 w 6561737"/>
              <a:gd name="connsiteY136" fmla="*/ 2494752 h 4841875"/>
              <a:gd name="connsiteX137" fmla="*/ 3244121 w 6561737"/>
              <a:gd name="connsiteY137" fmla="*/ 2489037 h 4841875"/>
              <a:gd name="connsiteX138" fmla="*/ 3245791 w 6561737"/>
              <a:gd name="connsiteY138" fmla="*/ 2483322 h 4841875"/>
              <a:gd name="connsiteX139" fmla="*/ 3247461 w 6561737"/>
              <a:gd name="connsiteY139" fmla="*/ 2477290 h 4841875"/>
              <a:gd name="connsiteX140" fmla="*/ 3249466 w 6561737"/>
              <a:gd name="connsiteY140" fmla="*/ 2471893 h 4841875"/>
              <a:gd name="connsiteX141" fmla="*/ 3252138 w 6561737"/>
              <a:gd name="connsiteY141" fmla="*/ 2466496 h 4841875"/>
              <a:gd name="connsiteX142" fmla="*/ 3254811 w 6561737"/>
              <a:gd name="connsiteY142" fmla="*/ 2461099 h 4841875"/>
              <a:gd name="connsiteX143" fmla="*/ 3257818 w 6561737"/>
              <a:gd name="connsiteY143" fmla="*/ 2455702 h 4841875"/>
              <a:gd name="connsiteX144" fmla="*/ 3260824 w 6561737"/>
              <a:gd name="connsiteY144" fmla="*/ 2450304 h 4841875"/>
              <a:gd name="connsiteX145" fmla="*/ 3264165 w 6561737"/>
              <a:gd name="connsiteY145" fmla="*/ 2445542 h 4841875"/>
              <a:gd name="connsiteX146" fmla="*/ 3268174 w 6561737"/>
              <a:gd name="connsiteY146" fmla="*/ 2440463 h 4841875"/>
              <a:gd name="connsiteX147" fmla="*/ 3272182 w 6561737"/>
              <a:gd name="connsiteY147" fmla="*/ 2435700 h 4841875"/>
              <a:gd name="connsiteX148" fmla="*/ 3276525 w 6561737"/>
              <a:gd name="connsiteY148" fmla="*/ 2431256 h 4841875"/>
              <a:gd name="connsiteX149" fmla="*/ 3281536 w 6561737"/>
              <a:gd name="connsiteY149" fmla="*/ 2426811 h 4841875"/>
              <a:gd name="connsiteX150" fmla="*/ 3285879 w 6561737"/>
              <a:gd name="connsiteY150" fmla="*/ 2422684 h 4841875"/>
              <a:gd name="connsiteX151" fmla="*/ 3290890 w 6561737"/>
              <a:gd name="connsiteY151" fmla="*/ 2418874 h 4841875"/>
              <a:gd name="connsiteX152" fmla="*/ 3296235 w 6561737"/>
              <a:gd name="connsiteY152" fmla="*/ 2415382 h 4841875"/>
              <a:gd name="connsiteX153" fmla="*/ 3301246 w 6561737"/>
              <a:gd name="connsiteY153" fmla="*/ 2412207 h 4841875"/>
              <a:gd name="connsiteX154" fmla="*/ 3306591 w 6561737"/>
              <a:gd name="connsiteY154" fmla="*/ 2409350 h 4841875"/>
              <a:gd name="connsiteX155" fmla="*/ 3311936 w 6561737"/>
              <a:gd name="connsiteY155" fmla="*/ 2406492 h 4841875"/>
              <a:gd name="connsiteX156" fmla="*/ 3317281 w 6561737"/>
              <a:gd name="connsiteY156" fmla="*/ 2404270 h 4841875"/>
              <a:gd name="connsiteX157" fmla="*/ 3323295 w 6561737"/>
              <a:gd name="connsiteY157" fmla="*/ 2402048 h 4841875"/>
              <a:gd name="connsiteX158" fmla="*/ 3328640 w 6561737"/>
              <a:gd name="connsiteY158" fmla="*/ 2400143 h 4841875"/>
              <a:gd name="connsiteX159" fmla="*/ 3334653 w 6561737"/>
              <a:gd name="connsiteY159" fmla="*/ 2398873 h 4841875"/>
              <a:gd name="connsiteX160" fmla="*/ 3340332 w 6561737"/>
              <a:gd name="connsiteY160" fmla="*/ 2397285 h 4841875"/>
              <a:gd name="connsiteX161" fmla="*/ 3346011 w 6561737"/>
              <a:gd name="connsiteY161" fmla="*/ 2396333 h 4841875"/>
              <a:gd name="connsiteX162" fmla="*/ 3352024 w 6561737"/>
              <a:gd name="connsiteY162" fmla="*/ 2395698 h 4841875"/>
              <a:gd name="connsiteX163" fmla="*/ 3357703 w 6561737"/>
              <a:gd name="connsiteY163" fmla="*/ 2395381 h 4841875"/>
              <a:gd name="connsiteX164" fmla="*/ 3364051 w 6561737"/>
              <a:gd name="connsiteY164" fmla="*/ 2395381 h 4841875"/>
              <a:gd name="connsiteX165" fmla="*/ 3369730 w 6561737"/>
              <a:gd name="connsiteY165" fmla="*/ 2395381 h 4841875"/>
              <a:gd name="connsiteX166" fmla="*/ 3375743 w 6561737"/>
              <a:gd name="connsiteY166" fmla="*/ 2395698 h 4841875"/>
              <a:gd name="connsiteX167" fmla="*/ 3381422 w 6561737"/>
              <a:gd name="connsiteY167" fmla="*/ 2396333 h 4841875"/>
              <a:gd name="connsiteX168" fmla="*/ 3387101 w 6561737"/>
              <a:gd name="connsiteY168" fmla="*/ 2397285 h 4841875"/>
              <a:gd name="connsiteX169" fmla="*/ 3393114 w 6561737"/>
              <a:gd name="connsiteY169" fmla="*/ 2398873 h 4841875"/>
              <a:gd name="connsiteX170" fmla="*/ 3398794 w 6561737"/>
              <a:gd name="connsiteY170" fmla="*/ 2400143 h 4841875"/>
              <a:gd name="connsiteX171" fmla="*/ 3404807 w 6561737"/>
              <a:gd name="connsiteY171" fmla="*/ 2402048 h 4841875"/>
              <a:gd name="connsiteX172" fmla="*/ 3410152 w 6561737"/>
              <a:gd name="connsiteY172" fmla="*/ 2404270 h 4841875"/>
              <a:gd name="connsiteX173" fmla="*/ 3415831 w 6561737"/>
              <a:gd name="connsiteY173" fmla="*/ 2406492 h 4841875"/>
              <a:gd name="connsiteX174" fmla="*/ 3421176 w 6561737"/>
              <a:gd name="connsiteY174" fmla="*/ 2409350 h 4841875"/>
              <a:gd name="connsiteX175" fmla="*/ 3426187 w 6561737"/>
              <a:gd name="connsiteY175" fmla="*/ 2412207 h 4841875"/>
              <a:gd name="connsiteX176" fmla="*/ 3431866 w 6561737"/>
              <a:gd name="connsiteY176" fmla="*/ 2415382 h 4841875"/>
              <a:gd name="connsiteX177" fmla="*/ 3436543 w 6561737"/>
              <a:gd name="connsiteY177" fmla="*/ 2418874 h 4841875"/>
              <a:gd name="connsiteX178" fmla="*/ 3441554 w 6561737"/>
              <a:gd name="connsiteY178" fmla="*/ 2422684 h 4841875"/>
              <a:gd name="connsiteX179" fmla="*/ 3446565 w 6561737"/>
              <a:gd name="connsiteY179" fmla="*/ 2426811 h 4841875"/>
              <a:gd name="connsiteX180" fmla="*/ 3450908 w 6561737"/>
              <a:gd name="connsiteY180" fmla="*/ 2431256 h 4841875"/>
              <a:gd name="connsiteX181" fmla="*/ 4169819 w 6561737"/>
              <a:gd name="connsiteY181" fmla="*/ 3149076 h 4841875"/>
              <a:gd name="connsiteX182" fmla="*/ 4174496 w 6561737"/>
              <a:gd name="connsiteY182" fmla="*/ 3153521 h 4841875"/>
              <a:gd name="connsiteX183" fmla="*/ 4179173 w 6561737"/>
              <a:gd name="connsiteY183" fmla="*/ 3157648 h 4841875"/>
              <a:gd name="connsiteX184" fmla="*/ 4184184 w 6561737"/>
              <a:gd name="connsiteY184" fmla="*/ 3161458 h 4841875"/>
              <a:gd name="connsiteX185" fmla="*/ 4189195 w 6561737"/>
              <a:gd name="connsiteY185" fmla="*/ 3164950 h 4841875"/>
              <a:gd name="connsiteX186" fmla="*/ 4194540 w 6561737"/>
              <a:gd name="connsiteY186" fmla="*/ 3168442 h 4841875"/>
              <a:gd name="connsiteX187" fmla="*/ 4199551 w 6561737"/>
              <a:gd name="connsiteY187" fmla="*/ 3170982 h 4841875"/>
              <a:gd name="connsiteX188" fmla="*/ 4204896 w 6561737"/>
              <a:gd name="connsiteY188" fmla="*/ 3173840 h 4841875"/>
              <a:gd name="connsiteX189" fmla="*/ 4210576 w 6561737"/>
              <a:gd name="connsiteY189" fmla="*/ 3176062 h 4841875"/>
              <a:gd name="connsiteX190" fmla="*/ 4216255 w 6561737"/>
              <a:gd name="connsiteY190" fmla="*/ 3178284 h 4841875"/>
              <a:gd name="connsiteX191" fmla="*/ 4221934 w 6561737"/>
              <a:gd name="connsiteY191" fmla="*/ 3180189 h 4841875"/>
              <a:gd name="connsiteX192" fmla="*/ 4227613 w 6561737"/>
              <a:gd name="connsiteY192" fmla="*/ 3181776 h 4841875"/>
              <a:gd name="connsiteX193" fmla="*/ 4233292 w 6561737"/>
              <a:gd name="connsiteY193" fmla="*/ 3183046 h 4841875"/>
              <a:gd name="connsiteX194" fmla="*/ 4239305 w 6561737"/>
              <a:gd name="connsiteY194" fmla="*/ 3183999 h 4841875"/>
              <a:gd name="connsiteX195" fmla="*/ 4244984 w 6561737"/>
              <a:gd name="connsiteY195" fmla="*/ 3184634 h 4841875"/>
              <a:gd name="connsiteX196" fmla="*/ 4250998 w 6561737"/>
              <a:gd name="connsiteY196" fmla="*/ 3184951 h 4841875"/>
              <a:gd name="connsiteX197" fmla="*/ 4257011 w 6561737"/>
              <a:gd name="connsiteY197" fmla="*/ 3185269 h 4841875"/>
              <a:gd name="connsiteX198" fmla="*/ 4263024 w 6561737"/>
              <a:gd name="connsiteY198" fmla="*/ 3184951 h 4841875"/>
              <a:gd name="connsiteX199" fmla="*/ 4268703 w 6561737"/>
              <a:gd name="connsiteY199" fmla="*/ 3184634 h 4841875"/>
              <a:gd name="connsiteX200" fmla="*/ 4274382 w 6561737"/>
              <a:gd name="connsiteY200" fmla="*/ 3183999 h 4841875"/>
              <a:gd name="connsiteX201" fmla="*/ 4280395 w 6561737"/>
              <a:gd name="connsiteY201" fmla="*/ 3183046 h 4841875"/>
              <a:gd name="connsiteX202" fmla="*/ 4286075 w 6561737"/>
              <a:gd name="connsiteY202" fmla="*/ 3181776 h 4841875"/>
              <a:gd name="connsiteX203" fmla="*/ 4292088 w 6561737"/>
              <a:gd name="connsiteY203" fmla="*/ 3180189 h 4841875"/>
              <a:gd name="connsiteX204" fmla="*/ 4297767 w 6561737"/>
              <a:gd name="connsiteY204" fmla="*/ 3178284 h 4841875"/>
              <a:gd name="connsiteX205" fmla="*/ 4303446 w 6561737"/>
              <a:gd name="connsiteY205" fmla="*/ 3176062 h 4841875"/>
              <a:gd name="connsiteX206" fmla="*/ 4308791 w 6561737"/>
              <a:gd name="connsiteY206" fmla="*/ 3173840 h 4841875"/>
              <a:gd name="connsiteX207" fmla="*/ 4314136 w 6561737"/>
              <a:gd name="connsiteY207" fmla="*/ 3170982 h 4841875"/>
              <a:gd name="connsiteX208" fmla="*/ 4319815 w 6561737"/>
              <a:gd name="connsiteY208" fmla="*/ 3168442 h 4841875"/>
              <a:gd name="connsiteX209" fmla="*/ 4324826 w 6561737"/>
              <a:gd name="connsiteY209" fmla="*/ 3164950 h 4841875"/>
              <a:gd name="connsiteX210" fmla="*/ 4329503 w 6561737"/>
              <a:gd name="connsiteY210" fmla="*/ 3161458 h 4841875"/>
              <a:gd name="connsiteX211" fmla="*/ 4334848 w 6561737"/>
              <a:gd name="connsiteY211" fmla="*/ 3157648 h 4841875"/>
              <a:gd name="connsiteX212" fmla="*/ 4339525 w 6561737"/>
              <a:gd name="connsiteY212" fmla="*/ 3153521 h 4841875"/>
              <a:gd name="connsiteX213" fmla="*/ 4344202 w 6561737"/>
              <a:gd name="connsiteY213" fmla="*/ 3149076 h 4841875"/>
              <a:gd name="connsiteX214" fmla="*/ 4348545 w 6561737"/>
              <a:gd name="connsiteY214" fmla="*/ 3144631 h 4841875"/>
              <a:gd name="connsiteX215" fmla="*/ 4352554 w 6561737"/>
              <a:gd name="connsiteY215" fmla="*/ 3139869 h 4841875"/>
              <a:gd name="connsiteX216" fmla="*/ 4356228 w 6561737"/>
              <a:gd name="connsiteY216" fmla="*/ 3134790 h 4841875"/>
              <a:gd name="connsiteX217" fmla="*/ 4359903 w 6561737"/>
              <a:gd name="connsiteY217" fmla="*/ 3130027 h 4841875"/>
              <a:gd name="connsiteX218" fmla="*/ 4363244 w 6561737"/>
              <a:gd name="connsiteY218" fmla="*/ 3124948 h 4841875"/>
              <a:gd name="connsiteX219" fmla="*/ 4365916 w 6561737"/>
              <a:gd name="connsiteY219" fmla="*/ 3119551 h 4841875"/>
              <a:gd name="connsiteX220" fmla="*/ 4368589 w 6561737"/>
              <a:gd name="connsiteY220" fmla="*/ 3113836 h 4841875"/>
              <a:gd name="connsiteX221" fmla="*/ 4371261 w 6561737"/>
              <a:gd name="connsiteY221" fmla="*/ 3108439 h 4841875"/>
              <a:gd name="connsiteX222" fmla="*/ 4373266 w 6561737"/>
              <a:gd name="connsiteY222" fmla="*/ 3103042 h 4841875"/>
              <a:gd name="connsiteX223" fmla="*/ 4375270 w 6561737"/>
              <a:gd name="connsiteY223" fmla="*/ 3097010 h 4841875"/>
              <a:gd name="connsiteX224" fmla="*/ 4376606 w 6561737"/>
              <a:gd name="connsiteY224" fmla="*/ 3091295 h 4841875"/>
              <a:gd name="connsiteX225" fmla="*/ 4377943 w 6561737"/>
              <a:gd name="connsiteY225" fmla="*/ 3085580 h 4841875"/>
              <a:gd name="connsiteX226" fmla="*/ 4378945 w 6561737"/>
              <a:gd name="connsiteY226" fmla="*/ 3079866 h 4841875"/>
              <a:gd name="connsiteX227" fmla="*/ 4379613 w 6561737"/>
              <a:gd name="connsiteY227" fmla="*/ 3073834 h 4841875"/>
              <a:gd name="connsiteX228" fmla="*/ 4379947 w 6561737"/>
              <a:gd name="connsiteY228" fmla="*/ 3068119 h 4841875"/>
              <a:gd name="connsiteX229" fmla="*/ 4380281 w 6561737"/>
              <a:gd name="connsiteY229" fmla="*/ 3062404 h 4841875"/>
              <a:gd name="connsiteX230" fmla="*/ 4379947 w 6561737"/>
              <a:gd name="connsiteY230" fmla="*/ 3056055 h 4841875"/>
              <a:gd name="connsiteX231" fmla="*/ 4379613 w 6561737"/>
              <a:gd name="connsiteY231" fmla="*/ 3050340 h 4841875"/>
              <a:gd name="connsiteX232" fmla="*/ 4378945 w 6561737"/>
              <a:gd name="connsiteY232" fmla="*/ 3044625 h 4841875"/>
              <a:gd name="connsiteX233" fmla="*/ 4377943 w 6561737"/>
              <a:gd name="connsiteY233" fmla="*/ 3038593 h 4841875"/>
              <a:gd name="connsiteX234" fmla="*/ 4376606 w 6561737"/>
              <a:gd name="connsiteY234" fmla="*/ 3032879 h 4841875"/>
              <a:gd name="connsiteX235" fmla="*/ 4375270 w 6561737"/>
              <a:gd name="connsiteY235" fmla="*/ 3027164 h 4841875"/>
              <a:gd name="connsiteX236" fmla="*/ 4373266 w 6561737"/>
              <a:gd name="connsiteY236" fmla="*/ 3021449 h 4841875"/>
              <a:gd name="connsiteX237" fmla="*/ 4371261 w 6561737"/>
              <a:gd name="connsiteY237" fmla="*/ 3015735 h 4841875"/>
              <a:gd name="connsiteX238" fmla="*/ 4368589 w 6561737"/>
              <a:gd name="connsiteY238" fmla="*/ 3010338 h 4841875"/>
              <a:gd name="connsiteX239" fmla="*/ 4365916 w 6561737"/>
              <a:gd name="connsiteY239" fmla="*/ 3004941 h 4841875"/>
              <a:gd name="connsiteX240" fmla="*/ 4363244 w 6561737"/>
              <a:gd name="connsiteY240" fmla="*/ 2999543 h 4841875"/>
              <a:gd name="connsiteX241" fmla="*/ 4359903 w 6561737"/>
              <a:gd name="connsiteY241" fmla="*/ 2994464 h 4841875"/>
              <a:gd name="connsiteX242" fmla="*/ 4356228 w 6561737"/>
              <a:gd name="connsiteY242" fmla="*/ 2989384 h 4841875"/>
              <a:gd name="connsiteX243" fmla="*/ 4352554 w 6561737"/>
              <a:gd name="connsiteY243" fmla="*/ 2984622 h 4841875"/>
              <a:gd name="connsiteX244" fmla="*/ 4348545 w 6561737"/>
              <a:gd name="connsiteY244" fmla="*/ 2979860 h 4841875"/>
              <a:gd name="connsiteX245" fmla="*/ 4344202 w 6561737"/>
              <a:gd name="connsiteY245" fmla="*/ 2975098 h 4841875"/>
              <a:gd name="connsiteX246" fmla="*/ 4244650 w 6561737"/>
              <a:gd name="connsiteY246" fmla="*/ 2875727 h 4841875"/>
              <a:gd name="connsiteX247" fmla="*/ 3995771 w 6561737"/>
              <a:gd name="connsiteY247" fmla="*/ 2627140 h 4841875"/>
              <a:gd name="connsiteX248" fmla="*/ 3991428 w 6561737"/>
              <a:gd name="connsiteY248" fmla="*/ 2622696 h 4841875"/>
              <a:gd name="connsiteX249" fmla="*/ 3987419 w 6561737"/>
              <a:gd name="connsiteY249" fmla="*/ 2617933 h 4841875"/>
              <a:gd name="connsiteX250" fmla="*/ 3983410 w 6561737"/>
              <a:gd name="connsiteY250" fmla="*/ 2613171 h 4841875"/>
              <a:gd name="connsiteX251" fmla="*/ 3980070 w 6561737"/>
              <a:gd name="connsiteY251" fmla="*/ 2608092 h 4841875"/>
              <a:gd name="connsiteX252" fmla="*/ 3977063 w 6561737"/>
              <a:gd name="connsiteY252" fmla="*/ 2603012 h 4841875"/>
              <a:gd name="connsiteX253" fmla="*/ 3973722 w 6561737"/>
              <a:gd name="connsiteY253" fmla="*/ 2597297 h 4841875"/>
              <a:gd name="connsiteX254" fmla="*/ 3971050 w 6561737"/>
              <a:gd name="connsiteY254" fmla="*/ 2591900 h 4841875"/>
              <a:gd name="connsiteX255" fmla="*/ 3968711 w 6561737"/>
              <a:gd name="connsiteY255" fmla="*/ 2586503 h 4841875"/>
              <a:gd name="connsiteX256" fmla="*/ 3966707 w 6561737"/>
              <a:gd name="connsiteY256" fmla="*/ 2581106 h 4841875"/>
              <a:gd name="connsiteX257" fmla="*/ 3965037 w 6561737"/>
              <a:gd name="connsiteY257" fmla="*/ 2575074 h 4841875"/>
              <a:gd name="connsiteX258" fmla="*/ 3963366 w 6561737"/>
              <a:gd name="connsiteY258" fmla="*/ 2569677 h 4841875"/>
              <a:gd name="connsiteX259" fmla="*/ 3962030 w 6561737"/>
              <a:gd name="connsiteY259" fmla="*/ 2563962 h 4841875"/>
              <a:gd name="connsiteX260" fmla="*/ 3961028 w 6561737"/>
              <a:gd name="connsiteY260" fmla="*/ 2558247 h 4841875"/>
              <a:gd name="connsiteX261" fmla="*/ 3960026 w 6561737"/>
              <a:gd name="connsiteY261" fmla="*/ 2551898 h 4841875"/>
              <a:gd name="connsiteX262" fmla="*/ 3959691 w 6561737"/>
              <a:gd name="connsiteY262" fmla="*/ 2546183 h 4841875"/>
              <a:gd name="connsiteX263" fmla="*/ 3959691 w 6561737"/>
              <a:gd name="connsiteY263" fmla="*/ 2540469 h 4841875"/>
              <a:gd name="connsiteX264" fmla="*/ 3959691 w 6561737"/>
              <a:gd name="connsiteY264" fmla="*/ 2534436 h 4841875"/>
              <a:gd name="connsiteX265" fmla="*/ 3960026 w 6561737"/>
              <a:gd name="connsiteY265" fmla="*/ 2528404 h 4841875"/>
              <a:gd name="connsiteX266" fmla="*/ 3961028 w 6561737"/>
              <a:gd name="connsiteY266" fmla="*/ 2522690 h 4841875"/>
              <a:gd name="connsiteX267" fmla="*/ 3962030 w 6561737"/>
              <a:gd name="connsiteY267" fmla="*/ 2516658 h 4841875"/>
              <a:gd name="connsiteX268" fmla="*/ 3963366 w 6561737"/>
              <a:gd name="connsiteY268" fmla="*/ 2510943 h 4841875"/>
              <a:gd name="connsiteX269" fmla="*/ 3965037 w 6561737"/>
              <a:gd name="connsiteY269" fmla="*/ 2505228 h 4841875"/>
              <a:gd name="connsiteX270" fmla="*/ 3966707 w 6561737"/>
              <a:gd name="connsiteY270" fmla="*/ 2499514 h 4841875"/>
              <a:gd name="connsiteX271" fmla="*/ 3968711 w 6561737"/>
              <a:gd name="connsiteY271" fmla="*/ 2494117 h 4841875"/>
              <a:gd name="connsiteX272" fmla="*/ 3971050 w 6561737"/>
              <a:gd name="connsiteY272" fmla="*/ 2488402 h 4841875"/>
              <a:gd name="connsiteX273" fmla="*/ 3973722 w 6561737"/>
              <a:gd name="connsiteY273" fmla="*/ 2483322 h 4841875"/>
              <a:gd name="connsiteX274" fmla="*/ 3977063 w 6561737"/>
              <a:gd name="connsiteY274" fmla="*/ 2477608 h 4841875"/>
              <a:gd name="connsiteX275" fmla="*/ 3980070 w 6561737"/>
              <a:gd name="connsiteY275" fmla="*/ 2472528 h 4841875"/>
              <a:gd name="connsiteX276" fmla="*/ 3983410 w 6561737"/>
              <a:gd name="connsiteY276" fmla="*/ 2467448 h 4841875"/>
              <a:gd name="connsiteX277" fmla="*/ 3987419 w 6561737"/>
              <a:gd name="connsiteY277" fmla="*/ 2462686 h 4841875"/>
              <a:gd name="connsiteX278" fmla="*/ 3991428 w 6561737"/>
              <a:gd name="connsiteY278" fmla="*/ 2457924 h 4841875"/>
              <a:gd name="connsiteX279" fmla="*/ 3995771 w 6561737"/>
              <a:gd name="connsiteY279" fmla="*/ 2453162 h 4841875"/>
              <a:gd name="connsiteX280" fmla="*/ 4000448 w 6561737"/>
              <a:gd name="connsiteY280" fmla="*/ 2449035 h 4841875"/>
              <a:gd name="connsiteX281" fmla="*/ 4005459 w 6561737"/>
              <a:gd name="connsiteY281" fmla="*/ 2444907 h 4841875"/>
              <a:gd name="connsiteX282" fmla="*/ 4010135 w 6561737"/>
              <a:gd name="connsiteY282" fmla="*/ 2441098 h 4841875"/>
              <a:gd name="connsiteX283" fmla="*/ 4015146 w 6561737"/>
              <a:gd name="connsiteY283" fmla="*/ 2437288 h 4841875"/>
              <a:gd name="connsiteX284" fmla="*/ 4020492 w 6561737"/>
              <a:gd name="connsiteY284" fmla="*/ 2434430 h 4841875"/>
              <a:gd name="connsiteX285" fmla="*/ 4025503 w 6561737"/>
              <a:gd name="connsiteY285" fmla="*/ 2431256 h 4841875"/>
              <a:gd name="connsiteX286" fmla="*/ 4031182 w 6561737"/>
              <a:gd name="connsiteY286" fmla="*/ 2428398 h 4841875"/>
              <a:gd name="connsiteX287" fmla="*/ 4036527 w 6561737"/>
              <a:gd name="connsiteY287" fmla="*/ 2426176 h 4841875"/>
              <a:gd name="connsiteX288" fmla="*/ 4042206 w 6561737"/>
              <a:gd name="connsiteY288" fmla="*/ 2423954 h 4841875"/>
              <a:gd name="connsiteX289" fmla="*/ 4047885 w 6561737"/>
              <a:gd name="connsiteY289" fmla="*/ 2422366 h 4841875"/>
              <a:gd name="connsiteX290" fmla="*/ 4053564 w 6561737"/>
              <a:gd name="connsiteY290" fmla="*/ 2420461 h 4841875"/>
              <a:gd name="connsiteX291" fmla="*/ 4059577 w 6561737"/>
              <a:gd name="connsiteY291" fmla="*/ 2419509 h 4841875"/>
              <a:gd name="connsiteX292" fmla="*/ 4065256 w 6561737"/>
              <a:gd name="connsiteY292" fmla="*/ 2418557 h 4841875"/>
              <a:gd name="connsiteX293" fmla="*/ 4071270 w 6561737"/>
              <a:gd name="connsiteY293" fmla="*/ 2417922 h 4841875"/>
              <a:gd name="connsiteX294" fmla="*/ 4076949 w 6561737"/>
              <a:gd name="connsiteY294" fmla="*/ 2417287 h 4841875"/>
              <a:gd name="connsiteX295" fmla="*/ 4082962 w 6561737"/>
              <a:gd name="connsiteY295" fmla="*/ 2417287 h 4841875"/>
              <a:gd name="connsiteX296" fmla="*/ 4088975 w 6561737"/>
              <a:gd name="connsiteY296" fmla="*/ 2417287 h 4841875"/>
              <a:gd name="connsiteX297" fmla="*/ 4094654 w 6561737"/>
              <a:gd name="connsiteY297" fmla="*/ 2417922 h 4841875"/>
              <a:gd name="connsiteX298" fmla="*/ 4100668 w 6561737"/>
              <a:gd name="connsiteY298" fmla="*/ 2418557 h 4841875"/>
              <a:gd name="connsiteX299" fmla="*/ 4106347 w 6561737"/>
              <a:gd name="connsiteY299" fmla="*/ 2419509 h 4841875"/>
              <a:gd name="connsiteX300" fmla="*/ 4112360 w 6561737"/>
              <a:gd name="connsiteY300" fmla="*/ 2420461 h 4841875"/>
              <a:gd name="connsiteX301" fmla="*/ 4118039 w 6561737"/>
              <a:gd name="connsiteY301" fmla="*/ 2422366 h 4841875"/>
              <a:gd name="connsiteX302" fmla="*/ 4123718 w 6561737"/>
              <a:gd name="connsiteY302" fmla="*/ 2423954 h 4841875"/>
              <a:gd name="connsiteX303" fmla="*/ 4129397 w 6561737"/>
              <a:gd name="connsiteY303" fmla="*/ 2426176 h 4841875"/>
              <a:gd name="connsiteX304" fmla="*/ 4134742 w 6561737"/>
              <a:gd name="connsiteY304" fmla="*/ 2428398 h 4841875"/>
              <a:gd name="connsiteX305" fmla="*/ 4140421 w 6561737"/>
              <a:gd name="connsiteY305" fmla="*/ 2431256 h 4841875"/>
              <a:gd name="connsiteX306" fmla="*/ 4145767 w 6561737"/>
              <a:gd name="connsiteY306" fmla="*/ 2434430 h 4841875"/>
              <a:gd name="connsiteX307" fmla="*/ 4150778 w 6561737"/>
              <a:gd name="connsiteY307" fmla="*/ 2437288 h 4841875"/>
              <a:gd name="connsiteX308" fmla="*/ 4155789 w 6561737"/>
              <a:gd name="connsiteY308" fmla="*/ 2441098 h 4841875"/>
              <a:gd name="connsiteX309" fmla="*/ 4160800 w 6561737"/>
              <a:gd name="connsiteY309" fmla="*/ 2444907 h 4841875"/>
              <a:gd name="connsiteX310" fmla="*/ 4165476 w 6561737"/>
              <a:gd name="connsiteY310" fmla="*/ 2449035 h 4841875"/>
              <a:gd name="connsiteX311" fmla="*/ 4170153 w 6561737"/>
              <a:gd name="connsiteY311" fmla="*/ 2453162 h 4841875"/>
              <a:gd name="connsiteX312" fmla="*/ 4969908 w 6561737"/>
              <a:gd name="connsiteY312" fmla="*/ 3252257 h 4841875"/>
              <a:gd name="connsiteX313" fmla="*/ 6561736 w 6561737"/>
              <a:gd name="connsiteY313" fmla="*/ 4841875 h 4841875"/>
              <a:gd name="connsiteX314" fmla="*/ 6561736 w 6561737"/>
              <a:gd name="connsiteY314" fmla="*/ 4559209 h 4841875"/>
              <a:gd name="connsiteX315" fmla="*/ 6561737 w 6561737"/>
              <a:gd name="connsiteY315" fmla="*/ 4559210 h 4841875"/>
              <a:gd name="connsiteX316" fmla="*/ 6561737 w 6561737"/>
              <a:gd name="connsiteY316" fmla="*/ 4059791 h 4841875"/>
              <a:gd name="connsiteX317" fmla="*/ 6561736 w 6561737"/>
              <a:gd name="connsiteY317" fmla="*/ 0 h 4841875"/>
              <a:gd name="connsiteX0" fmla="*/ 6561736 w 6561737"/>
              <a:gd name="connsiteY0" fmla="*/ 0 h 4841875"/>
              <a:gd name="connsiteX1" fmla="*/ 0 w 6561737"/>
              <a:gd name="connsiteY1" fmla="*/ 0 h 4841875"/>
              <a:gd name="connsiteX2" fmla="*/ 2696252 w 6561737"/>
              <a:gd name="connsiteY2" fmla="*/ 2688414 h 4841875"/>
              <a:gd name="connsiteX3" fmla="*/ 2695583 w 6561737"/>
              <a:gd name="connsiteY3" fmla="*/ 2681112 h 4841875"/>
              <a:gd name="connsiteX4" fmla="*/ 2694915 w 6561737"/>
              <a:gd name="connsiteY4" fmla="*/ 2674127 h 4841875"/>
              <a:gd name="connsiteX5" fmla="*/ 2694915 w 6561737"/>
              <a:gd name="connsiteY5" fmla="*/ 2667143 h 4841875"/>
              <a:gd name="connsiteX6" fmla="*/ 2695249 w 6561737"/>
              <a:gd name="connsiteY6" fmla="*/ 2660158 h 4841875"/>
              <a:gd name="connsiteX7" fmla="*/ 2695918 w 6561737"/>
              <a:gd name="connsiteY7" fmla="*/ 2652856 h 4841875"/>
              <a:gd name="connsiteX8" fmla="*/ 2696920 w 6561737"/>
              <a:gd name="connsiteY8" fmla="*/ 2645872 h 4841875"/>
              <a:gd name="connsiteX9" fmla="*/ 2698590 w 6561737"/>
              <a:gd name="connsiteY9" fmla="*/ 2638887 h 4841875"/>
              <a:gd name="connsiteX10" fmla="*/ 2700260 w 6561737"/>
              <a:gd name="connsiteY10" fmla="*/ 2631903 h 4841875"/>
              <a:gd name="connsiteX11" fmla="*/ 2702599 w 6561737"/>
              <a:gd name="connsiteY11" fmla="*/ 2625235 h 4841875"/>
              <a:gd name="connsiteX12" fmla="*/ 2705605 w 6561737"/>
              <a:gd name="connsiteY12" fmla="*/ 2618568 h 4841875"/>
              <a:gd name="connsiteX13" fmla="*/ 2708946 w 6561737"/>
              <a:gd name="connsiteY13" fmla="*/ 2612219 h 4841875"/>
              <a:gd name="connsiteX14" fmla="*/ 2712287 w 6561737"/>
              <a:gd name="connsiteY14" fmla="*/ 2605552 h 4841875"/>
              <a:gd name="connsiteX15" fmla="*/ 2716296 w 6561737"/>
              <a:gd name="connsiteY15" fmla="*/ 2599520 h 4841875"/>
              <a:gd name="connsiteX16" fmla="*/ 2720973 w 6561737"/>
              <a:gd name="connsiteY16" fmla="*/ 2593488 h 4841875"/>
              <a:gd name="connsiteX17" fmla="*/ 2725649 w 6561737"/>
              <a:gd name="connsiteY17" fmla="*/ 2587773 h 4841875"/>
              <a:gd name="connsiteX18" fmla="*/ 2730660 w 6561737"/>
              <a:gd name="connsiteY18" fmla="*/ 2582058 h 4841875"/>
              <a:gd name="connsiteX19" fmla="*/ 2735337 w 6561737"/>
              <a:gd name="connsiteY19" fmla="*/ 2577931 h 4841875"/>
              <a:gd name="connsiteX20" fmla="*/ 2740014 w 6561737"/>
              <a:gd name="connsiteY20" fmla="*/ 2573804 h 4841875"/>
              <a:gd name="connsiteX21" fmla="*/ 2745025 w 6561737"/>
              <a:gd name="connsiteY21" fmla="*/ 2569994 h 4841875"/>
              <a:gd name="connsiteX22" fmla="*/ 2750036 w 6561737"/>
              <a:gd name="connsiteY22" fmla="*/ 2566184 h 4841875"/>
              <a:gd name="connsiteX23" fmla="*/ 2755381 w 6561737"/>
              <a:gd name="connsiteY23" fmla="*/ 2563327 h 4841875"/>
              <a:gd name="connsiteX24" fmla="*/ 2760726 w 6561737"/>
              <a:gd name="connsiteY24" fmla="*/ 2560152 h 4841875"/>
              <a:gd name="connsiteX25" fmla="*/ 2766072 w 6561737"/>
              <a:gd name="connsiteY25" fmla="*/ 2557295 h 4841875"/>
              <a:gd name="connsiteX26" fmla="*/ 2771417 w 6561737"/>
              <a:gd name="connsiteY26" fmla="*/ 2555073 h 4841875"/>
              <a:gd name="connsiteX27" fmla="*/ 2777096 w 6561737"/>
              <a:gd name="connsiteY27" fmla="*/ 2552850 h 4841875"/>
              <a:gd name="connsiteX28" fmla="*/ 2782775 w 6561737"/>
              <a:gd name="connsiteY28" fmla="*/ 2551263 h 4841875"/>
              <a:gd name="connsiteX29" fmla="*/ 2788788 w 6561737"/>
              <a:gd name="connsiteY29" fmla="*/ 2549675 h 4841875"/>
              <a:gd name="connsiteX30" fmla="*/ 2794467 w 6561737"/>
              <a:gd name="connsiteY30" fmla="*/ 2548406 h 4841875"/>
              <a:gd name="connsiteX31" fmla="*/ 2800146 w 6561737"/>
              <a:gd name="connsiteY31" fmla="*/ 2547453 h 4841875"/>
              <a:gd name="connsiteX32" fmla="*/ 2806159 w 6561737"/>
              <a:gd name="connsiteY32" fmla="*/ 2546818 h 4841875"/>
              <a:gd name="connsiteX33" fmla="*/ 2811839 w 6561737"/>
              <a:gd name="connsiteY33" fmla="*/ 2546183 h 4841875"/>
              <a:gd name="connsiteX34" fmla="*/ 2817852 w 6561737"/>
              <a:gd name="connsiteY34" fmla="*/ 2546183 h 4841875"/>
              <a:gd name="connsiteX35" fmla="*/ 2823865 w 6561737"/>
              <a:gd name="connsiteY35" fmla="*/ 2546183 h 4841875"/>
              <a:gd name="connsiteX36" fmla="*/ 2829878 w 6561737"/>
              <a:gd name="connsiteY36" fmla="*/ 2546818 h 4841875"/>
              <a:gd name="connsiteX37" fmla="*/ 2835557 w 6561737"/>
              <a:gd name="connsiteY37" fmla="*/ 2547453 h 4841875"/>
              <a:gd name="connsiteX38" fmla="*/ 2841236 w 6561737"/>
              <a:gd name="connsiteY38" fmla="*/ 2548406 h 4841875"/>
              <a:gd name="connsiteX39" fmla="*/ 2847250 w 6561737"/>
              <a:gd name="connsiteY39" fmla="*/ 2549675 h 4841875"/>
              <a:gd name="connsiteX40" fmla="*/ 2852929 w 6561737"/>
              <a:gd name="connsiteY40" fmla="*/ 2551263 h 4841875"/>
              <a:gd name="connsiteX41" fmla="*/ 2858608 w 6561737"/>
              <a:gd name="connsiteY41" fmla="*/ 2552850 h 4841875"/>
              <a:gd name="connsiteX42" fmla="*/ 2864287 w 6561737"/>
              <a:gd name="connsiteY42" fmla="*/ 2555073 h 4841875"/>
              <a:gd name="connsiteX43" fmla="*/ 2869966 w 6561737"/>
              <a:gd name="connsiteY43" fmla="*/ 2557295 h 4841875"/>
              <a:gd name="connsiteX44" fmla="*/ 2875311 w 6561737"/>
              <a:gd name="connsiteY44" fmla="*/ 2560152 h 4841875"/>
              <a:gd name="connsiteX45" fmla="*/ 2880322 w 6561737"/>
              <a:gd name="connsiteY45" fmla="*/ 2563327 h 4841875"/>
              <a:gd name="connsiteX46" fmla="*/ 2885667 w 6561737"/>
              <a:gd name="connsiteY46" fmla="*/ 2566184 h 4841875"/>
              <a:gd name="connsiteX47" fmla="*/ 2890678 w 6561737"/>
              <a:gd name="connsiteY47" fmla="*/ 2569994 h 4841875"/>
              <a:gd name="connsiteX48" fmla="*/ 2895689 w 6561737"/>
              <a:gd name="connsiteY48" fmla="*/ 2573804 h 4841875"/>
              <a:gd name="connsiteX49" fmla="*/ 2900366 w 6561737"/>
              <a:gd name="connsiteY49" fmla="*/ 2577931 h 4841875"/>
              <a:gd name="connsiteX50" fmla="*/ 2905043 w 6561737"/>
              <a:gd name="connsiteY50" fmla="*/ 2582058 h 4841875"/>
              <a:gd name="connsiteX51" fmla="*/ 4398989 w 6561737"/>
              <a:gd name="connsiteY51" fmla="*/ 4073893 h 4841875"/>
              <a:gd name="connsiteX52" fmla="*/ 4403332 w 6561737"/>
              <a:gd name="connsiteY52" fmla="*/ 4078338 h 4841875"/>
              <a:gd name="connsiteX53" fmla="*/ 4408009 w 6561737"/>
              <a:gd name="connsiteY53" fmla="*/ 4082465 h 4841875"/>
              <a:gd name="connsiteX54" fmla="*/ 4413020 w 6561737"/>
              <a:gd name="connsiteY54" fmla="*/ 4086275 h 4841875"/>
              <a:gd name="connsiteX55" fmla="*/ 4418031 w 6561737"/>
              <a:gd name="connsiteY55" fmla="*/ 4089767 h 4841875"/>
              <a:gd name="connsiteX56" fmla="*/ 4423042 w 6561737"/>
              <a:gd name="connsiteY56" fmla="*/ 4093259 h 4841875"/>
              <a:gd name="connsiteX57" fmla="*/ 4428721 w 6561737"/>
              <a:gd name="connsiteY57" fmla="*/ 4095799 h 4841875"/>
              <a:gd name="connsiteX58" fmla="*/ 4433732 w 6561737"/>
              <a:gd name="connsiteY58" fmla="*/ 4098656 h 4841875"/>
              <a:gd name="connsiteX59" fmla="*/ 4439745 w 6561737"/>
              <a:gd name="connsiteY59" fmla="*/ 4101196 h 4841875"/>
              <a:gd name="connsiteX60" fmla="*/ 4445090 w 6561737"/>
              <a:gd name="connsiteY60" fmla="*/ 4103101 h 4841875"/>
              <a:gd name="connsiteX61" fmla="*/ 4450769 w 6561737"/>
              <a:gd name="connsiteY61" fmla="*/ 4105006 h 4841875"/>
              <a:gd name="connsiteX62" fmla="*/ 4456449 w 6561737"/>
              <a:gd name="connsiteY62" fmla="*/ 4106593 h 4841875"/>
              <a:gd name="connsiteX63" fmla="*/ 4462127 w 6561737"/>
              <a:gd name="connsiteY63" fmla="*/ 4107863 h 4841875"/>
              <a:gd name="connsiteX64" fmla="*/ 4468140 w 6561737"/>
              <a:gd name="connsiteY64" fmla="*/ 4108816 h 4841875"/>
              <a:gd name="connsiteX65" fmla="*/ 4474154 w 6561737"/>
              <a:gd name="connsiteY65" fmla="*/ 4109451 h 4841875"/>
              <a:gd name="connsiteX66" fmla="*/ 4480167 w 6561737"/>
              <a:gd name="connsiteY66" fmla="*/ 4110086 h 4841875"/>
              <a:gd name="connsiteX67" fmla="*/ 4485846 w 6561737"/>
              <a:gd name="connsiteY67" fmla="*/ 4110086 h 4841875"/>
              <a:gd name="connsiteX68" fmla="*/ 4491526 w 6561737"/>
              <a:gd name="connsiteY68" fmla="*/ 4110086 h 4841875"/>
              <a:gd name="connsiteX69" fmla="*/ 4497538 w 6561737"/>
              <a:gd name="connsiteY69" fmla="*/ 4109451 h 4841875"/>
              <a:gd name="connsiteX70" fmla="*/ 4503551 w 6561737"/>
              <a:gd name="connsiteY70" fmla="*/ 4108816 h 4841875"/>
              <a:gd name="connsiteX71" fmla="*/ 4509565 w 6561737"/>
              <a:gd name="connsiteY71" fmla="*/ 4107863 h 4841875"/>
              <a:gd name="connsiteX72" fmla="*/ 4515244 w 6561737"/>
              <a:gd name="connsiteY72" fmla="*/ 4106593 h 4841875"/>
              <a:gd name="connsiteX73" fmla="*/ 4520589 w 6561737"/>
              <a:gd name="connsiteY73" fmla="*/ 4105006 h 4841875"/>
              <a:gd name="connsiteX74" fmla="*/ 4526602 w 6561737"/>
              <a:gd name="connsiteY74" fmla="*/ 4103101 h 4841875"/>
              <a:gd name="connsiteX75" fmla="*/ 4531948 w 6561737"/>
              <a:gd name="connsiteY75" fmla="*/ 4101196 h 4841875"/>
              <a:gd name="connsiteX76" fmla="*/ 4537960 w 6561737"/>
              <a:gd name="connsiteY76" fmla="*/ 4098656 h 4841875"/>
              <a:gd name="connsiteX77" fmla="*/ 4542971 w 6561737"/>
              <a:gd name="connsiteY77" fmla="*/ 4095799 h 4841875"/>
              <a:gd name="connsiteX78" fmla="*/ 4548650 w 6561737"/>
              <a:gd name="connsiteY78" fmla="*/ 4093259 h 4841875"/>
              <a:gd name="connsiteX79" fmla="*/ 4553661 w 6561737"/>
              <a:gd name="connsiteY79" fmla="*/ 4089767 h 4841875"/>
              <a:gd name="connsiteX80" fmla="*/ 4558672 w 6561737"/>
              <a:gd name="connsiteY80" fmla="*/ 4086275 h 4841875"/>
              <a:gd name="connsiteX81" fmla="*/ 4563683 w 6561737"/>
              <a:gd name="connsiteY81" fmla="*/ 4082465 h 4841875"/>
              <a:gd name="connsiteX82" fmla="*/ 4568360 w 6561737"/>
              <a:gd name="connsiteY82" fmla="*/ 4078338 h 4841875"/>
              <a:gd name="connsiteX83" fmla="*/ 4572704 w 6561737"/>
              <a:gd name="connsiteY83" fmla="*/ 4073893 h 4841875"/>
              <a:gd name="connsiteX84" fmla="*/ 4577381 w 6561737"/>
              <a:gd name="connsiteY84" fmla="*/ 4069448 h 4841875"/>
              <a:gd name="connsiteX85" fmla="*/ 4581389 w 6561737"/>
              <a:gd name="connsiteY85" fmla="*/ 4064686 h 4841875"/>
              <a:gd name="connsiteX86" fmla="*/ 4585064 w 6561737"/>
              <a:gd name="connsiteY86" fmla="*/ 4059606 h 4841875"/>
              <a:gd name="connsiteX87" fmla="*/ 4588738 w 6561737"/>
              <a:gd name="connsiteY87" fmla="*/ 4054844 h 4841875"/>
              <a:gd name="connsiteX88" fmla="*/ 4592079 w 6561737"/>
              <a:gd name="connsiteY88" fmla="*/ 4049447 h 4841875"/>
              <a:gd name="connsiteX89" fmla="*/ 4595086 w 6561737"/>
              <a:gd name="connsiteY89" fmla="*/ 4044367 h 4841875"/>
              <a:gd name="connsiteX90" fmla="*/ 4597424 w 6561737"/>
              <a:gd name="connsiteY90" fmla="*/ 4038653 h 4841875"/>
              <a:gd name="connsiteX91" fmla="*/ 4599763 w 6561737"/>
              <a:gd name="connsiteY91" fmla="*/ 4033256 h 4841875"/>
              <a:gd name="connsiteX92" fmla="*/ 4602101 w 6561737"/>
              <a:gd name="connsiteY92" fmla="*/ 4027859 h 4841875"/>
              <a:gd name="connsiteX93" fmla="*/ 4604106 w 6561737"/>
              <a:gd name="connsiteY93" fmla="*/ 4022144 h 4841875"/>
              <a:gd name="connsiteX94" fmla="*/ 4605776 w 6561737"/>
              <a:gd name="connsiteY94" fmla="*/ 4016112 h 4841875"/>
              <a:gd name="connsiteX95" fmla="*/ 4606778 w 6561737"/>
              <a:gd name="connsiteY95" fmla="*/ 4010397 h 4841875"/>
              <a:gd name="connsiteX96" fmla="*/ 4607781 w 6561737"/>
              <a:gd name="connsiteY96" fmla="*/ 4004683 h 4841875"/>
              <a:gd name="connsiteX97" fmla="*/ 4608448 w 6561737"/>
              <a:gd name="connsiteY97" fmla="*/ 3998650 h 4841875"/>
              <a:gd name="connsiteX98" fmla="*/ 4608782 w 6561737"/>
              <a:gd name="connsiteY98" fmla="*/ 3992936 h 4841875"/>
              <a:gd name="connsiteX99" fmla="*/ 4609117 w 6561737"/>
              <a:gd name="connsiteY99" fmla="*/ 3987221 h 4841875"/>
              <a:gd name="connsiteX100" fmla="*/ 4608782 w 6561737"/>
              <a:gd name="connsiteY100" fmla="*/ 3980872 h 4841875"/>
              <a:gd name="connsiteX101" fmla="*/ 4608448 w 6561737"/>
              <a:gd name="connsiteY101" fmla="*/ 3975157 h 4841875"/>
              <a:gd name="connsiteX102" fmla="*/ 4607781 w 6561737"/>
              <a:gd name="connsiteY102" fmla="*/ 3969442 h 4841875"/>
              <a:gd name="connsiteX103" fmla="*/ 4606778 w 6561737"/>
              <a:gd name="connsiteY103" fmla="*/ 3963410 h 4841875"/>
              <a:gd name="connsiteX104" fmla="*/ 4605776 w 6561737"/>
              <a:gd name="connsiteY104" fmla="*/ 3957696 h 4841875"/>
              <a:gd name="connsiteX105" fmla="*/ 4604106 w 6561737"/>
              <a:gd name="connsiteY105" fmla="*/ 3951981 h 4841875"/>
              <a:gd name="connsiteX106" fmla="*/ 4602101 w 6561737"/>
              <a:gd name="connsiteY106" fmla="*/ 3946584 h 4841875"/>
              <a:gd name="connsiteX107" fmla="*/ 4599763 w 6561737"/>
              <a:gd name="connsiteY107" fmla="*/ 3940552 h 4841875"/>
              <a:gd name="connsiteX108" fmla="*/ 4597424 w 6561737"/>
              <a:gd name="connsiteY108" fmla="*/ 3935155 h 4841875"/>
              <a:gd name="connsiteX109" fmla="*/ 4595086 w 6561737"/>
              <a:gd name="connsiteY109" fmla="*/ 3929757 h 4841875"/>
              <a:gd name="connsiteX110" fmla="*/ 4592079 w 6561737"/>
              <a:gd name="connsiteY110" fmla="*/ 3924678 h 4841875"/>
              <a:gd name="connsiteX111" fmla="*/ 4588738 w 6561737"/>
              <a:gd name="connsiteY111" fmla="*/ 3919281 h 4841875"/>
              <a:gd name="connsiteX112" fmla="*/ 4585064 w 6561737"/>
              <a:gd name="connsiteY112" fmla="*/ 3914201 h 4841875"/>
              <a:gd name="connsiteX113" fmla="*/ 4581389 w 6561737"/>
              <a:gd name="connsiteY113" fmla="*/ 3909121 h 4841875"/>
              <a:gd name="connsiteX114" fmla="*/ 4577381 w 6561737"/>
              <a:gd name="connsiteY114" fmla="*/ 3904677 h 4841875"/>
              <a:gd name="connsiteX115" fmla="*/ 4572704 w 6561737"/>
              <a:gd name="connsiteY115" fmla="*/ 3899914 h 4841875"/>
              <a:gd name="connsiteX116" fmla="*/ 3276525 w 6561737"/>
              <a:gd name="connsiteY116" fmla="*/ 2605234 h 4841875"/>
              <a:gd name="connsiteX117" fmla="*/ 3272182 w 6561737"/>
              <a:gd name="connsiteY117" fmla="*/ 2600472 h 4841875"/>
              <a:gd name="connsiteX118" fmla="*/ 3268174 w 6561737"/>
              <a:gd name="connsiteY118" fmla="*/ 2596027 h 4841875"/>
              <a:gd name="connsiteX119" fmla="*/ 3264165 w 6561737"/>
              <a:gd name="connsiteY119" fmla="*/ 2590948 h 4841875"/>
              <a:gd name="connsiteX120" fmla="*/ 3260824 w 6561737"/>
              <a:gd name="connsiteY120" fmla="*/ 2585868 h 4841875"/>
              <a:gd name="connsiteX121" fmla="*/ 3257818 w 6561737"/>
              <a:gd name="connsiteY121" fmla="*/ 2580788 h 4841875"/>
              <a:gd name="connsiteX122" fmla="*/ 3254811 w 6561737"/>
              <a:gd name="connsiteY122" fmla="*/ 2575709 h 4841875"/>
              <a:gd name="connsiteX123" fmla="*/ 3252138 w 6561737"/>
              <a:gd name="connsiteY123" fmla="*/ 2569994 h 4841875"/>
              <a:gd name="connsiteX124" fmla="*/ 3249466 w 6561737"/>
              <a:gd name="connsiteY124" fmla="*/ 2564597 h 4841875"/>
              <a:gd name="connsiteX125" fmla="*/ 3247461 w 6561737"/>
              <a:gd name="connsiteY125" fmla="*/ 2558882 h 4841875"/>
              <a:gd name="connsiteX126" fmla="*/ 3245791 w 6561737"/>
              <a:gd name="connsiteY126" fmla="*/ 2553168 h 4841875"/>
              <a:gd name="connsiteX127" fmla="*/ 3244121 w 6561737"/>
              <a:gd name="connsiteY127" fmla="*/ 2547453 h 4841875"/>
              <a:gd name="connsiteX128" fmla="*/ 3242785 w 6561737"/>
              <a:gd name="connsiteY128" fmla="*/ 2541738 h 4841875"/>
              <a:gd name="connsiteX129" fmla="*/ 3241782 w 6561737"/>
              <a:gd name="connsiteY129" fmla="*/ 2536024 h 4841875"/>
              <a:gd name="connsiteX130" fmla="*/ 3241114 w 6561737"/>
              <a:gd name="connsiteY130" fmla="*/ 2529992 h 4841875"/>
              <a:gd name="connsiteX131" fmla="*/ 3240780 w 6561737"/>
              <a:gd name="connsiteY131" fmla="*/ 2524277 h 4841875"/>
              <a:gd name="connsiteX132" fmla="*/ 3240780 w 6561737"/>
              <a:gd name="connsiteY132" fmla="*/ 2518245 h 4841875"/>
              <a:gd name="connsiteX133" fmla="*/ 3240780 w 6561737"/>
              <a:gd name="connsiteY133" fmla="*/ 2512213 h 4841875"/>
              <a:gd name="connsiteX134" fmla="*/ 3241114 w 6561737"/>
              <a:gd name="connsiteY134" fmla="*/ 2506498 h 4841875"/>
              <a:gd name="connsiteX135" fmla="*/ 3241782 w 6561737"/>
              <a:gd name="connsiteY135" fmla="*/ 2500784 h 4841875"/>
              <a:gd name="connsiteX136" fmla="*/ 3242785 w 6561737"/>
              <a:gd name="connsiteY136" fmla="*/ 2494752 h 4841875"/>
              <a:gd name="connsiteX137" fmla="*/ 3244121 w 6561737"/>
              <a:gd name="connsiteY137" fmla="*/ 2489037 h 4841875"/>
              <a:gd name="connsiteX138" fmla="*/ 3245791 w 6561737"/>
              <a:gd name="connsiteY138" fmla="*/ 2483322 h 4841875"/>
              <a:gd name="connsiteX139" fmla="*/ 3247461 w 6561737"/>
              <a:gd name="connsiteY139" fmla="*/ 2477290 h 4841875"/>
              <a:gd name="connsiteX140" fmla="*/ 3249466 w 6561737"/>
              <a:gd name="connsiteY140" fmla="*/ 2471893 h 4841875"/>
              <a:gd name="connsiteX141" fmla="*/ 3252138 w 6561737"/>
              <a:gd name="connsiteY141" fmla="*/ 2466496 h 4841875"/>
              <a:gd name="connsiteX142" fmla="*/ 3254811 w 6561737"/>
              <a:gd name="connsiteY142" fmla="*/ 2461099 h 4841875"/>
              <a:gd name="connsiteX143" fmla="*/ 3257818 w 6561737"/>
              <a:gd name="connsiteY143" fmla="*/ 2455702 h 4841875"/>
              <a:gd name="connsiteX144" fmla="*/ 3260824 w 6561737"/>
              <a:gd name="connsiteY144" fmla="*/ 2450304 h 4841875"/>
              <a:gd name="connsiteX145" fmla="*/ 3264165 w 6561737"/>
              <a:gd name="connsiteY145" fmla="*/ 2445542 h 4841875"/>
              <a:gd name="connsiteX146" fmla="*/ 3268174 w 6561737"/>
              <a:gd name="connsiteY146" fmla="*/ 2440463 h 4841875"/>
              <a:gd name="connsiteX147" fmla="*/ 3272182 w 6561737"/>
              <a:gd name="connsiteY147" fmla="*/ 2435700 h 4841875"/>
              <a:gd name="connsiteX148" fmla="*/ 3276525 w 6561737"/>
              <a:gd name="connsiteY148" fmla="*/ 2431256 h 4841875"/>
              <a:gd name="connsiteX149" fmla="*/ 3281536 w 6561737"/>
              <a:gd name="connsiteY149" fmla="*/ 2426811 h 4841875"/>
              <a:gd name="connsiteX150" fmla="*/ 3285879 w 6561737"/>
              <a:gd name="connsiteY150" fmla="*/ 2422684 h 4841875"/>
              <a:gd name="connsiteX151" fmla="*/ 3290890 w 6561737"/>
              <a:gd name="connsiteY151" fmla="*/ 2418874 h 4841875"/>
              <a:gd name="connsiteX152" fmla="*/ 3296235 w 6561737"/>
              <a:gd name="connsiteY152" fmla="*/ 2415382 h 4841875"/>
              <a:gd name="connsiteX153" fmla="*/ 3301246 w 6561737"/>
              <a:gd name="connsiteY153" fmla="*/ 2412207 h 4841875"/>
              <a:gd name="connsiteX154" fmla="*/ 3306591 w 6561737"/>
              <a:gd name="connsiteY154" fmla="*/ 2409350 h 4841875"/>
              <a:gd name="connsiteX155" fmla="*/ 3311936 w 6561737"/>
              <a:gd name="connsiteY155" fmla="*/ 2406492 h 4841875"/>
              <a:gd name="connsiteX156" fmla="*/ 3317281 w 6561737"/>
              <a:gd name="connsiteY156" fmla="*/ 2404270 h 4841875"/>
              <a:gd name="connsiteX157" fmla="*/ 3323295 w 6561737"/>
              <a:gd name="connsiteY157" fmla="*/ 2402048 h 4841875"/>
              <a:gd name="connsiteX158" fmla="*/ 3328640 w 6561737"/>
              <a:gd name="connsiteY158" fmla="*/ 2400143 h 4841875"/>
              <a:gd name="connsiteX159" fmla="*/ 3334653 w 6561737"/>
              <a:gd name="connsiteY159" fmla="*/ 2398873 h 4841875"/>
              <a:gd name="connsiteX160" fmla="*/ 3340332 w 6561737"/>
              <a:gd name="connsiteY160" fmla="*/ 2397285 h 4841875"/>
              <a:gd name="connsiteX161" fmla="*/ 3346011 w 6561737"/>
              <a:gd name="connsiteY161" fmla="*/ 2396333 h 4841875"/>
              <a:gd name="connsiteX162" fmla="*/ 3352024 w 6561737"/>
              <a:gd name="connsiteY162" fmla="*/ 2395698 h 4841875"/>
              <a:gd name="connsiteX163" fmla="*/ 3357703 w 6561737"/>
              <a:gd name="connsiteY163" fmla="*/ 2395381 h 4841875"/>
              <a:gd name="connsiteX164" fmla="*/ 3364051 w 6561737"/>
              <a:gd name="connsiteY164" fmla="*/ 2395381 h 4841875"/>
              <a:gd name="connsiteX165" fmla="*/ 3369730 w 6561737"/>
              <a:gd name="connsiteY165" fmla="*/ 2395381 h 4841875"/>
              <a:gd name="connsiteX166" fmla="*/ 3375743 w 6561737"/>
              <a:gd name="connsiteY166" fmla="*/ 2395698 h 4841875"/>
              <a:gd name="connsiteX167" fmla="*/ 3381422 w 6561737"/>
              <a:gd name="connsiteY167" fmla="*/ 2396333 h 4841875"/>
              <a:gd name="connsiteX168" fmla="*/ 3387101 w 6561737"/>
              <a:gd name="connsiteY168" fmla="*/ 2397285 h 4841875"/>
              <a:gd name="connsiteX169" fmla="*/ 3393114 w 6561737"/>
              <a:gd name="connsiteY169" fmla="*/ 2398873 h 4841875"/>
              <a:gd name="connsiteX170" fmla="*/ 3398794 w 6561737"/>
              <a:gd name="connsiteY170" fmla="*/ 2400143 h 4841875"/>
              <a:gd name="connsiteX171" fmla="*/ 3404807 w 6561737"/>
              <a:gd name="connsiteY171" fmla="*/ 2402048 h 4841875"/>
              <a:gd name="connsiteX172" fmla="*/ 3410152 w 6561737"/>
              <a:gd name="connsiteY172" fmla="*/ 2404270 h 4841875"/>
              <a:gd name="connsiteX173" fmla="*/ 3415831 w 6561737"/>
              <a:gd name="connsiteY173" fmla="*/ 2406492 h 4841875"/>
              <a:gd name="connsiteX174" fmla="*/ 3421176 w 6561737"/>
              <a:gd name="connsiteY174" fmla="*/ 2409350 h 4841875"/>
              <a:gd name="connsiteX175" fmla="*/ 3426187 w 6561737"/>
              <a:gd name="connsiteY175" fmla="*/ 2412207 h 4841875"/>
              <a:gd name="connsiteX176" fmla="*/ 3431866 w 6561737"/>
              <a:gd name="connsiteY176" fmla="*/ 2415382 h 4841875"/>
              <a:gd name="connsiteX177" fmla="*/ 3436543 w 6561737"/>
              <a:gd name="connsiteY177" fmla="*/ 2418874 h 4841875"/>
              <a:gd name="connsiteX178" fmla="*/ 3441554 w 6561737"/>
              <a:gd name="connsiteY178" fmla="*/ 2422684 h 4841875"/>
              <a:gd name="connsiteX179" fmla="*/ 3446565 w 6561737"/>
              <a:gd name="connsiteY179" fmla="*/ 2426811 h 4841875"/>
              <a:gd name="connsiteX180" fmla="*/ 3450908 w 6561737"/>
              <a:gd name="connsiteY180" fmla="*/ 2431256 h 4841875"/>
              <a:gd name="connsiteX181" fmla="*/ 4169819 w 6561737"/>
              <a:gd name="connsiteY181" fmla="*/ 3149076 h 4841875"/>
              <a:gd name="connsiteX182" fmla="*/ 4174496 w 6561737"/>
              <a:gd name="connsiteY182" fmla="*/ 3153521 h 4841875"/>
              <a:gd name="connsiteX183" fmla="*/ 4179173 w 6561737"/>
              <a:gd name="connsiteY183" fmla="*/ 3157648 h 4841875"/>
              <a:gd name="connsiteX184" fmla="*/ 4184184 w 6561737"/>
              <a:gd name="connsiteY184" fmla="*/ 3161458 h 4841875"/>
              <a:gd name="connsiteX185" fmla="*/ 4189195 w 6561737"/>
              <a:gd name="connsiteY185" fmla="*/ 3164950 h 4841875"/>
              <a:gd name="connsiteX186" fmla="*/ 4194540 w 6561737"/>
              <a:gd name="connsiteY186" fmla="*/ 3168442 h 4841875"/>
              <a:gd name="connsiteX187" fmla="*/ 4199551 w 6561737"/>
              <a:gd name="connsiteY187" fmla="*/ 3170982 h 4841875"/>
              <a:gd name="connsiteX188" fmla="*/ 4204896 w 6561737"/>
              <a:gd name="connsiteY188" fmla="*/ 3173840 h 4841875"/>
              <a:gd name="connsiteX189" fmla="*/ 4210576 w 6561737"/>
              <a:gd name="connsiteY189" fmla="*/ 3176062 h 4841875"/>
              <a:gd name="connsiteX190" fmla="*/ 4216255 w 6561737"/>
              <a:gd name="connsiteY190" fmla="*/ 3178284 h 4841875"/>
              <a:gd name="connsiteX191" fmla="*/ 4221934 w 6561737"/>
              <a:gd name="connsiteY191" fmla="*/ 3180189 h 4841875"/>
              <a:gd name="connsiteX192" fmla="*/ 4227613 w 6561737"/>
              <a:gd name="connsiteY192" fmla="*/ 3181776 h 4841875"/>
              <a:gd name="connsiteX193" fmla="*/ 4233292 w 6561737"/>
              <a:gd name="connsiteY193" fmla="*/ 3183046 h 4841875"/>
              <a:gd name="connsiteX194" fmla="*/ 4239305 w 6561737"/>
              <a:gd name="connsiteY194" fmla="*/ 3183999 h 4841875"/>
              <a:gd name="connsiteX195" fmla="*/ 4244984 w 6561737"/>
              <a:gd name="connsiteY195" fmla="*/ 3184634 h 4841875"/>
              <a:gd name="connsiteX196" fmla="*/ 4250998 w 6561737"/>
              <a:gd name="connsiteY196" fmla="*/ 3184951 h 4841875"/>
              <a:gd name="connsiteX197" fmla="*/ 4257011 w 6561737"/>
              <a:gd name="connsiteY197" fmla="*/ 3185269 h 4841875"/>
              <a:gd name="connsiteX198" fmla="*/ 4263024 w 6561737"/>
              <a:gd name="connsiteY198" fmla="*/ 3184951 h 4841875"/>
              <a:gd name="connsiteX199" fmla="*/ 4268703 w 6561737"/>
              <a:gd name="connsiteY199" fmla="*/ 3184634 h 4841875"/>
              <a:gd name="connsiteX200" fmla="*/ 4274382 w 6561737"/>
              <a:gd name="connsiteY200" fmla="*/ 3183999 h 4841875"/>
              <a:gd name="connsiteX201" fmla="*/ 4280395 w 6561737"/>
              <a:gd name="connsiteY201" fmla="*/ 3183046 h 4841875"/>
              <a:gd name="connsiteX202" fmla="*/ 4286075 w 6561737"/>
              <a:gd name="connsiteY202" fmla="*/ 3181776 h 4841875"/>
              <a:gd name="connsiteX203" fmla="*/ 4292088 w 6561737"/>
              <a:gd name="connsiteY203" fmla="*/ 3180189 h 4841875"/>
              <a:gd name="connsiteX204" fmla="*/ 4297767 w 6561737"/>
              <a:gd name="connsiteY204" fmla="*/ 3178284 h 4841875"/>
              <a:gd name="connsiteX205" fmla="*/ 4303446 w 6561737"/>
              <a:gd name="connsiteY205" fmla="*/ 3176062 h 4841875"/>
              <a:gd name="connsiteX206" fmla="*/ 4308791 w 6561737"/>
              <a:gd name="connsiteY206" fmla="*/ 3173840 h 4841875"/>
              <a:gd name="connsiteX207" fmla="*/ 4314136 w 6561737"/>
              <a:gd name="connsiteY207" fmla="*/ 3170982 h 4841875"/>
              <a:gd name="connsiteX208" fmla="*/ 4319815 w 6561737"/>
              <a:gd name="connsiteY208" fmla="*/ 3168442 h 4841875"/>
              <a:gd name="connsiteX209" fmla="*/ 4324826 w 6561737"/>
              <a:gd name="connsiteY209" fmla="*/ 3164950 h 4841875"/>
              <a:gd name="connsiteX210" fmla="*/ 4329503 w 6561737"/>
              <a:gd name="connsiteY210" fmla="*/ 3161458 h 4841875"/>
              <a:gd name="connsiteX211" fmla="*/ 4334848 w 6561737"/>
              <a:gd name="connsiteY211" fmla="*/ 3157648 h 4841875"/>
              <a:gd name="connsiteX212" fmla="*/ 4339525 w 6561737"/>
              <a:gd name="connsiteY212" fmla="*/ 3153521 h 4841875"/>
              <a:gd name="connsiteX213" fmla="*/ 4344202 w 6561737"/>
              <a:gd name="connsiteY213" fmla="*/ 3149076 h 4841875"/>
              <a:gd name="connsiteX214" fmla="*/ 4348545 w 6561737"/>
              <a:gd name="connsiteY214" fmla="*/ 3144631 h 4841875"/>
              <a:gd name="connsiteX215" fmla="*/ 4352554 w 6561737"/>
              <a:gd name="connsiteY215" fmla="*/ 3139869 h 4841875"/>
              <a:gd name="connsiteX216" fmla="*/ 4356228 w 6561737"/>
              <a:gd name="connsiteY216" fmla="*/ 3134790 h 4841875"/>
              <a:gd name="connsiteX217" fmla="*/ 4359903 w 6561737"/>
              <a:gd name="connsiteY217" fmla="*/ 3130027 h 4841875"/>
              <a:gd name="connsiteX218" fmla="*/ 4363244 w 6561737"/>
              <a:gd name="connsiteY218" fmla="*/ 3124948 h 4841875"/>
              <a:gd name="connsiteX219" fmla="*/ 4365916 w 6561737"/>
              <a:gd name="connsiteY219" fmla="*/ 3119551 h 4841875"/>
              <a:gd name="connsiteX220" fmla="*/ 4368589 w 6561737"/>
              <a:gd name="connsiteY220" fmla="*/ 3113836 h 4841875"/>
              <a:gd name="connsiteX221" fmla="*/ 4371261 w 6561737"/>
              <a:gd name="connsiteY221" fmla="*/ 3108439 h 4841875"/>
              <a:gd name="connsiteX222" fmla="*/ 4373266 w 6561737"/>
              <a:gd name="connsiteY222" fmla="*/ 3103042 h 4841875"/>
              <a:gd name="connsiteX223" fmla="*/ 4375270 w 6561737"/>
              <a:gd name="connsiteY223" fmla="*/ 3097010 h 4841875"/>
              <a:gd name="connsiteX224" fmla="*/ 4376606 w 6561737"/>
              <a:gd name="connsiteY224" fmla="*/ 3091295 h 4841875"/>
              <a:gd name="connsiteX225" fmla="*/ 4377943 w 6561737"/>
              <a:gd name="connsiteY225" fmla="*/ 3085580 h 4841875"/>
              <a:gd name="connsiteX226" fmla="*/ 4378945 w 6561737"/>
              <a:gd name="connsiteY226" fmla="*/ 3079866 h 4841875"/>
              <a:gd name="connsiteX227" fmla="*/ 4379613 w 6561737"/>
              <a:gd name="connsiteY227" fmla="*/ 3073834 h 4841875"/>
              <a:gd name="connsiteX228" fmla="*/ 4379947 w 6561737"/>
              <a:gd name="connsiteY228" fmla="*/ 3068119 h 4841875"/>
              <a:gd name="connsiteX229" fmla="*/ 4380281 w 6561737"/>
              <a:gd name="connsiteY229" fmla="*/ 3062404 h 4841875"/>
              <a:gd name="connsiteX230" fmla="*/ 4379947 w 6561737"/>
              <a:gd name="connsiteY230" fmla="*/ 3056055 h 4841875"/>
              <a:gd name="connsiteX231" fmla="*/ 4379613 w 6561737"/>
              <a:gd name="connsiteY231" fmla="*/ 3050340 h 4841875"/>
              <a:gd name="connsiteX232" fmla="*/ 4378945 w 6561737"/>
              <a:gd name="connsiteY232" fmla="*/ 3044625 h 4841875"/>
              <a:gd name="connsiteX233" fmla="*/ 4377943 w 6561737"/>
              <a:gd name="connsiteY233" fmla="*/ 3038593 h 4841875"/>
              <a:gd name="connsiteX234" fmla="*/ 4376606 w 6561737"/>
              <a:gd name="connsiteY234" fmla="*/ 3032879 h 4841875"/>
              <a:gd name="connsiteX235" fmla="*/ 4375270 w 6561737"/>
              <a:gd name="connsiteY235" fmla="*/ 3027164 h 4841875"/>
              <a:gd name="connsiteX236" fmla="*/ 4373266 w 6561737"/>
              <a:gd name="connsiteY236" fmla="*/ 3021449 h 4841875"/>
              <a:gd name="connsiteX237" fmla="*/ 4371261 w 6561737"/>
              <a:gd name="connsiteY237" fmla="*/ 3015735 h 4841875"/>
              <a:gd name="connsiteX238" fmla="*/ 4368589 w 6561737"/>
              <a:gd name="connsiteY238" fmla="*/ 3010338 h 4841875"/>
              <a:gd name="connsiteX239" fmla="*/ 4365916 w 6561737"/>
              <a:gd name="connsiteY239" fmla="*/ 3004941 h 4841875"/>
              <a:gd name="connsiteX240" fmla="*/ 4363244 w 6561737"/>
              <a:gd name="connsiteY240" fmla="*/ 2999543 h 4841875"/>
              <a:gd name="connsiteX241" fmla="*/ 4359903 w 6561737"/>
              <a:gd name="connsiteY241" fmla="*/ 2994464 h 4841875"/>
              <a:gd name="connsiteX242" fmla="*/ 4356228 w 6561737"/>
              <a:gd name="connsiteY242" fmla="*/ 2989384 h 4841875"/>
              <a:gd name="connsiteX243" fmla="*/ 4352554 w 6561737"/>
              <a:gd name="connsiteY243" fmla="*/ 2984622 h 4841875"/>
              <a:gd name="connsiteX244" fmla="*/ 4348545 w 6561737"/>
              <a:gd name="connsiteY244" fmla="*/ 2979860 h 4841875"/>
              <a:gd name="connsiteX245" fmla="*/ 4344202 w 6561737"/>
              <a:gd name="connsiteY245" fmla="*/ 2975098 h 4841875"/>
              <a:gd name="connsiteX246" fmla="*/ 4244650 w 6561737"/>
              <a:gd name="connsiteY246" fmla="*/ 2875727 h 4841875"/>
              <a:gd name="connsiteX247" fmla="*/ 3995771 w 6561737"/>
              <a:gd name="connsiteY247" fmla="*/ 2627140 h 4841875"/>
              <a:gd name="connsiteX248" fmla="*/ 3991428 w 6561737"/>
              <a:gd name="connsiteY248" fmla="*/ 2622696 h 4841875"/>
              <a:gd name="connsiteX249" fmla="*/ 3987419 w 6561737"/>
              <a:gd name="connsiteY249" fmla="*/ 2617933 h 4841875"/>
              <a:gd name="connsiteX250" fmla="*/ 3983410 w 6561737"/>
              <a:gd name="connsiteY250" fmla="*/ 2613171 h 4841875"/>
              <a:gd name="connsiteX251" fmla="*/ 3980070 w 6561737"/>
              <a:gd name="connsiteY251" fmla="*/ 2608092 h 4841875"/>
              <a:gd name="connsiteX252" fmla="*/ 3977063 w 6561737"/>
              <a:gd name="connsiteY252" fmla="*/ 2603012 h 4841875"/>
              <a:gd name="connsiteX253" fmla="*/ 3973722 w 6561737"/>
              <a:gd name="connsiteY253" fmla="*/ 2597297 h 4841875"/>
              <a:gd name="connsiteX254" fmla="*/ 3971050 w 6561737"/>
              <a:gd name="connsiteY254" fmla="*/ 2591900 h 4841875"/>
              <a:gd name="connsiteX255" fmla="*/ 3968711 w 6561737"/>
              <a:gd name="connsiteY255" fmla="*/ 2586503 h 4841875"/>
              <a:gd name="connsiteX256" fmla="*/ 3966707 w 6561737"/>
              <a:gd name="connsiteY256" fmla="*/ 2581106 h 4841875"/>
              <a:gd name="connsiteX257" fmla="*/ 3965037 w 6561737"/>
              <a:gd name="connsiteY257" fmla="*/ 2575074 h 4841875"/>
              <a:gd name="connsiteX258" fmla="*/ 3963366 w 6561737"/>
              <a:gd name="connsiteY258" fmla="*/ 2569677 h 4841875"/>
              <a:gd name="connsiteX259" fmla="*/ 3962030 w 6561737"/>
              <a:gd name="connsiteY259" fmla="*/ 2563962 h 4841875"/>
              <a:gd name="connsiteX260" fmla="*/ 3961028 w 6561737"/>
              <a:gd name="connsiteY260" fmla="*/ 2558247 h 4841875"/>
              <a:gd name="connsiteX261" fmla="*/ 3960026 w 6561737"/>
              <a:gd name="connsiteY261" fmla="*/ 2551898 h 4841875"/>
              <a:gd name="connsiteX262" fmla="*/ 3959691 w 6561737"/>
              <a:gd name="connsiteY262" fmla="*/ 2546183 h 4841875"/>
              <a:gd name="connsiteX263" fmla="*/ 3959691 w 6561737"/>
              <a:gd name="connsiteY263" fmla="*/ 2540469 h 4841875"/>
              <a:gd name="connsiteX264" fmla="*/ 3959691 w 6561737"/>
              <a:gd name="connsiteY264" fmla="*/ 2534436 h 4841875"/>
              <a:gd name="connsiteX265" fmla="*/ 3960026 w 6561737"/>
              <a:gd name="connsiteY265" fmla="*/ 2528404 h 4841875"/>
              <a:gd name="connsiteX266" fmla="*/ 3961028 w 6561737"/>
              <a:gd name="connsiteY266" fmla="*/ 2522690 h 4841875"/>
              <a:gd name="connsiteX267" fmla="*/ 3962030 w 6561737"/>
              <a:gd name="connsiteY267" fmla="*/ 2516658 h 4841875"/>
              <a:gd name="connsiteX268" fmla="*/ 3963366 w 6561737"/>
              <a:gd name="connsiteY268" fmla="*/ 2510943 h 4841875"/>
              <a:gd name="connsiteX269" fmla="*/ 3965037 w 6561737"/>
              <a:gd name="connsiteY269" fmla="*/ 2505228 h 4841875"/>
              <a:gd name="connsiteX270" fmla="*/ 3966707 w 6561737"/>
              <a:gd name="connsiteY270" fmla="*/ 2499514 h 4841875"/>
              <a:gd name="connsiteX271" fmla="*/ 3968711 w 6561737"/>
              <a:gd name="connsiteY271" fmla="*/ 2494117 h 4841875"/>
              <a:gd name="connsiteX272" fmla="*/ 3971050 w 6561737"/>
              <a:gd name="connsiteY272" fmla="*/ 2488402 h 4841875"/>
              <a:gd name="connsiteX273" fmla="*/ 3973722 w 6561737"/>
              <a:gd name="connsiteY273" fmla="*/ 2483322 h 4841875"/>
              <a:gd name="connsiteX274" fmla="*/ 3977063 w 6561737"/>
              <a:gd name="connsiteY274" fmla="*/ 2477608 h 4841875"/>
              <a:gd name="connsiteX275" fmla="*/ 3980070 w 6561737"/>
              <a:gd name="connsiteY275" fmla="*/ 2472528 h 4841875"/>
              <a:gd name="connsiteX276" fmla="*/ 3983410 w 6561737"/>
              <a:gd name="connsiteY276" fmla="*/ 2467448 h 4841875"/>
              <a:gd name="connsiteX277" fmla="*/ 3987419 w 6561737"/>
              <a:gd name="connsiteY277" fmla="*/ 2462686 h 4841875"/>
              <a:gd name="connsiteX278" fmla="*/ 3991428 w 6561737"/>
              <a:gd name="connsiteY278" fmla="*/ 2457924 h 4841875"/>
              <a:gd name="connsiteX279" fmla="*/ 3995771 w 6561737"/>
              <a:gd name="connsiteY279" fmla="*/ 2453162 h 4841875"/>
              <a:gd name="connsiteX280" fmla="*/ 4000448 w 6561737"/>
              <a:gd name="connsiteY280" fmla="*/ 2449035 h 4841875"/>
              <a:gd name="connsiteX281" fmla="*/ 4005459 w 6561737"/>
              <a:gd name="connsiteY281" fmla="*/ 2444907 h 4841875"/>
              <a:gd name="connsiteX282" fmla="*/ 4010135 w 6561737"/>
              <a:gd name="connsiteY282" fmla="*/ 2441098 h 4841875"/>
              <a:gd name="connsiteX283" fmla="*/ 4015146 w 6561737"/>
              <a:gd name="connsiteY283" fmla="*/ 2437288 h 4841875"/>
              <a:gd name="connsiteX284" fmla="*/ 4020492 w 6561737"/>
              <a:gd name="connsiteY284" fmla="*/ 2434430 h 4841875"/>
              <a:gd name="connsiteX285" fmla="*/ 4025503 w 6561737"/>
              <a:gd name="connsiteY285" fmla="*/ 2431256 h 4841875"/>
              <a:gd name="connsiteX286" fmla="*/ 4031182 w 6561737"/>
              <a:gd name="connsiteY286" fmla="*/ 2428398 h 4841875"/>
              <a:gd name="connsiteX287" fmla="*/ 4036527 w 6561737"/>
              <a:gd name="connsiteY287" fmla="*/ 2426176 h 4841875"/>
              <a:gd name="connsiteX288" fmla="*/ 4042206 w 6561737"/>
              <a:gd name="connsiteY288" fmla="*/ 2423954 h 4841875"/>
              <a:gd name="connsiteX289" fmla="*/ 4047885 w 6561737"/>
              <a:gd name="connsiteY289" fmla="*/ 2422366 h 4841875"/>
              <a:gd name="connsiteX290" fmla="*/ 4053564 w 6561737"/>
              <a:gd name="connsiteY290" fmla="*/ 2420461 h 4841875"/>
              <a:gd name="connsiteX291" fmla="*/ 4059577 w 6561737"/>
              <a:gd name="connsiteY291" fmla="*/ 2419509 h 4841875"/>
              <a:gd name="connsiteX292" fmla="*/ 4065256 w 6561737"/>
              <a:gd name="connsiteY292" fmla="*/ 2418557 h 4841875"/>
              <a:gd name="connsiteX293" fmla="*/ 4071270 w 6561737"/>
              <a:gd name="connsiteY293" fmla="*/ 2417922 h 4841875"/>
              <a:gd name="connsiteX294" fmla="*/ 4076949 w 6561737"/>
              <a:gd name="connsiteY294" fmla="*/ 2417287 h 4841875"/>
              <a:gd name="connsiteX295" fmla="*/ 4082962 w 6561737"/>
              <a:gd name="connsiteY295" fmla="*/ 2417287 h 4841875"/>
              <a:gd name="connsiteX296" fmla="*/ 4088975 w 6561737"/>
              <a:gd name="connsiteY296" fmla="*/ 2417287 h 4841875"/>
              <a:gd name="connsiteX297" fmla="*/ 4094654 w 6561737"/>
              <a:gd name="connsiteY297" fmla="*/ 2417922 h 4841875"/>
              <a:gd name="connsiteX298" fmla="*/ 4100668 w 6561737"/>
              <a:gd name="connsiteY298" fmla="*/ 2418557 h 4841875"/>
              <a:gd name="connsiteX299" fmla="*/ 4106347 w 6561737"/>
              <a:gd name="connsiteY299" fmla="*/ 2419509 h 4841875"/>
              <a:gd name="connsiteX300" fmla="*/ 4112360 w 6561737"/>
              <a:gd name="connsiteY300" fmla="*/ 2420461 h 4841875"/>
              <a:gd name="connsiteX301" fmla="*/ 4118039 w 6561737"/>
              <a:gd name="connsiteY301" fmla="*/ 2422366 h 4841875"/>
              <a:gd name="connsiteX302" fmla="*/ 4123718 w 6561737"/>
              <a:gd name="connsiteY302" fmla="*/ 2423954 h 4841875"/>
              <a:gd name="connsiteX303" fmla="*/ 4129397 w 6561737"/>
              <a:gd name="connsiteY303" fmla="*/ 2426176 h 4841875"/>
              <a:gd name="connsiteX304" fmla="*/ 4134742 w 6561737"/>
              <a:gd name="connsiteY304" fmla="*/ 2428398 h 4841875"/>
              <a:gd name="connsiteX305" fmla="*/ 4140421 w 6561737"/>
              <a:gd name="connsiteY305" fmla="*/ 2431256 h 4841875"/>
              <a:gd name="connsiteX306" fmla="*/ 4145767 w 6561737"/>
              <a:gd name="connsiteY306" fmla="*/ 2434430 h 4841875"/>
              <a:gd name="connsiteX307" fmla="*/ 4150778 w 6561737"/>
              <a:gd name="connsiteY307" fmla="*/ 2437288 h 4841875"/>
              <a:gd name="connsiteX308" fmla="*/ 4155789 w 6561737"/>
              <a:gd name="connsiteY308" fmla="*/ 2441098 h 4841875"/>
              <a:gd name="connsiteX309" fmla="*/ 4160800 w 6561737"/>
              <a:gd name="connsiteY309" fmla="*/ 2444907 h 4841875"/>
              <a:gd name="connsiteX310" fmla="*/ 4165476 w 6561737"/>
              <a:gd name="connsiteY310" fmla="*/ 2449035 h 4841875"/>
              <a:gd name="connsiteX311" fmla="*/ 4170153 w 6561737"/>
              <a:gd name="connsiteY311" fmla="*/ 2453162 h 4841875"/>
              <a:gd name="connsiteX312" fmla="*/ 4969908 w 6561737"/>
              <a:gd name="connsiteY312" fmla="*/ 3252257 h 4841875"/>
              <a:gd name="connsiteX313" fmla="*/ 6561736 w 6561737"/>
              <a:gd name="connsiteY313" fmla="*/ 4841875 h 4841875"/>
              <a:gd name="connsiteX314" fmla="*/ 6561736 w 6561737"/>
              <a:gd name="connsiteY314" fmla="*/ 4559209 h 4841875"/>
              <a:gd name="connsiteX315" fmla="*/ 6561737 w 6561737"/>
              <a:gd name="connsiteY315" fmla="*/ 4059791 h 4841875"/>
              <a:gd name="connsiteX316" fmla="*/ 6561736 w 6561737"/>
              <a:gd name="connsiteY316" fmla="*/ 0 h 4841875"/>
              <a:gd name="connsiteX0" fmla="*/ 6561736 w 7047790"/>
              <a:gd name="connsiteY0" fmla="*/ 0 h 4841875"/>
              <a:gd name="connsiteX1" fmla="*/ 0 w 7047790"/>
              <a:gd name="connsiteY1" fmla="*/ 0 h 4841875"/>
              <a:gd name="connsiteX2" fmla="*/ 2696252 w 7047790"/>
              <a:gd name="connsiteY2" fmla="*/ 2688414 h 4841875"/>
              <a:gd name="connsiteX3" fmla="*/ 2695583 w 7047790"/>
              <a:gd name="connsiteY3" fmla="*/ 2681112 h 4841875"/>
              <a:gd name="connsiteX4" fmla="*/ 2694915 w 7047790"/>
              <a:gd name="connsiteY4" fmla="*/ 2674127 h 4841875"/>
              <a:gd name="connsiteX5" fmla="*/ 2694915 w 7047790"/>
              <a:gd name="connsiteY5" fmla="*/ 2667143 h 4841875"/>
              <a:gd name="connsiteX6" fmla="*/ 2695249 w 7047790"/>
              <a:gd name="connsiteY6" fmla="*/ 2660158 h 4841875"/>
              <a:gd name="connsiteX7" fmla="*/ 2695918 w 7047790"/>
              <a:gd name="connsiteY7" fmla="*/ 2652856 h 4841875"/>
              <a:gd name="connsiteX8" fmla="*/ 2696920 w 7047790"/>
              <a:gd name="connsiteY8" fmla="*/ 2645872 h 4841875"/>
              <a:gd name="connsiteX9" fmla="*/ 2698590 w 7047790"/>
              <a:gd name="connsiteY9" fmla="*/ 2638887 h 4841875"/>
              <a:gd name="connsiteX10" fmla="*/ 2700260 w 7047790"/>
              <a:gd name="connsiteY10" fmla="*/ 2631903 h 4841875"/>
              <a:gd name="connsiteX11" fmla="*/ 2702599 w 7047790"/>
              <a:gd name="connsiteY11" fmla="*/ 2625235 h 4841875"/>
              <a:gd name="connsiteX12" fmla="*/ 2705605 w 7047790"/>
              <a:gd name="connsiteY12" fmla="*/ 2618568 h 4841875"/>
              <a:gd name="connsiteX13" fmla="*/ 2708946 w 7047790"/>
              <a:gd name="connsiteY13" fmla="*/ 2612219 h 4841875"/>
              <a:gd name="connsiteX14" fmla="*/ 2712287 w 7047790"/>
              <a:gd name="connsiteY14" fmla="*/ 2605552 h 4841875"/>
              <a:gd name="connsiteX15" fmla="*/ 2716296 w 7047790"/>
              <a:gd name="connsiteY15" fmla="*/ 2599520 h 4841875"/>
              <a:gd name="connsiteX16" fmla="*/ 2720973 w 7047790"/>
              <a:gd name="connsiteY16" fmla="*/ 2593488 h 4841875"/>
              <a:gd name="connsiteX17" fmla="*/ 2725649 w 7047790"/>
              <a:gd name="connsiteY17" fmla="*/ 2587773 h 4841875"/>
              <a:gd name="connsiteX18" fmla="*/ 2730660 w 7047790"/>
              <a:gd name="connsiteY18" fmla="*/ 2582058 h 4841875"/>
              <a:gd name="connsiteX19" fmla="*/ 2735337 w 7047790"/>
              <a:gd name="connsiteY19" fmla="*/ 2577931 h 4841875"/>
              <a:gd name="connsiteX20" fmla="*/ 2740014 w 7047790"/>
              <a:gd name="connsiteY20" fmla="*/ 2573804 h 4841875"/>
              <a:gd name="connsiteX21" fmla="*/ 2745025 w 7047790"/>
              <a:gd name="connsiteY21" fmla="*/ 2569994 h 4841875"/>
              <a:gd name="connsiteX22" fmla="*/ 2750036 w 7047790"/>
              <a:gd name="connsiteY22" fmla="*/ 2566184 h 4841875"/>
              <a:gd name="connsiteX23" fmla="*/ 2755381 w 7047790"/>
              <a:gd name="connsiteY23" fmla="*/ 2563327 h 4841875"/>
              <a:gd name="connsiteX24" fmla="*/ 2760726 w 7047790"/>
              <a:gd name="connsiteY24" fmla="*/ 2560152 h 4841875"/>
              <a:gd name="connsiteX25" fmla="*/ 2766072 w 7047790"/>
              <a:gd name="connsiteY25" fmla="*/ 2557295 h 4841875"/>
              <a:gd name="connsiteX26" fmla="*/ 2771417 w 7047790"/>
              <a:gd name="connsiteY26" fmla="*/ 2555073 h 4841875"/>
              <a:gd name="connsiteX27" fmla="*/ 2777096 w 7047790"/>
              <a:gd name="connsiteY27" fmla="*/ 2552850 h 4841875"/>
              <a:gd name="connsiteX28" fmla="*/ 2782775 w 7047790"/>
              <a:gd name="connsiteY28" fmla="*/ 2551263 h 4841875"/>
              <a:gd name="connsiteX29" fmla="*/ 2788788 w 7047790"/>
              <a:gd name="connsiteY29" fmla="*/ 2549675 h 4841875"/>
              <a:gd name="connsiteX30" fmla="*/ 2794467 w 7047790"/>
              <a:gd name="connsiteY30" fmla="*/ 2548406 h 4841875"/>
              <a:gd name="connsiteX31" fmla="*/ 2800146 w 7047790"/>
              <a:gd name="connsiteY31" fmla="*/ 2547453 h 4841875"/>
              <a:gd name="connsiteX32" fmla="*/ 2806159 w 7047790"/>
              <a:gd name="connsiteY32" fmla="*/ 2546818 h 4841875"/>
              <a:gd name="connsiteX33" fmla="*/ 2811839 w 7047790"/>
              <a:gd name="connsiteY33" fmla="*/ 2546183 h 4841875"/>
              <a:gd name="connsiteX34" fmla="*/ 2817852 w 7047790"/>
              <a:gd name="connsiteY34" fmla="*/ 2546183 h 4841875"/>
              <a:gd name="connsiteX35" fmla="*/ 2823865 w 7047790"/>
              <a:gd name="connsiteY35" fmla="*/ 2546183 h 4841875"/>
              <a:gd name="connsiteX36" fmla="*/ 2829878 w 7047790"/>
              <a:gd name="connsiteY36" fmla="*/ 2546818 h 4841875"/>
              <a:gd name="connsiteX37" fmla="*/ 2835557 w 7047790"/>
              <a:gd name="connsiteY37" fmla="*/ 2547453 h 4841875"/>
              <a:gd name="connsiteX38" fmla="*/ 2841236 w 7047790"/>
              <a:gd name="connsiteY38" fmla="*/ 2548406 h 4841875"/>
              <a:gd name="connsiteX39" fmla="*/ 2847250 w 7047790"/>
              <a:gd name="connsiteY39" fmla="*/ 2549675 h 4841875"/>
              <a:gd name="connsiteX40" fmla="*/ 2852929 w 7047790"/>
              <a:gd name="connsiteY40" fmla="*/ 2551263 h 4841875"/>
              <a:gd name="connsiteX41" fmla="*/ 2858608 w 7047790"/>
              <a:gd name="connsiteY41" fmla="*/ 2552850 h 4841875"/>
              <a:gd name="connsiteX42" fmla="*/ 2864287 w 7047790"/>
              <a:gd name="connsiteY42" fmla="*/ 2555073 h 4841875"/>
              <a:gd name="connsiteX43" fmla="*/ 2869966 w 7047790"/>
              <a:gd name="connsiteY43" fmla="*/ 2557295 h 4841875"/>
              <a:gd name="connsiteX44" fmla="*/ 2875311 w 7047790"/>
              <a:gd name="connsiteY44" fmla="*/ 2560152 h 4841875"/>
              <a:gd name="connsiteX45" fmla="*/ 2880322 w 7047790"/>
              <a:gd name="connsiteY45" fmla="*/ 2563327 h 4841875"/>
              <a:gd name="connsiteX46" fmla="*/ 2885667 w 7047790"/>
              <a:gd name="connsiteY46" fmla="*/ 2566184 h 4841875"/>
              <a:gd name="connsiteX47" fmla="*/ 2890678 w 7047790"/>
              <a:gd name="connsiteY47" fmla="*/ 2569994 h 4841875"/>
              <a:gd name="connsiteX48" fmla="*/ 2895689 w 7047790"/>
              <a:gd name="connsiteY48" fmla="*/ 2573804 h 4841875"/>
              <a:gd name="connsiteX49" fmla="*/ 2900366 w 7047790"/>
              <a:gd name="connsiteY49" fmla="*/ 2577931 h 4841875"/>
              <a:gd name="connsiteX50" fmla="*/ 2905043 w 7047790"/>
              <a:gd name="connsiteY50" fmla="*/ 2582058 h 4841875"/>
              <a:gd name="connsiteX51" fmla="*/ 4398989 w 7047790"/>
              <a:gd name="connsiteY51" fmla="*/ 4073893 h 4841875"/>
              <a:gd name="connsiteX52" fmla="*/ 4403332 w 7047790"/>
              <a:gd name="connsiteY52" fmla="*/ 4078338 h 4841875"/>
              <a:gd name="connsiteX53" fmla="*/ 4408009 w 7047790"/>
              <a:gd name="connsiteY53" fmla="*/ 4082465 h 4841875"/>
              <a:gd name="connsiteX54" fmla="*/ 4413020 w 7047790"/>
              <a:gd name="connsiteY54" fmla="*/ 4086275 h 4841875"/>
              <a:gd name="connsiteX55" fmla="*/ 4418031 w 7047790"/>
              <a:gd name="connsiteY55" fmla="*/ 4089767 h 4841875"/>
              <a:gd name="connsiteX56" fmla="*/ 4423042 w 7047790"/>
              <a:gd name="connsiteY56" fmla="*/ 4093259 h 4841875"/>
              <a:gd name="connsiteX57" fmla="*/ 4428721 w 7047790"/>
              <a:gd name="connsiteY57" fmla="*/ 4095799 h 4841875"/>
              <a:gd name="connsiteX58" fmla="*/ 4433732 w 7047790"/>
              <a:gd name="connsiteY58" fmla="*/ 4098656 h 4841875"/>
              <a:gd name="connsiteX59" fmla="*/ 4439745 w 7047790"/>
              <a:gd name="connsiteY59" fmla="*/ 4101196 h 4841875"/>
              <a:gd name="connsiteX60" fmla="*/ 4445090 w 7047790"/>
              <a:gd name="connsiteY60" fmla="*/ 4103101 h 4841875"/>
              <a:gd name="connsiteX61" fmla="*/ 4450769 w 7047790"/>
              <a:gd name="connsiteY61" fmla="*/ 4105006 h 4841875"/>
              <a:gd name="connsiteX62" fmla="*/ 4456449 w 7047790"/>
              <a:gd name="connsiteY62" fmla="*/ 4106593 h 4841875"/>
              <a:gd name="connsiteX63" fmla="*/ 4462127 w 7047790"/>
              <a:gd name="connsiteY63" fmla="*/ 4107863 h 4841875"/>
              <a:gd name="connsiteX64" fmla="*/ 4468140 w 7047790"/>
              <a:gd name="connsiteY64" fmla="*/ 4108816 h 4841875"/>
              <a:gd name="connsiteX65" fmla="*/ 4474154 w 7047790"/>
              <a:gd name="connsiteY65" fmla="*/ 4109451 h 4841875"/>
              <a:gd name="connsiteX66" fmla="*/ 4480167 w 7047790"/>
              <a:gd name="connsiteY66" fmla="*/ 4110086 h 4841875"/>
              <a:gd name="connsiteX67" fmla="*/ 4485846 w 7047790"/>
              <a:gd name="connsiteY67" fmla="*/ 4110086 h 4841875"/>
              <a:gd name="connsiteX68" fmla="*/ 4491526 w 7047790"/>
              <a:gd name="connsiteY68" fmla="*/ 4110086 h 4841875"/>
              <a:gd name="connsiteX69" fmla="*/ 4497538 w 7047790"/>
              <a:gd name="connsiteY69" fmla="*/ 4109451 h 4841875"/>
              <a:gd name="connsiteX70" fmla="*/ 4503551 w 7047790"/>
              <a:gd name="connsiteY70" fmla="*/ 4108816 h 4841875"/>
              <a:gd name="connsiteX71" fmla="*/ 4509565 w 7047790"/>
              <a:gd name="connsiteY71" fmla="*/ 4107863 h 4841875"/>
              <a:gd name="connsiteX72" fmla="*/ 4515244 w 7047790"/>
              <a:gd name="connsiteY72" fmla="*/ 4106593 h 4841875"/>
              <a:gd name="connsiteX73" fmla="*/ 4520589 w 7047790"/>
              <a:gd name="connsiteY73" fmla="*/ 4105006 h 4841875"/>
              <a:gd name="connsiteX74" fmla="*/ 4526602 w 7047790"/>
              <a:gd name="connsiteY74" fmla="*/ 4103101 h 4841875"/>
              <a:gd name="connsiteX75" fmla="*/ 4531948 w 7047790"/>
              <a:gd name="connsiteY75" fmla="*/ 4101196 h 4841875"/>
              <a:gd name="connsiteX76" fmla="*/ 4537960 w 7047790"/>
              <a:gd name="connsiteY76" fmla="*/ 4098656 h 4841875"/>
              <a:gd name="connsiteX77" fmla="*/ 4542971 w 7047790"/>
              <a:gd name="connsiteY77" fmla="*/ 4095799 h 4841875"/>
              <a:gd name="connsiteX78" fmla="*/ 4548650 w 7047790"/>
              <a:gd name="connsiteY78" fmla="*/ 4093259 h 4841875"/>
              <a:gd name="connsiteX79" fmla="*/ 4553661 w 7047790"/>
              <a:gd name="connsiteY79" fmla="*/ 4089767 h 4841875"/>
              <a:gd name="connsiteX80" fmla="*/ 4558672 w 7047790"/>
              <a:gd name="connsiteY80" fmla="*/ 4086275 h 4841875"/>
              <a:gd name="connsiteX81" fmla="*/ 4563683 w 7047790"/>
              <a:gd name="connsiteY81" fmla="*/ 4082465 h 4841875"/>
              <a:gd name="connsiteX82" fmla="*/ 4568360 w 7047790"/>
              <a:gd name="connsiteY82" fmla="*/ 4078338 h 4841875"/>
              <a:gd name="connsiteX83" fmla="*/ 4572704 w 7047790"/>
              <a:gd name="connsiteY83" fmla="*/ 4073893 h 4841875"/>
              <a:gd name="connsiteX84" fmla="*/ 4577381 w 7047790"/>
              <a:gd name="connsiteY84" fmla="*/ 4069448 h 4841875"/>
              <a:gd name="connsiteX85" fmla="*/ 4581389 w 7047790"/>
              <a:gd name="connsiteY85" fmla="*/ 4064686 h 4841875"/>
              <a:gd name="connsiteX86" fmla="*/ 4585064 w 7047790"/>
              <a:gd name="connsiteY86" fmla="*/ 4059606 h 4841875"/>
              <a:gd name="connsiteX87" fmla="*/ 4588738 w 7047790"/>
              <a:gd name="connsiteY87" fmla="*/ 4054844 h 4841875"/>
              <a:gd name="connsiteX88" fmla="*/ 4592079 w 7047790"/>
              <a:gd name="connsiteY88" fmla="*/ 4049447 h 4841875"/>
              <a:gd name="connsiteX89" fmla="*/ 4595086 w 7047790"/>
              <a:gd name="connsiteY89" fmla="*/ 4044367 h 4841875"/>
              <a:gd name="connsiteX90" fmla="*/ 4597424 w 7047790"/>
              <a:gd name="connsiteY90" fmla="*/ 4038653 h 4841875"/>
              <a:gd name="connsiteX91" fmla="*/ 4599763 w 7047790"/>
              <a:gd name="connsiteY91" fmla="*/ 4033256 h 4841875"/>
              <a:gd name="connsiteX92" fmla="*/ 4602101 w 7047790"/>
              <a:gd name="connsiteY92" fmla="*/ 4027859 h 4841875"/>
              <a:gd name="connsiteX93" fmla="*/ 4604106 w 7047790"/>
              <a:gd name="connsiteY93" fmla="*/ 4022144 h 4841875"/>
              <a:gd name="connsiteX94" fmla="*/ 4605776 w 7047790"/>
              <a:gd name="connsiteY94" fmla="*/ 4016112 h 4841875"/>
              <a:gd name="connsiteX95" fmla="*/ 4606778 w 7047790"/>
              <a:gd name="connsiteY95" fmla="*/ 4010397 h 4841875"/>
              <a:gd name="connsiteX96" fmla="*/ 4607781 w 7047790"/>
              <a:gd name="connsiteY96" fmla="*/ 4004683 h 4841875"/>
              <a:gd name="connsiteX97" fmla="*/ 4608448 w 7047790"/>
              <a:gd name="connsiteY97" fmla="*/ 3998650 h 4841875"/>
              <a:gd name="connsiteX98" fmla="*/ 4608782 w 7047790"/>
              <a:gd name="connsiteY98" fmla="*/ 3992936 h 4841875"/>
              <a:gd name="connsiteX99" fmla="*/ 4609117 w 7047790"/>
              <a:gd name="connsiteY99" fmla="*/ 3987221 h 4841875"/>
              <a:gd name="connsiteX100" fmla="*/ 4608782 w 7047790"/>
              <a:gd name="connsiteY100" fmla="*/ 3980872 h 4841875"/>
              <a:gd name="connsiteX101" fmla="*/ 4608448 w 7047790"/>
              <a:gd name="connsiteY101" fmla="*/ 3975157 h 4841875"/>
              <a:gd name="connsiteX102" fmla="*/ 4607781 w 7047790"/>
              <a:gd name="connsiteY102" fmla="*/ 3969442 h 4841875"/>
              <a:gd name="connsiteX103" fmla="*/ 4606778 w 7047790"/>
              <a:gd name="connsiteY103" fmla="*/ 3963410 h 4841875"/>
              <a:gd name="connsiteX104" fmla="*/ 4605776 w 7047790"/>
              <a:gd name="connsiteY104" fmla="*/ 3957696 h 4841875"/>
              <a:gd name="connsiteX105" fmla="*/ 4604106 w 7047790"/>
              <a:gd name="connsiteY105" fmla="*/ 3951981 h 4841875"/>
              <a:gd name="connsiteX106" fmla="*/ 4602101 w 7047790"/>
              <a:gd name="connsiteY106" fmla="*/ 3946584 h 4841875"/>
              <a:gd name="connsiteX107" fmla="*/ 4599763 w 7047790"/>
              <a:gd name="connsiteY107" fmla="*/ 3940552 h 4841875"/>
              <a:gd name="connsiteX108" fmla="*/ 4597424 w 7047790"/>
              <a:gd name="connsiteY108" fmla="*/ 3935155 h 4841875"/>
              <a:gd name="connsiteX109" fmla="*/ 4595086 w 7047790"/>
              <a:gd name="connsiteY109" fmla="*/ 3929757 h 4841875"/>
              <a:gd name="connsiteX110" fmla="*/ 4592079 w 7047790"/>
              <a:gd name="connsiteY110" fmla="*/ 3924678 h 4841875"/>
              <a:gd name="connsiteX111" fmla="*/ 4588738 w 7047790"/>
              <a:gd name="connsiteY111" fmla="*/ 3919281 h 4841875"/>
              <a:gd name="connsiteX112" fmla="*/ 4585064 w 7047790"/>
              <a:gd name="connsiteY112" fmla="*/ 3914201 h 4841875"/>
              <a:gd name="connsiteX113" fmla="*/ 4581389 w 7047790"/>
              <a:gd name="connsiteY113" fmla="*/ 3909121 h 4841875"/>
              <a:gd name="connsiteX114" fmla="*/ 4577381 w 7047790"/>
              <a:gd name="connsiteY114" fmla="*/ 3904677 h 4841875"/>
              <a:gd name="connsiteX115" fmla="*/ 4572704 w 7047790"/>
              <a:gd name="connsiteY115" fmla="*/ 3899914 h 4841875"/>
              <a:gd name="connsiteX116" fmla="*/ 3276525 w 7047790"/>
              <a:gd name="connsiteY116" fmla="*/ 2605234 h 4841875"/>
              <a:gd name="connsiteX117" fmla="*/ 3272182 w 7047790"/>
              <a:gd name="connsiteY117" fmla="*/ 2600472 h 4841875"/>
              <a:gd name="connsiteX118" fmla="*/ 3268174 w 7047790"/>
              <a:gd name="connsiteY118" fmla="*/ 2596027 h 4841875"/>
              <a:gd name="connsiteX119" fmla="*/ 3264165 w 7047790"/>
              <a:gd name="connsiteY119" fmla="*/ 2590948 h 4841875"/>
              <a:gd name="connsiteX120" fmla="*/ 3260824 w 7047790"/>
              <a:gd name="connsiteY120" fmla="*/ 2585868 h 4841875"/>
              <a:gd name="connsiteX121" fmla="*/ 3257818 w 7047790"/>
              <a:gd name="connsiteY121" fmla="*/ 2580788 h 4841875"/>
              <a:gd name="connsiteX122" fmla="*/ 3254811 w 7047790"/>
              <a:gd name="connsiteY122" fmla="*/ 2575709 h 4841875"/>
              <a:gd name="connsiteX123" fmla="*/ 3252138 w 7047790"/>
              <a:gd name="connsiteY123" fmla="*/ 2569994 h 4841875"/>
              <a:gd name="connsiteX124" fmla="*/ 3249466 w 7047790"/>
              <a:gd name="connsiteY124" fmla="*/ 2564597 h 4841875"/>
              <a:gd name="connsiteX125" fmla="*/ 3247461 w 7047790"/>
              <a:gd name="connsiteY125" fmla="*/ 2558882 h 4841875"/>
              <a:gd name="connsiteX126" fmla="*/ 3245791 w 7047790"/>
              <a:gd name="connsiteY126" fmla="*/ 2553168 h 4841875"/>
              <a:gd name="connsiteX127" fmla="*/ 3244121 w 7047790"/>
              <a:gd name="connsiteY127" fmla="*/ 2547453 h 4841875"/>
              <a:gd name="connsiteX128" fmla="*/ 3242785 w 7047790"/>
              <a:gd name="connsiteY128" fmla="*/ 2541738 h 4841875"/>
              <a:gd name="connsiteX129" fmla="*/ 3241782 w 7047790"/>
              <a:gd name="connsiteY129" fmla="*/ 2536024 h 4841875"/>
              <a:gd name="connsiteX130" fmla="*/ 3241114 w 7047790"/>
              <a:gd name="connsiteY130" fmla="*/ 2529992 h 4841875"/>
              <a:gd name="connsiteX131" fmla="*/ 3240780 w 7047790"/>
              <a:gd name="connsiteY131" fmla="*/ 2524277 h 4841875"/>
              <a:gd name="connsiteX132" fmla="*/ 3240780 w 7047790"/>
              <a:gd name="connsiteY132" fmla="*/ 2518245 h 4841875"/>
              <a:gd name="connsiteX133" fmla="*/ 3240780 w 7047790"/>
              <a:gd name="connsiteY133" fmla="*/ 2512213 h 4841875"/>
              <a:gd name="connsiteX134" fmla="*/ 3241114 w 7047790"/>
              <a:gd name="connsiteY134" fmla="*/ 2506498 h 4841875"/>
              <a:gd name="connsiteX135" fmla="*/ 3241782 w 7047790"/>
              <a:gd name="connsiteY135" fmla="*/ 2500784 h 4841875"/>
              <a:gd name="connsiteX136" fmla="*/ 3242785 w 7047790"/>
              <a:gd name="connsiteY136" fmla="*/ 2494752 h 4841875"/>
              <a:gd name="connsiteX137" fmla="*/ 3244121 w 7047790"/>
              <a:gd name="connsiteY137" fmla="*/ 2489037 h 4841875"/>
              <a:gd name="connsiteX138" fmla="*/ 3245791 w 7047790"/>
              <a:gd name="connsiteY138" fmla="*/ 2483322 h 4841875"/>
              <a:gd name="connsiteX139" fmla="*/ 3247461 w 7047790"/>
              <a:gd name="connsiteY139" fmla="*/ 2477290 h 4841875"/>
              <a:gd name="connsiteX140" fmla="*/ 3249466 w 7047790"/>
              <a:gd name="connsiteY140" fmla="*/ 2471893 h 4841875"/>
              <a:gd name="connsiteX141" fmla="*/ 3252138 w 7047790"/>
              <a:gd name="connsiteY141" fmla="*/ 2466496 h 4841875"/>
              <a:gd name="connsiteX142" fmla="*/ 3254811 w 7047790"/>
              <a:gd name="connsiteY142" fmla="*/ 2461099 h 4841875"/>
              <a:gd name="connsiteX143" fmla="*/ 3257818 w 7047790"/>
              <a:gd name="connsiteY143" fmla="*/ 2455702 h 4841875"/>
              <a:gd name="connsiteX144" fmla="*/ 3260824 w 7047790"/>
              <a:gd name="connsiteY144" fmla="*/ 2450304 h 4841875"/>
              <a:gd name="connsiteX145" fmla="*/ 3264165 w 7047790"/>
              <a:gd name="connsiteY145" fmla="*/ 2445542 h 4841875"/>
              <a:gd name="connsiteX146" fmla="*/ 3268174 w 7047790"/>
              <a:gd name="connsiteY146" fmla="*/ 2440463 h 4841875"/>
              <a:gd name="connsiteX147" fmla="*/ 3272182 w 7047790"/>
              <a:gd name="connsiteY147" fmla="*/ 2435700 h 4841875"/>
              <a:gd name="connsiteX148" fmla="*/ 3276525 w 7047790"/>
              <a:gd name="connsiteY148" fmla="*/ 2431256 h 4841875"/>
              <a:gd name="connsiteX149" fmla="*/ 3281536 w 7047790"/>
              <a:gd name="connsiteY149" fmla="*/ 2426811 h 4841875"/>
              <a:gd name="connsiteX150" fmla="*/ 3285879 w 7047790"/>
              <a:gd name="connsiteY150" fmla="*/ 2422684 h 4841875"/>
              <a:gd name="connsiteX151" fmla="*/ 3290890 w 7047790"/>
              <a:gd name="connsiteY151" fmla="*/ 2418874 h 4841875"/>
              <a:gd name="connsiteX152" fmla="*/ 3296235 w 7047790"/>
              <a:gd name="connsiteY152" fmla="*/ 2415382 h 4841875"/>
              <a:gd name="connsiteX153" fmla="*/ 3301246 w 7047790"/>
              <a:gd name="connsiteY153" fmla="*/ 2412207 h 4841875"/>
              <a:gd name="connsiteX154" fmla="*/ 3306591 w 7047790"/>
              <a:gd name="connsiteY154" fmla="*/ 2409350 h 4841875"/>
              <a:gd name="connsiteX155" fmla="*/ 3311936 w 7047790"/>
              <a:gd name="connsiteY155" fmla="*/ 2406492 h 4841875"/>
              <a:gd name="connsiteX156" fmla="*/ 3317281 w 7047790"/>
              <a:gd name="connsiteY156" fmla="*/ 2404270 h 4841875"/>
              <a:gd name="connsiteX157" fmla="*/ 3323295 w 7047790"/>
              <a:gd name="connsiteY157" fmla="*/ 2402048 h 4841875"/>
              <a:gd name="connsiteX158" fmla="*/ 3328640 w 7047790"/>
              <a:gd name="connsiteY158" fmla="*/ 2400143 h 4841875"/>
              <a:gd name="connsiteX159" fmla="*/ 3334653 w 7047790"/>
              <a:gd name="connsiteY159" fmla="*/ 2398873 h 4841875"/>
              <a:gd name="connsiteX160" fmla="*/ 3340332 w 7047790"/>
              <a:gd name="connsiteY160" fmla="*/ 2397285 h 4841875"/>
              <a:gd name="connsiteX161" fmla="*/ 3346011 w 7047790"/>
              <a:gd name="connsiteY161" fmla="*/ 2396333 h 4841875"/>
              <a:gd name="connsiteX162" fmla="*/ 3352024 w 7047790"/>
              <a:gd name="connsiteY162" fmla="*/ 2395698 h 4841875"/>
              <a:gd name="connsiteX163" fmla="*/ 3357703 w 7047790"/>
              <a:gd name="connsiteY163" fmla="*/ 2395381 h 4841875"/>
              <a:gd name="connsiteX164" fmla="*/ 3364051 w 7047790"/>
              <a:gd name="connsiteY164" fmla="*/ 2395381 h 4841875"/>
              <a:gd name="connsiteX165" fmla="*/ 3369730 w 7047790"/>
              <a:gd name="connsiteY165" fmla="*/ 2395381 h 4841875"/>
              <a:gd name="connsiteX166" fmla="*/ 3375743 w 7047790"/>
              <a:gd name="connsiteY166" fmla="*/ 2395698 h 4841875"/>
              <a:gd name="connsiteX167" fmla="*/ 3381422 w 7047790"/>
              <a:gd name="connsiteY167" fmla="*/ 2396333 h 4841875"/>
              <a:gd name="connsiteX168" fmla="*/ 3387101 w 7047790"/>
              <a:gd name="connsiteY168" fmla="*/ 2397285 h 4841875"/>
              <a:gd name="connsiteX169" fmla="*/ 3393114 w 7047790"/>
              <a:gd name="connsiteY169" fmla="*/ 2398873 h 4841875"/>
              <a:gd name="connsiteX170" fmla="*/ 3398794 w 7047790"/>
              <a:gd name="connsiteY170" fmla="*/ 2400143 h 4841875"/>
              <a:gd name="connsiteX171" fmla="*/ 3404807 w 7047790"/>
              <a:gd name="connsiteY171" fmla="*/ 2402048 h 4841875"/>
              <a:gd name="connsiteX172" fmla="*/ 3410152 w 7047790"/>
              <a:gd name="connsiteY172" fmla="*/ 2404270 h 4841875"/>
              <a:gd name="connsiteX173" fmla="*/ 3415831 w 7047790"/>
              <a:gd name="connsiteY173" fmla="*/ 2406492 h 4841875"/>
              <a:gd name="connsiteX174" fmla="*/ 3421176 w 7047790"/>
              <a:gd name="connsiteY174" fmla="*/ 2409350 h 4841875"/>
              <a:gd name="connsiteX175" fmla="*/ 3426187 w 7047790"/>
              <a:gd name="connsiteY175" fmla="*/ 2412207 h 4841875"/>
              <a:gd name="connsiteX176" fmla="*/ 3431866 w 7047790"/>
              <a:gd name="connsiteY176" fmla="*/ 2415382 h 4841875"/>
              <a:gd name="connsiteX177" fmla="*/ 3436543 w 7047790"/>
              <a:gd name="connsiteY177" fmla="*/ 2418874 h 4841875"/>
              <a:gd name="connsiteX178" fmla="*/ 3441554 w 7047790"/>
              <a:gd name="connsiteY178" fmla="*/ 2422684 h 4841875"/>
              <a:gd name="connsiteX179" fmla="*/ 3446565 w 7047790"/>
              <a:gd name="connsiteY179" fmla="*/ 2426811 h 4841875"/>
              <a:gd name="connsiteX180" fmla="*/ 3450908 w 7047790"/>
              <a:gd name="connsiteY180" fmla="*/ 2431256 h 4841875"/>
              <a:gd name="connsiteX181" fmla="*/ 4169819 w 7047790"/>
              <a:gd name="connsiteY181" fmla="*/ 3149076 h 4841875"/>
              <a:gd name="connsiteX182" fmla="*/ 4174496 w 7047790"/>
              <a:gd name="connsiteY182" fmla="*/ 3153521 h 4841875"/>
              <a:gd name="connsiteX183" fmla="*/ 4179173 w 7047790"/>
              <a:gd name="connsiteY183" fmla="*/ 3157648 h 4841875"/>
              <a:gd name="connsiteX184" fmla="*/ 4184184 w 7047790"/>
              <a:gd name="connsiteY184" fmla="*/ 3161458 h 4841875"/>
              <a:gd name="connsiteX185" fmla="*/ 4189195 w 7047790"/>
              <a:gd name="connsiteY185" fmla="*/ 3164950 h 4841875"/>
              <a:gd name="connsiteX186" fmla="*/ 4194540 w 7047790"/>
              <a:gd name="connsiteY186" fmla="*/ 3168442 h 4841875"/>
              <a:gd name="connsiteX187" fmla="*/ 4199551 w 7047790"/>
              <a:gd name="connsiteY187" fmla="*/ 3170982 h 4841875"/>
              <a:gd name="connsiteX188" fmla="*/ 4204896 w 7047790"/>
              <a:gd name="connsiteY188" fmla="*/ 3173840 h 4841875"/>
              <a:gd name="connsiteX189" fmla="*/ 4210576 w 7047790"/>
              <a:gd name="connsiteY189" fmla="*/ 3176062 h 4841875"/>
              <a:gd name="connsiteX190" fmla="*/ 4216255 w 7047790"/>
              <a:gd name="connsiteY190" fmla="*/ 3178284 h 4841875"/>
              <a:gd name="connsiteX191" fmla="*/ 4221934 w 7047790"/>
              <a:gd name="connsiteY191" fmla="*/ 3180189 h 4841875"/>
              <a:gd name="connsiteX192" fmla="*/ 4227613 w 7047790"/>
              <a:gd name="connsiteY192" fmla="*/ 3181776 h 4841875"/>
              <a:gd name="connsiteX193" fmla="*/ 4233292 w 7047790"/>
              <a:gd name="connsiteY193" fmla="*/ 3183046 h 4841875"/>
              <a:gd name="connsiteX194" fmla="*/ 4239305 w 7047790"/>
              <a:gd name="connsiteY194" fmla="*/ 3183999 h 4841875"/>
              <a:gd name="connsiteX195" fmla="*/ 4244984 w 7047790"/>
              <a:gd name="connsiteY195" fmla="*/ 3184634 h 4841875"/>
              <a:gd name="connsiteX196" fmla="*/ 4250998 w 7047790"/>
              <a:gd name="connsiteY196" fmla="*/ 3184951 h 4841875"/>
              <a:gd name="connsiteX197" fmla="*/ 4257011 w 7047790"/>
              <a:gd name="connsiteY197" fmla="*/ 3185269 h 4841875"/>
              <a:gd name="connsiteX198" fmla="*/ 4263024 w 7047790"/>
              <a:gd name="connsiteY198" fmla="*/ 3184951 h 4841875"/>
              <a:gd name="connsiteX199" fmla="*/ 4268703 w 7047790"/>
              <a:gd name="connsiteY199" fmla="*/ 3184634 h 4841875"/>
              <a:gd name="connsiteX200" fmla="*/ 4274382 w 7047790"/>
              <a:gd name="connsiteY200" fmla="*/ 3183999 h 4841875"/>
              <a:gd name="connsiteX201" fmla="*/ 4280395 w 7047790"/>
              <a:gd name="connsiteY201" fmla="*/ 3183046 h 4841875"/>
              <a:gd name="connsiteX202" fmla="*/ 4286075 w 7047790"/>
              <a:gd name="connsiteY202" fmla="*/ 3181776 h 4841875"/>
              <a:gd name="connsiteX203" fmla="*/ 4292088 w 7047790"/>
              <a:gd name="connsiteY203" fmla="*/ 3180189 h 4841875"/>
              <a:gd name="connsiteX204" fmla="*/ 4297767 w 7047790"/>
              <a:gd name="connsiteY204" fmla="*/ 3178284 h 4841875"/>
              <a:gd name="connsiteX205" fmla="*/ 4303446 w 7047790"/>
              <a:gd name="connsiteY205" fmla="*/ 3176062 h 4841875"/>
              <a:gd name="connsiteX206" fmla="*/ 4308791 w 7047790"/>
              <a:gd name="connsiteY206" fmla="*/ 3173840 h 4841875"/>
              <a:gd name="connsiteX207" fmla="*/ 4314136 w 7047790"/>
              <a:gd name="connsiteY207" fmla="*/ 3170982 h 4841875"/>
              <a:gd name="connsiteX208" fmla="*/ 4319815 w 7047790"/>
              <a:gd name="connsiteY208" fmla="*/ 3168442 h 4841875"/>
              <a:gd name="connsiteX209" fmla="*/ 4324826 w 7047790"/>
              <a:gd name="connsiteY209" fmla="*/ 3164950 h 4841875"/>
              <a:gd name="connsiteX210" fmla="*/ 4329503 w 7047790"/>
              <a:gd name="connsiteY210" fmla="*/ 3161458 h 4841875"/>
              <a:gd name="connsiteX211" fmla="*/ 4334848 w 7047790"/>
              <a:gd name="connsiteY211" fmla="*/ 3157648 h 4841875"/>
              <a:gd name="connsiteX212" fmla="*/ 4339525 w 7047790"/>
              <a:gd name="connsiteY212" fmla="*/ 3153521 h 4841875"/>
              <a:gd name="connsiteX213" fmla="*/ 4344202 w 7047790"/>
              <a:gd name="connsiteY213" fmla="*/ 3149076 h 4841875"/>
              <a:gd name="connsiteX214" fmla="*/ 4348545 w 7047790"/>
              <a:gd name="connsiteY214" fmla="*/ 3144631 h 4841875"/>
              <a:gd name="connsiteX215" fmla="*/ 4352554 w 7047790"/>
              <a:gd name="connsiteY215" fmla="*/ 3139869 h 4841875"/>
              <a:gd name="connsiteX216" fmla="*/ 4356228 w 7047790"/>
              <a:gd name="connsiteY216" fmla="*/ 3134790 h 4841875"/>
              <a:gd name="connsiteX217" fmla="*/ 4359903 w 7047790"/>
              <a:gd name="connsiteY217" fmla="*/ 3130027 h 4841875"/>
              <a:gd name="connsiteX218" fmla="*/ 4363244 w 7047790"/>
              <a:gd name="connsiteY218" fmla="*/ 3124948 h 4841875"/>
              <a:gd name="connsiteX219" fmla="*/ 4365916 w 7047790"/>
              <a:gd name="connsiteY219" fmla="*/ 3119551 h 4841875"/>
              <a:gd name="connsiteX220" fmla="*/ 4368589 w 7047790"/>
              <a:gd name="connsiteY220" fmla="*/ 3113836 h 4841875"/>
              <a:gd name="connsiteX221" fmla="*/ 4371261 w 7047790"/>
              <a:gd name="connsiteY221" fmla="*/ 3108439 h 4841875"/>
              <a:gd name="connsiteX222" fmla="*/ 4373266 w 7047790"/>
              <a:gd name="connsiteY222" fmla="*/ 3103042 h 4841875"/>
              <a:gd name="connsiteX223" fmla="*/ 4375270 w 7047790"/>
              <a:gd name="connsiteY223" fmla="*/ 3097010 h 4841875"/>
              <a:gd name="connsiteX224" fmla="*/ 4376606 w 7047790"/>
              <a:gd name="connsiteY224" fmla="*/ 3091295 h 4841875"/>
              <a:gd name="connsiteX225" fmla="*/ 4377943 w 7047790"/>
              <a:gd name="connsiteY225" fmla="*/ 3085580 h 4841875"/>
              <a:gd name="connsiteX226" fmla="*/ 4378945 w 7047790"/>
              <a:gd name="connsiteY226" fmla="*/ 3079866 h 4841875"/>
              <a:gd name="connsiteX227" fmla="*/ 4379613 w 7047790"/>
              <a:gd name="connsiteY227" fmla="*/ 3073834 h 4841875"/>
              <a:gd name="connsiteX228" fmla="*/ 4379947 w 7047790"/>
              <a:gd name="connsiteY228" fmla="*/ 3068119 h 4841875"/>
              <a:gd name="connsiteX229" fmla="*/ 4380281 w 7047790"/>
              <a:gd name="connsiteY229" fmla="*/ 3062404 h 4841875"/>
              <a:gd name="connsiteX230" fmla="*/ 4379947 w 7047790"/>
              <a:gd name="connsiteY230" fmla="*/ 3056055 h 4841875"/>
              <a:gd name="connsiteX231" fmla="*/ 4379613 w 7047790"/>
              <a:gd name="connsiteY231" fmla="*/ 3050340 h 4841875"/>
              <a:gd name="connsiteX232" fmla="*/ 4378945 w 7047790"/>
              <a:gd name="connsiteY232" fmla="*/ 3044625 h 4841875"/>
              <a:gd name="connsiteX233" fmla="*/ 4377943 w 7047790"/>
              <a:gd name="connsiteY233" fmla="*/ 3038593 h 4841875"/>
              <a:gd name="connsiteX234" fmla="*/ 4376606 w 7047790"/>
              <a:gd name="connsiteY234" fmla="*/ 3032879 h 4841875"/>
              <a:gd name="connsiteX235" fmla="*/ 4375270 w 7047790"/>
              <a:gd name="connsiteY235" fmla="*/ 3027164 h 4841875"/>
              <a:gd name="connsiteX236" fmla="*/ 4373266 w 7047790"/>
              <a:gd name="connsiteY236" fmla="*/ 3021449 h 4841875"/>
              <a:gd name="connsiteX237" fmla="*/ 4371261 w 7047790"/>
              <a:gd name="connsiteY237" fmla="*/ 3015735 h 4841875"/>
              <a:gd name="connsiteX238" fmla="*/ 4368589 w 7047790"/>
              <a:gd name="connsiteY238" fmla="*/ 3010338 h 4841875"/>
              <a:gd name="connsiteX239" fmla="*/ 4365916 w 7047790"/>
              <a:gd name="connsiteY239" fmla="*/ 3004941 h 4841875"/>
              <a:gd name="connsiteX240" fmla="*/ 4363244 w 7047790"/>
              <a:gd name="connsiteY240" fmla="*/ 2999543 h 4841875"/>
              <a:gd name="connsiteX241" fmla="*/ 4359903 w 7047790"/>
              <a:gd name="connsiteY241" fmla="*/ 2994464 h 4841875"/>
              <a:gd name="connsiteX242" fmla="*/ 4356228 w 7047790"/>
              <a:gd name="connsiteY242" fmla="*/ 2989384 h 4841875"/>
              <a:gd name="connsiteX243" fmla="*/ 4352554 w 7047790"/>
              <a:gd name="connsiteY243" fmla="*/ 2984622 h 4841875"/>
              <a:gd name="connsiteX244" fmla="*/ 4348545 w 7047790"/>
              <a:gd name="connsiteY244" fmla="*/ 2979860 h 4841875"/>
              <a:gd name="connsiteX245" fmla="*/ 4344202 w 7047790"/>
              <a:gd name="connsiteY245" fmla="*/ 2975098 h 4841875"/>
              <a:gd name="connsiteX246" fmla="*/ 4244650 w 7047790"/>
              <a:gd name="connsiteY246" fmla="*/ 2875727 h 4841875"/>
              <a:gd name="connsiteX247" fmla="*/ 3995771 w 7047790"/>
              <a:gd name="connsiteY247" fmla="*/ 2627140 h 4841875"/>
              <a:gd name="connsiteX248" fmla="*/ 3991428 w 7047790"/>
              <a:gd name="connsiteY248" fmla="*/ 2622696 h 4841875"/>
              <a:gd name="connsiteX249" fmla="*/ 3987419 w 7047790"/>
              <a:gd name="connsiteY249" fmla="*/ 2617933 h 4841875"/>
              <a:gd name="connsiteX250" fmla="*/ 3983410 w 7047790"/>
              <a:gd name="connsiteY250" fmla="*/ 2613171 h 4841875"/>
              <a:gd name="connsiteX251" fmla="*/ 3980070 w 7047790"/>
              <a:gd name="connsiteY251" fmla="*/ 2608092 h 4841875"/>
              <a:gd name="connsiteX252" fmla="*/ 3977063 w 7047790"/>
              <a:gd name="connsiteY252" fmla="*/ 2603012 h 4841875"/>
              <a:gd name="connsiteX253" fmla="*/ 3973722 w 7047790"/>
              <a:gd name="connsiteY253" fmla="*/ 2597297 h 4841875"/>
              <a:gd name="connsiteX254" fmla="*/ 3971050 w 7047790"/>
              <a:gd name="connsiteY254" fmla="*/ 2591900 h 4841875"/>
              <a:gd name="connsiteX255" fmla="*/ 3968711 w 7047790"/>
              <a:gd name="connsiteY255" fmla="*/ 2586503 h 4841875"/>
              <a:gd name="connsiteX256" fmla="*/ 3966707 w 7047790"/>
              <a:gd name="connsiteY256" fmla="*/ 2581106 h 4841875"/>
              <a:gd name="connsiteX257" fmla="*/ 3965037 w 7047790"/>
              <a:gd name="connsiteY257" fmla="*/ 2575074 h 4841875"/>
              <a:gd name="connsiteX258" fmla="*/ 3963366 w 7047790"/>
              <a:gd name="connsiteY258" fmla="*/ 2569677 h 4841875"/>
              <a:gd name="connsiteX259" fmla="*/ 3962030 w 7047790"/>
              <a:gd name="connsiteY259" fmla="*/ 2563962 h 4841875"/>
              <a:gd name="connsiteX260" fmla="*/ 3961028 w 7047790"/>
              <a:gd name="connsiteY260" fmla="*/ 2558247 h 4841875"/>
              <a:gd name="connsiteX261" fmla="*/ 3960026 w 7047790"/>
              <a:gd name="connsiteY261" fmla="*/ 2551898 h 4841875"/>
              <a:gd name="connsiteX262" fmla="*/ 3959691 w 7047790"/>
              <a:gd name="connsiteY262" fmla="*/ 2546183 h 4841875"/>
              <a:gd name="connsiteX263" fmla="*/ 3959691 w 7047790"/>
              <a:gd name="connsiteY263" fmla="*/ 2540469 h 4841875"/>
              <a:gd name="connsiteX264" fmla="*/ 3959691 w 7047790"/>
              <a:gd name="connsiteY264" fmla="*/ 2534436 h 4841875"/>
              <a:gd name="connsiteX265" fmla="*/ 3960026 w 7047790"/>
              <a:gd name="connsiteY265" fmla="*/ 2528404 h 4841875"/>
              <a:gd name="connsiteX266" fmla="*/ 3961028 w 7047790"/>
              <a:gd name="connsiteY266" fmla="*/ 2522690 h 4841875"/>
              <a:gd name="connsiteX267" fmla="*/ 3962030 w 7047790"/>
              <a:gd name="connsiteY267" fmla="*/ 2516658 h 4841875"/>
              <a:gd name="connsiteX268" fmla="*/ 3963366 w 7047790"/>
              <a:gd name="connsiteY268" fmla="*/ 2510943 h 4841875"/>
              <a:gd name="connsiteX269" fmla="*/ 3965037 w 7047790"/>
              <a:gd name="connsiteY269" fmla="*/ 2505228 h 4841875"/>
              <a:gd name="connsiteX270" fmla="*/ 3966707 w 7047790"/>
              <a:gd name="connsiteY270" fmla="*/ 2499514 h 4841875"/>
              <a:gd name="connsiteX271" fmla="*/ 3968711 w 7047790"/>
              <a:gd name="connsiteY271" fmla="*/ 2494117 h 4841875"/>
              <a:gd name="connsiteX272" fmla="*/ 3971050 w 7047790"/>
              <a:gd name="connsiteY272" fmla="*/ 2488402 h 4841875"/>
              <a:gd name="connsiteX273" fmla="*/ 3973722 w 7047790"/>
              <a:gd name="connsiteY273" fmla="*/ 2483322 h 4841875"/>
              <a:gd name="connsiteX274" fmla="*/ 3977063 w 7047790"/>
              <a:gd name="connsiteY274" fmla="*/ 2477608 h 4841875"/>
              <a:gd name="connsiteX275" fmla="*/ 3980070 w 7047790"/>
              <a:gd name="connsiteY275" fmla="*/ 2472528 h 4841875"/>
              <a:gd name="connsiteX276" fmla="*/ 3983410 w 7047790"/>
              <a:gd name="connsiteY276" fmla="*/ 2467448 h 4841875"/>
              <a:gd name="connsiteX277" fmla="*/ 3987419 w 7047790"/>
              <a:gd name="connsiteY277" fmla="*/ 2462686 h 4841875"/>
              <a:gd name="connsiteX278" fmla="*/ 3991428 w 7047790"/>
              <a:gd name="connsiteY278" fmla="*/ 2457924 h 4841875"/>
              <a:gd name="connsiteX279" fmla="*/ 3995771 w 7047790"/>
              <a:gd name="connsiteY279" fmla="*/ 2453162 h 4841875"/>
              <a:gd name="connsiteX280" fmla="*/ 4000448 w 7047790"/>
              <a:gd name="connsiteY280" fmla="*/ 2449035 h 4841875"/>
              <a:gd name="connsiteX281" fmla="*/ 4005459 w 7047790"/>
              <a:gd name="connsiteY281" fmla="*/ 2444907 h 4841875"/>
              <a:gd name="connsiteX282" fmla="*/ 4010135 w 7047790"/>
              <a:gd name="connsiteY282" fmla="*/ 2441098 h 4841875"/>
              <a:gd name="connsiteX283" fmla="*/ 4015146 w 7047790"/>
              <a:gd name="connsiteY283" fmla="*/ 2437288 h 4841875"/>
              <a:gd name="connsiteX284" fmla="*/ 4020492 w 7047790"/>
              <a:gd name="connsiteY284" fmla="*/ 2434430 h 4841875"/>
              <a:gd name="connsiteX285" fmla="*/ 4025503 w 7047790"/>
              <a:gd name="connsiteY285" fmla="*/ 2431256 h 4841875"/>
              <a:gd name="connsiteX286" fmla="*/ 4031182 w 7047790"/>
              <a:gd name="connsiteY286" fmla="*/ 2428398 h 4841875"/>
              <a:gd name="connsiteX287" fmla="*/ 4036527 w 7047790"/>
              <a:gd name="connsiteY287" fmla="*/ 2426176 h 4841875"/>
              <a:gd name="connsiteX288" fmla="*/ 4042206 w 7047790"/>
              <a:gd name="connsiteY288" fmla="*/ 2423954 h 4841875"/>
              <a:gd name="connsiteX289" fmla="*/ 4047885 w 7047790"/>
              <a:gd name="connsiteY289" fmla="*/ 2422366 h 4841875"/>
              <a:gd name="connsiteX290" fmla="*/ 4053564 w 7047790"/>
              <a:gd name="connsiteY290" fmla="*/ 2420461 h 4841875"/>
              <a:gd name="connsiteX291" fmla="*/ 4059577 w 7047790"/>
              <a:gd name="connsiteY291" fmla="*/ 2419509 h 4841875"/>
              <a:gd name="connsiteX292" fmla="*/ 4065256 w 7047790"/>
              <a:gd name="connsiteY292" fmla="*/ 2418557 h 4841875"/>
              <a:gd name="connsiteX293" fmla="*/ 4071270 w 7047790"/>
              <a:gd name="connsiteY293" fmla="*/ 2417922 h 4841875"/>
              <a:gd name="connsiteX294" fmla="*/ 4076949 w 7047790"/>
              <a:gd name="connsiteY294" fmla="*/ 2417287 h 4841875"/>
              <a:gd name="connsiteX295" fmla="*/ 4082962 w 7047790"/>
              <a:gd name="connsiteY295" fmla="*/ 2417287 h 4841875"/>
              <a:gd name="connsiteX296" fmla="*/ 4088975 w 7047790"/>
              <a:gd name="connsiteY296" fmla="*/ 2417287 h 4841875"/>
              <a:gd name="connsiteX297" fmla="*/ 4094654 w 7047790"/>
              <a:gd name="connsiteY297" fmla="*/ 2417922 h 4841875"/>
              <a:gd name="connsiteX298" fmla="*/ 4100668 w 7047790"/>
              <a:gd name="connsiteY298" fmla="*/ 2418557 h 4841875"/>
              <a:gd name="connsiteX299" fmla="*/ 4106347 w 7047790"/>
              <a:gd name="connsiteY299" fmla="*/ 2419509 h 4841875"/>
              <a:gd name="connsiteX300" fmla="*/ 4112360 w 7047790"/>
              <a:gd name="connsiteY300" fmla="*/ 2420461 h 4841875"/>
              <a:gd name="connsiteX301" fmla="*/ 4118039 w 7047790"/>
              <a:gd name="connsiteY301" fmla="*/ 2422366 h 4841875"/>
              <a:gd name="connsiteX302" fmla="*/ 4123718 w 7047790"/>
              <a:gd name="connsiteY302" fmla="*/ 2423954 h 4841875"/>
              <a:gd name="connsiteX303" fmla="*/ 4129397 w 7047790"/>
              <a:gd name="connsiteY303" fmla="*/ 2426176 h 4841875"/>
              <a:gd name="connsiteX304" fmla="*/ 4134742 w 7047790"/>
              <a:gd name="connsiteY304" fmla="*/ 2428398 h 4841875"/>
              <a:gd name="connsiteX305" fmla="*/ 4140421 w 7047790"/>
              <a:gd name="connsiteY305" fmla="*/ 2431256 h 4841875"/>
              <a:gd name="connsiteX306" fmla="*/ 4145767 w 7047790"/>
              <a:gd name="connsiteY306" fmla="*/ 2434430 h 4841875"/>
              <a:gd name="connsiteX307" fmla="*/ 4150778 w 7047790"/>
              <a:gd name="connsiteY307" fmla="*/ 2437288 h 4841875"/>
              <a:gd name="connsiteX308" fmla="*/ 4155789 w 7047790"/>
              <a:gd name="connsiteY308" fmla="*/ 2441098 h 4841875"/>
              <a:gd name="connsiteX309" fmla="*/ 4160800 w 7047790"/>
              <a:gd name="connsiteY309" fmla="*/ 2444907 h 4841875"/>
              <a:gd name="connsiteX310" fmla="*/ 4165476 w 7047790"/>
              <a:gd name="connsiteY310" fmla="*/ 2449035 h 4841875"/>
              <a:gd name="connsiteX311" fmla="*/ 4170153 w 7047790"/>
              <a:gd name="connsiteY311" fmla="*/ 2453162 h 4841875"/>
              <a:gd name="connsiteX312" fmla="*/ 4969908 w 7047790"/>
              <a:gd name="connsiteY312" fmla="*/ 3252257 h 4841875"/>
              <a:gd name="connsiteX313" fmla="*/ 6561736 w 7047790"/>
              <a:gd name="connsiteY313" fmla="*/ 4841875 h 4841875"/>
              <a:gd name="connsiteX314" fmla="*/ 6561736 w 7047790"/>
              <a:gd name="connsiteY314" fmla="*/ 4559209 h 4841875"/>
              <a:gd name="connsiteX315" fmla="*/ 6561736 w 7047790"/>
              <a:gd name="connsiteY315" fmla="*/ 0 h 4841875"/>
              <a:gd name="connsiteX0" fmla="*/ 6561736 w 6561736"/>
              <a:gd name="connsiteY0" fmla="*/ 0 h 4841875"/>
              <a:gd name="connsiteX1" fmla="*/ 0 w 6561736"/>
              <a:gd name="connsiteY1" fmla="*/ 0 h 4841875"/>
              <a:gd name="connsiteX2" fmla="*/ 2696252 w 6561736"/>
              <a:gd name="connsiteY2" fmla="*/ 2688414 h 4841875"/>
              <a:gd name="connsiteX3" fmla="*/ 2695583 w 6561736"/>
              <a:gd name="connsiteY3" fmla="*/ 2681112 h 4841875"/>
              <a:gd name="connsiteX4" fmla="*/ 2694915 w 6561736"/>
              <a:gd name="connsiteY4" fmla="*/ 2674127 h 4841875"/>
              <a:gd name="connsiteX5" fmla="*/ 2694915 w 6561736"/>
              <a:gd name="connsiteY5" fmla="*/ 2667143 h 4841875"/>
              <a:gd name="connsiteX6" fmla="*/ 2695249 w 6561736"/>
              <a:gd name="connsiteY6" fmla="*/ 2660158 h 4841875"/>
              <a:gd name="connsiteX7" fmla="*/ 2695918 w 6561736"/>
              <a:gd name="connsiteY7" fmla="*/ 2652856 h 4841875"/>
              <a:gd name="connsiteX8" fmla="*/ 2696920 w 6561736"/>
              <a:gd name="connsiteY8" fmla="*/ 2645872 h 4841875"/>
              <a:gd name="connsiteX9" fmla="*/ 2698590 w 6561736"/>
              <a:gd name="connsiteY9" fmla="*/ 2638887 h 4841875"/>
              <a:gd name="connsiteX10" fmla="*/ 2700260 w 6561736"/>
              <a:gd name="connsiteY10" fmla="*/ 2631903 h 4841875"/>
              <a:gd name="connsiteX11" fmla="*/ 2702599 w 6561736"/>
              <a:gd name="connsiteY11" fmla="*/ 2625235 h 4841875"/>
              <a:gd name="connsiteX12" fmla="*/ 2705605 w 6561736"/>
              <a:gd name="connsiteY12" fmla="*/ 2618568 h 4841875"/>
              <a:gd name="connsiteX13" fmla="*/ 2708946 w 6561736"/>
              <a:gd name="connsiteY13" fmla="*/ 2612219 h 4841875"/>
              <a:gd name="connsiteX14" fmla="*/ 2712287 w 6561736"/>
              <a:gd name="connsiteY14" fmla="*/ 2605552 h 4841875"/>
              <a:gd name="connsiteX15" fmla="*/ 2716296 w 6561736"/>
              <a:gd name="connsiteY15" fmla="*/ 2599520 h 4841875"/>
              <a:gd name="connsiteX16" fmla="*/ 2720973 w 6561736"/>
              <a:gd name="connsiteY16" fmla="*/ 2593488 h 4841875"/>
              <a:gd name="connsiteX17" fmla="*/ 2725649 w 6561736"/>
              <a:gd name="connsiteY17" fmla="*/ 2587773 h 4841875"/>
              <a:gd name="connsiteX18" fmla="*/ 2730660 w 6561736"/>
              <a:gd name="connsiteY18" fmla="*/ 2582058 h 4841875"/>
              <a:gd name="connsiteX19" fmla="*/ 2735337 w 6561736"/>
              <a:gd name="connsiteY19" fmla="*/ 2577931 h 4841875"/>
              <a:gd name="connsiteX20" fmla="*/ 2740014 w 6561736"/>
              <a:gd name="connsiteY20" fmla="*/ 2573804 h 4841875"/>
              <a:gd name="connsiteX21" fmla="*/ 2745025 w 6561736"/>
              <a:gd name="connsiteY21" fmla="*/ 2569994 h 4841875"/>
              <a:gd name="connsiteX22" fmla="*/ 2750036 w 6561736"/>
              <a:gd name="connsiteY22" fmla="*/ 2566184 h 4841875"/>
              <a:gd name="connsiteX23" fmla="*/ 2755381 w 6561736"/>
              <a:gd name="connsiteY23" fmla="*/ 2563327 h 4841875"/>
              <a:gd name="connsiteX24" fmla="*/ 2760726 w 6561736"/>
              <a:gd name="connsiteY24" fmla="*/ 2560152 h 4841875"/>
              <a:gd name="connsiteX25" fmla="*/ 2766072 w 6561736"/>
              <a:gd name="connsiteY25" fmla="*/ 2557295 h 4841875"/>
              <a:gd name="connsiteX26" fmla="*/ 2771417 w 6561736"/>
              <a:gd name="connsiteY26" fmla="*/ 2555073 h 4841875"/>
              <a:gd name="connsiteX27" fmla="*/ 2777096 w 6561736"/>
              <a:gd name="connsiteY27" fmla="*/ 2552850 h 4841875"/>
              <a:gd name="connsiteX28" fmla="*/ 2782775 w 6561736"/>
              <a:gd name="connsiteY28" fmla="*/ 2551263 h 4841875"/>
              <a:gd name="connsiteX29" fmla="*/ 2788788 w 6561736"/>
              <a:gd name="connsiteY29" fmla="*/ 2549675 h 4841875"/>
              <a:gd name="connsiteX30" fmla="*/ 2794467 w 6561736"/>
              <a:gd name="connsiteY30" fmla="*/ 2548406 h 4841875"/>
              <a:gd name="connsiteX31" fmla="*/ 2800146 w 6561736"/>
              <a:gd name="connsiteY31" fmla="*/ 2547453 h 4841875"/>
              <a:gd name="connsiteX32" fmla="*/ 2806159 w 6561736"/>
              <a:gd name="connsiteY32" fmla="*/ 2546818 h 4841875"/>
              <a:gd name="connsiteX33" fmla="*/ 2811839 w 6561736"/>
              <a:gd name="connsiteY33" fmla="*/ 2546183 h 4841875"/>
              <a:gd name="connsiteX34" fmla="*/ 2817852 w 6561736"/>
              <a:gd name="connsiteY34" fmla="*/ 2546183 h 4841875"/>
              <a:gd name="connsiteX35" fmla="*/ 2823865 w 6561736"/>
              <a:gd name="connsiteY35" fmla="*/ 2546183 h 4841875"/>
              <a:gd name="connsiteX36" fmla="*/ 2829878 w 6561736"/>
              <a:gd name="connsiteY36" fmla="*/ 2546818 h 4841875"/>
              <a:gd name="connsiteX37" fmla="*/ 2835557 w 6561736"/>
              <a:gd name="connsiteY37" fmla="*/ 2547453 h 4841875"/>
              <a:gd name="connsiteX38" fmla="*/ 2841236 w 6561736"/>
              <a:gd name="connsiteY38" fmla="*/ 2548406 h 4841875"/>
              <a:gd name="connsiteX39" fmla="*/ 2847250 w 6561736"/>
              <a:gd name="connsiteY39" fmla="*/ 2549675 h 4841875"/>
              <a:gd name="connsiteX40" fmla="*/ 2852929 w 6561736"/>
              <a:gd name="connsiteY40" fmla="*/ 2551263 h 4841875"/>
              <a:gd name="connsiteX41" fmla="*/ 2858608 w 6561736"/>
              <a:gd name="connsiteY41" fmla="*/ 2552850 h 4841875"/>
              <a:gd name="connsiteX42" fmla="*/ 2864287 w 6561736"/>
              <a:gd name="connsiteY42" fmla="*/ 2555073 h 4841875"/>
              <a:gd name="connsiteX43" fmla="*/ 2869966 w 6561736"/>
              <a:gd name="connsiteY43" fmla="*/ 2557295 h 4841875"/>
              <a:gd name="connsiteX44" fmla="*/ 2875311 w 6561736"/>
              <a:gd name="connsiteY44" fmla="*/ 2560152 h 4841875"/>
              <a:gd name="connsiteX45" fmla="*/ 2880322 w 6561736"/>
              <a:gd name="connsiteY45" fmla="*/ 2563327 h 4841875"/>
              <a:gd name="connsiteX46" fmla="*/ 2885667 w 6561736"/>
              <a:gd name="connsiteY46" fmla="*/ 2566184 h 4841875"/>
              <a:gd name="connsiteX47" fmla="*/ 2890678 w 6561736"/>
              <a:gd name="connsiteY47" fmla="*/ 2569994 h 4841875"/>
              <a:gd name="connsiteX48" fmla="*/ 2895689 w 6561736"/>
              <a:gd name="connsiteY48" fmla="*/ 2573804 h 4841875"/>
              <a:gd name="connsiteX49" fmla="*/ 2900366 w 6561736"/>
              <a:gd name="connsiteY49" fmla="*/ 2577931 h 4841875"/>
              <a:gd name="connsiteX50" fmla="*/ 2905043 w 6561736"/>
              <a:gd name="connsiteY50" fmla="*/ 2582058 h 4841875"/>
              <a:gd name="connsiteX51" fmla="*/ 4398989 w 6561736"/>
              <a:gd name="connsiteY51" fmla="*/ 4073893 h 4841875"/>
              <a:gd name="connsiteX52" fmla="*/ 4403332 w 6561736"/>
              <a:gd name="connsiteY52" fmla="*/ 4078338 h 4841875"/>
              <a:gd name="connsiteX53" fmla="*/ 4408009 w 6561736"/>
              <a:gd name="connsiteY53" fmla="*/ 4082465 h 4841875"/>
              <a:gd name="connsiteX54" fmla="*/ 4413020 w 6561736"/>
              <a:gd name="connsiteY54" fmla="*/ 4086275 h 4841875"/>
              <a:gd name="connsiteX55" fmla="*/ 4418031 w 6561736"/>
              <a:gd name="connsiteY55" fmla="*/ 4089767 h 4841875"/>
              <a:gd name="connsiteX56" fmla="*/ 4423042 w 6561736"/>
              <a:gd name="connsiteY56" fmla="*/ 4093259 h 4841875"/>
              <a:gd name="connsiteX57" fmla="*/ 4428721 w 6561736"/>
              <a:gd name="connsiteY57" fmla="*/ 4095799 h 4841875"/>
              <a:gd name="connsiteX58" fmla="*/ 4433732 w 6561736"/>
              <a:gd name="connsiteY58" fmla="*/ 4098656 h 4841875"/>
              <a:gd name="connsiteX59" fmla="*/ 4439745 w 6561736"/>
              <a:gd name="connsiteY59" fmla="*/ 4101196 h 4841875"/>
              <a:gd name="connsiteX60" fmla="*/ 4445090 w 6561736"/>
              <a:gd name="connsiteY60" fmla="*/ 4103101 h 4841875"/>
              <a:gd name="connsiteX61" fmla="*/ 4450769 w 6561736"/>
              <a:gd name="connsiteY61" fmla="*/ 4105006 h 4841875"/>
              <a:gd name="connsiteX62" fmla="*/ 4456449 w 6561736"/>
              <a:gd name="connsiteY62" fmla="*/ 4106593 h 4841875"/>
              <a:gd name="connsiteX63" fmla="*/ 4462127 w 6561736"/>
              <a:gd name="connsiteY63" fmla="*/ 4107863 h 4841875"/>
              <a:gd name="connsiteX64" fmla="*/ 4468140 w 6561736"/>
              <a:gd name="connsiteY64" fmla="*/ 4108816 h 4841875"/>
              <a:gd name="connsiteX65" fmla="*/ 4474154 w 6561736"/>
              <a:gd name="connsiteY65" fmla="*/ 4109451 h 4841875"/>
              <a:gd name="connsiteX66" fmla="*/ 4480167 w 6561736"/>
              <a:gd name="connsiteY66" fmla="*/ 4110086 h 4841875"/>
              <a:gd name="connsiteX67" fmla="*/ 4485846 w 6561736"/>
              <a:gd name="connsiteY67" fmla="*/ 4110086 h 4841875"/>
              <a:gd name="connsiteX68" fmla="*/ 4491526 w 6561736"/>
              <a:gd name="connsiteY68" fmla="*/ 4110086 h 4841875"/>
              <a:gd name="connsiteX69" fmla="*/ 4497538 w 6561736"/>
              <a:gd name="connsiteY69" fmla="*/ 4109451 h 4841875"/>
              <a:gd name="connsiteX70" fmla="*/ 4503551 w 6561736"/>
              <a:gd name="connsiteY70" fmla="*/ 4108816 h 4841875"/>
              <a:gd name="connsiteX71" fmla="*/ 4509565 w 6561736"/>
              <a:gd name="connsiteY71" fmla="*/ 4107863 h 4841875"/>
              <a:gd name="connsiteX72" fmla="*/ 4515244 w 6561736"/>
              <a:gd name="connsiteY72" fmla="*/ 4106593 h 4841875"/>
              <a:gd name="connsiteX73" fmla="*/ 4520589 w 6561736"/>
              <a:gd name="connsiteY73" fmla="*/ 4105006 h 4841875"/>
              <a:gd name="connsiteX74" fmla="*/ 4526602 w 6561736"/>
              <a:gd name="connsiteY74" fmla="*/ 4103101 h 4841875"/>
              <a:gd name="connsiteX75" fmla="*/ 4531948 w 6561736"/>
              <a:gd name="connsiteY75" fmla="*/ 4101196 h 4841875"/>
              <a:gd name="connsiteX76" fmla="*/ 4537960 w 6561736"/>
              <a:gd name="connsiteY76" fmla="*/ 4098656 h 4841875"/>
              <a:gd name="connsiteX77" fmla="*/ 4542971 w 6561736"/>
              <a:gd name="connsiteY77" fmla="*/ 4095799 h 4841875"/>
              <a:gd name="connsiteX78" fmla="*/ 4548650 w 6561736"/>
              <a:gd name="connsiteY78" fmla="*/ 4093259 h 4841875"/>
              <a:gd name="connsiteX79" fmla="*/ 4553661 w 6561736"/>
              <a:gd name="connsiteY79" fmla="*/ 4089767 h 4841875"/>
              <a:gd name="connsiteX80" fmla="*/ 4558672 w 6561736"/>
              <a:gd name="connsiteY80" fmla="*/ 4086275 h 4841875"/>
              <a:gd name="connsiteX81" fmla="*/ 4563683 w 6561736"/>
              <a:gd name="connsiteY81" fmla="*/ 4082465 h 4841875"/>
              <a:gd name="connsiteX82" fmla="*/ 4568360 w 6561736"/>
              <a:gd name="connsiteY82" fmla="*/ 4078338 h 4841875"/>
              <a:gd name="connsiteX83" fmla="*/ 4572704 w 6561736"/>
              <a:gd name="connsiteY83" fmla="*/ 4073893 h 4841875"/>
              <a:gd name="connsiteX84" fmla="*/ 4577381 w 6561736"/>
              <a:gd name="connsiteY84" fmla="*/ 4069448 h 4841875"/>
              <a:gd name="connsiteX85" fmla="*/ 4581389 w 6561736"/>
              <a:gd name="connsiteY85" fmla="*/ 4064686 h 4841875"/>
              <a:gd name="connsiteX86" fmla="*/ 4585064 w 6561736"/>
              <a:gd name="connsiteY86" fmla="*/ 4059606 h 4841875"/>
              <a:gd name="connsiteX87" fmla="*/ 4588738 w 6561736"/>
              <a:gd name="connsiteY87" fmla="*/ 4054844 h 4841875"/>
              <a:gd name="connsiteX88" fmla="*/ 4592079 w 6561736"/>
              <a:gd name="connsiteY88" fmla="*/ 4049447 h 4841875"/>
              <a:gd name="connsiteX89" fmla="*/ 4595086 w 6561736"/>
              <a:gd name="connsiteY89" fmla="*/ 4044367 h 4841875"/>
              <a:gd name="connsiteX90" fmla="*/ 4597424 w 6561736"/>
              <a:gd name="connsiteY90" fmla="*/ 4038653 h 4841875"/>
              <a:gd name="connsiteX91" fmla="*/ 4599763 w 6561736"/>
              <a:gd name="connsiteY91" fmla="*/ 4033256 h 4841875"/>
              <a:gd name="connsiteX92" fmla="*/ 4602101 w 6561736"/>
              <a:gd name="connsiteY92" fmla="*/ 4027859 h 4841875"/>
              <a:gd name="connsiteX93" fmla="*/ 4604106 w 6561736"/>
              <a:gd name="connsiteY93" fmla="*/ 4022144 h 4841875"/>
              <a:gd name="connsiteX94" fmla="*/ 4605776 w 6561736"/>
              <a:gd name="connsiteY94" fmla="*/ 4016112 h 4841875"/>
              <a:gd name="connsiteX95" fmla="*/ 4606778 w 6561736"/>
              <a:gd name="connsiteY95" fmla="*/ 4010397 h 4841875"/>
              <a:gd name="connsiteX96" fmla="*/ 4607781 w 6561736"/>
              <a:gd name="connsiteY96" fmla="*/ 4004683 h 4841875"/>
              <a:gd name="connsiteX97" fmla="*/ 4608448 w 6561736"/>
              <a:gd name="connsiteY97" fmla="*/ 3998650 h 4841875"/>
              <a:gd name="connsiteX98" fmla="*/ 4608782 w 6561736"/>
              <a:gd name="connsiteY98" fmla="*/ 3992936 h 4841875"/>
              <a:gd name="connsiteX99" fmla="*/ 4609117 w 6561736"/>
              <a:gd name="connsiteY99" fmla="*/ 3987221 h 4841875"/>
              <a:gd name="connsiteX100" fmla="*/ 4608782 w 6561736"/>
              <a:gd name="connsiteY100" fmla="*/ 3980872 h 4841875"/>
              <a:gd name="connsiteX101" fmla="*/ 4608448 w 6561736"/>
              <a:gd name="connsiteY101" fmla="*/ 3975157 h 4841875"/>
              <a:gd name="connsiteX102" fmla="*/ 4607781 w 6561736"/>
              <a:gd name="connsiteY102" fmla="*/ 3969442 h 4841875"/>
              <a:gd name="connsiteX103" fmla="*/ 4606778 w 6561736"/>
              <a:gd name="connsiteY103" fmla="*/ 3963410 h 4841875"/>
              <a:gd name="connsiteX104" fmla="*/ 4605776 w 6561736"/>
              <a:gd name="connsiteY104" fmla="*/ 3957696 h 4841875"/>
              <a:gd name="connsiteX105" fmla="*/ 4604106 w 6561736"/>
              <a:gd name="connsiteY105" fmla="*/ 3951981 h 4841875"/>
              <a:gd name="connsiteX106" fmla="*/ 4602101 w 6561736"/>
              <a:gd name="connsiteY106" fmla="*/ 3946584 h 4841875"/>
              <a:gd name="connsiteX107" fmla="*/ 4599763 w 6561736"/>
              <a:gd name="connsiteY107" fmla="*/ 3940552 h 4841875"/>
              <a:gd name="connsiteX108" fmla="*/ 4597424 w 6561736"/>
              <a:gd name="connsiteY108" fmla="*/ 3935155 h 4841875"/>
              <a:gd name="connsiteX109" fmla="*/ 4595086 w 6561736"/>
              <a:gd name="connsiteY109" fmla="*/ 3929757 h 4841875"/>
              <a:gd name="connsiteX110" fmla="*/ 4592079 w 6561736"/>
              <a:gd name="connsiteY110" fmla="*/ 3924678 h 4841875"/>
              <a:gd name="connsiteX111" fmla="*/ 4588738 w 6561736"/>
              <a:gd name="connsiteY111" fmla="*/ 3919281 h 4841875"/>
              <a:gd name="connsiteX112" fmla="*/ 4585064 w 6561736"/>
              <a:gd name="connsiteY112" fmla="*/ 3914201 h 4841875"/>
              <a:gd name="connsiteX113" fmla="*/ 4581389 w 6561736"/>
              <a:gd name="connsiteY113" fmla="*/ 3909121 h 4841875"/>
              <a:gd name="connsiteX114" fmla="*/ 4577381 w 6561736"/>
              <a:gd name="connsiteY114" fmla="*/ 3904677 h 4841875"/>
              <a:gd name="connsiteX115" fmla="*/ 4572704 w 6561736"/>
              <a:gd name="connsiteY115" fmla="*/ 3899914 h 4841875"/>
              <a:gd name="connsiteX116" fmla="*/ 3276525 w 6561736"/>
              <a:gd name="connsiteY116" fmla="*/ 2605234 h 4841875"/>
              <a:gd name="connsiteX117" fmla="*/ 3272182 w 6561736"/>
              <a:gd name="connsiteY117" fmla="*/ 2600472 h 4841875"/>
              <a:gd name="connsiteX118" fmla="*/ 3268174 w 6561736"/>
              <a:gd name="connsiteY118" fmla="*/ 2596027 h 4841875"/>
              <a:gd name="connsiteX119" fmla="*/ 3264165 w 6561736"/>
              <a:gd name="connsiteY119" fmla="*/ 2590948 h 4841875"/>
              <a:gd name="connsiteX120" fmla="*/ 3260824 w 6561736"/>
              <a:gd name="connsiteY120" fmla="*/ 2585868 h 4841875"/>
              <a:gd name="connsiteX121" fmla="*/ 3257818 w 6561736"/>
              <a:gd name="connsiteY121" fmla="*/ 2580788 h 4841875"/>
              <a:gd name="connsiteX122" fmla="*/ 3254811 w 6561736"/>
              <a:gd name="connsiteY122" fmla="*/ 2575709 h 4841875"/>
              <a:gd name="connsiteX123" fmla="*/ 3252138 w 6561736"/>
              <a:gd name="connsiteY123" fmla="*/ 2569994 h 4841875"/>
              <a:gd name="connsiteX124" fmla="*/ 3249466 w 6561736"/>
              <a:gd name="connsiteY124" fmla="*/ 2564597 h 4841875"/>
              <a:gd name="connsiteX125" fmla="*/ 3247461 w 6561736"/>
              <a:gd name="connsiteY125" fmla="*/ 2558882 h 4841875"/>
              <a:gd name="connsiteX126" fmla="*/ 3245791 w 6561736"/>
              <a:gd name="connsiteY126" fmla="*/ 2553168 h 4841875"/>
              <a:gd name="connsiteX127" fmla="*/ 3244121 w 6561736"/>
              <a:gd name="connsiteY127" fmla="*/ 2547453 h 4841875"/>
              <a:gd name="connsiteX128" fmla="*/ 3242785 w 6561736"/>
              <a:gd name="connsiteY128" fmla="*/ 2541738 h 4841875"/>
              <a:gd name="connsiteX129" fmla="*/ 3241782 w 6561736"/>
              <a:gd name="connsiteY129" fmla="*/ 2536024 h 4841875"/>
              <a:gd name="connsiteX130" fmla="*/ 3241114 w 6561736"/>
              <a:gd name="connsiteY130" fmla="*/ 2529992 h 4841875"/>
              <a:gd name="connsiteX131" fmla="*/ 3240780 w 6561736"/>
              <a:gd name="connsiteY131" fmla="*/ 2524277 h 4841875"/>
              <a:gd name="connsiteX132" fmla="*/ 3240780 w 6561736"/>
              <a:gd name="connsiteY132" fmla="*/ 2518245 h 4841875"/>
              <a:gd name="connsiteX133" fmla="*/ 3240780 w 6561736"/>
              <a:gd name="connsiteY133" fmla="*/ 2512213 h 4841875"/>
              <a:gd name="connsiteX134" fmla="*/ 3241114 w 6561736"/>
              <a:gd name="connsiteY134" fmla="*/ 2506498 h 4841875"/>
              <a:gd name="connsiteX135" fmla="*/ 3241782 w 6561736"/>
              <a:gd name="connsiteY135" fmla="*/ 2500784 h 4841875"/>
              <a:gd name="connsiteX136" fmla="*/ 3242785 w 6561736"/>
              <a:gd name="connsiteY136" fmla="*/ 2494752 h 4841875"/>
              <a:gd name="connsiteX137" fmla="*/ 3244121 w 6561736"/>
              <a:gd name="connsiteY137" fmla="*/ 2489037 h 4841875"/>
              <a:gd name="connsiteX138" fmla="*/ 3245791 w 6561736"/>
              <a:gd name="connsiteY138" fmla="*/ 2483322 h 4841875"/>
              <a:gd name="connsiteX139" fmla="*/ 3247461 w 6561736"/>
              <a:gd name="connsiteY139" fmla="*/ 2477290 h 4841875"/>
              <a:gd name="connsiteX140" fmla="*/ 3249466 w 6561736"/>
              <a:gd name="connsiteY140" fmla="*/ 2471893 h 4841875"/>
              <a:gd name="connsiteX141" fmla="*/ 3252138 w 6561736"/>
              <a:gd name="connsiteY141" fmla="*/ 2466496 h 4841875"/>
              <a:gd name="connsiteX142" fmla="*/ 3254811 w 6561736"/>
              <a:gd name="connsiteY142" fmla="*/ 2461099 h 4841875"/>
              <a:gd name="connsiteX143" fmla="*/ 3257818 w 6561736"/>
              <a:gd name="connsiteY143" fmla="*/ 2455702 h 4841875"/>
              <a:gd name="connsiteX144" fmla="*/ 3260824 w 6561736"/>
              <a:gd name="connsiteY144" fmla="*/ 2450304 h 4841875"/>
              <a:gd name="connsiteX145" fmla="*/ 3264165 w 6561736"/>
              <a:gd name="connsiteY145" fmla="*/ 2445542 h 4841875"/>
              <a:gd name="connsiteX146" fmla="*/ 3268174 w 6561736"/>
              <a:gd name="connsiteY146" fmla="*/ 2440463 h 4841875"/>
              <a:gd name="connsiteX147" fmla="*/ 3272182 w 6561736"/>
              <a:gd name="connsiteY147" fmla="*/ 2435700 h 4841875"/>
              <a:gd name="connsiteX148" fmla="*/ 3276525 w 6561736"/>
              <a:gd name="connsiteY148" fmla="*/ 2431256 h 4841875"/>
              <a:gd name="connsiteX149" fmla="*/ 3281536 w 6561736"/>
              <a:gd name="connsiteY149" fmla="*/ 2426811 h 4841875"/>
              <a:gd name="connsiteX150" fmla="*/ 3285879 w 6561736"/>
              <a:gd name="connsiteY150" fmla="*/ 2422684 h 4841875"/>
              <a:gd name="connsiteX151" fmla="*/ 3290890 w 6561736"/>
              <a:gd name="connsiteY151" fmla="*/ 2418874 h 4841875"/>
              <a:gd name="connsiteX152" fmla="*/ 3296235 w 6561736"/>
              <a:gd name="connsiteY152" fmla="*/ 2415382 h 4841875"/>
              <a:gd name="connsiteX153" fmla="*/ 3301246 w 6561736"/>
              <a:gd name="connsiteY153" fmla="*/ 2412207 h 4841875"/>
              <a:gd name="connsiteX154" fmla="*/ 3306591 w 6561736"/>
              <a:gd name="connsiteY154" fmla="*/ 2409350 h 4841875"/>
              <a:gd name="connsiteX155" fmla="*/ 3311936 w 6561736"/>
              <a:gd name="connsiteY155" fmla="*/ 2406492 h 4841875"/>
              <a:gd name="connsiteX156" fmla="*/ 3317281 w 6561736"/>
              <a:gd name="connsiteY156" fmla="*/ 2404270 h 4841875"/>
              <a:gd name="connsiteX157" fmla="*/ 3323295 w 6561736"/>
              <a:gd name="connsiteY157" fmla="*/ 2402048 h 4841875"/>
              <a:gd name="connsiteX158" fmla="*/ 3328640 w 6561736"/>
              <a:gd name="connsiteY158" fmla="*/ 2400143 h 4841875"/>
              <a:gd name="connsiteX159" fmla="*/ 3334653 w 6561736"/>
              <a:gd name="connsiteY159" fmla="*/ 2398873 h 4841875"/>
              <a:gd name="connsiteX160" fmla="*/ 3340332 w 6561736"/>
              <a:gd name="connsiteY160" fmla="*/ 2397285 h 4841875"/>
              <a:gd name="connsiteX161" fmla="*/ 3346011 w 6561736"/>
              <a:gd name="connsiteY161" fmla="*/ 2396333 h 4841875"/>
              <a:gd name="connsiteX162" fmla="*/ 3352024 w 6561736"/>
              <a:gd name="connsiteY162" fmla="*/ 2395698 h 4841875"/>
              <a:gd name="connsiteX163" fmla="*/ 3357703 w 6561736"/>
              <a:gd name="connsiteY163" fmla="*/ 2395381 h 4841875"/>
              <a:gd name="connsiteX164" fmla="*/ 3364051 w 6561736"/>
              <a:gd name="connsiteY164" fmla="*/ 2395381 h 4841875"/>
              <a:gd name="connsiteX165" fmla="*/ 3369730 w 6561736"/>
              <a:gd name="connsiteY165" fmla="*/ 2395381 h 4841875"/>
              <a:gd name="connsiteX166" fmla="*/ 3375743 w 6561736"/>
              <a:gd name="connsiteY166" fmla="*/ 2395698 h 4841875"/>
              <a:gd name="connsiteX167" fmla="*/ 3381422 w 6561736"/>
              <a:gd name="connsiteY167" fmla="*/ 2396333 h 4841875"/>
              <a:gd name="connsiteX168" fmla="*/ 3387101 w 6561736"/>
              <a:gd name="connsiteY168" fmla="*/ 2397285 h 4841875"/>
              <a:gd name="connsiteX169" fmla="*/ 3393114 w 6561736"/>
              <a:gd name="connsiteY169" fmla="*/ 2398873 h 4841875"/>
              <a:gd name="connsiteX170" fmla="*/ 3398794 w 6561736"/>
              <a:gd name="connsiteY170" fmla="*/ 2400143 h 4841875"/>
              <a:gd name="connsiteX171" fmla="*/ 3404807 w 6561736"/>
              <a:gd name="connsiteY171" fmla="*/ 2402048 h 4841875"/>
              <a:gd name="connsiteX172" fmla="*/ 3410152 w 6561736"/>
              <a:gd name="connsiteY172" fmla="*/ 2404270 h 4841875"/>
              <a:gd name="connsiteX173" fmla="*/ 3415831 w 6561736"/>
              <a:gd name="connsiteY173" fmla="*/ 2406492 h 4841875"/>
              <a:gd name="connsiteX174" fmla="*/ 3421176 w 6561736"/>
              <a:gd name="connsiteY174" fmla="*/ 2409350 h 4841875"/>
              <a:gd name="connsiteX175" fmla="*/ 3426187 w 6561736"/>
              <a:gd name="connsiteY175" fmla="*/ 2412207 h 4841875"/>
              <a:gd name="connsiteX176" fmla="*/ 3431866 w 6561736"/>
              <a:gd name="connsiteY176" fmla="*/ 2415382 h 4841875"/>
              <a:gd name="connsiteX177" fmla="*/ 3436543 w 6561736"/>
              <a:gd name="connsiteY177" fmla="*/ 2418874 h 4841875"/>
              <a:gd name="connsiteX178" fmla="*/ 3441554 w 6561736"/>
              <a:gd name="connsiteY178" fmla="*/ 2422684 h 4841875"/>
              <a:gd name="connsiteX179" fmla="*/ 3446565 w 6561736"/>
              <a:gd name="connsiteY179" fmla="*/ 2426811 h 4841875"/>
              <a:gd name="connsiteX180" fmla="*/ 3450908 w 6561736"/>
              <a:gd name="connsiteY180" fmla="*/ 2431256 h 4841875"/>
              <a:gd name="connsiteX181" fmla="*/ 4169819 w 6561736"/>
              <a:gd name="connsiteY181" fmla="*/ 3149076 h 4841875"/>
              <a:gd name="connsiteX182" fmla="*/ 4174496 w 6561736"/>
              <a:gd name="connsiteY182" fmla="*/ 3153521 h 4841875"/>
              <a:gd name="connsiteX183" fmla="*/ 4179173 w 6561736"/>
              <a:gd name="connsiteY183" fmla="*/ 3157648 h 4841875"/>
              <a:gd name="connsiteX184" fmla="*/ 4184184 w 6561736"/>
              <a:gd name="connsiteY184" fmla="*/ 3161458 h 4841875"/>
              <a:gd name="connsiteX185" fmla="*/ 4189195 w 6561736"/>
              <a:gd name="connsiteY185" fmla="*/ 3164950 h 4841875"/>
              <a:gd name="connsiteX186" fmla="*/ 4194540 w 6561736"/>
              <a:gd name="connsiteY186" fmla="*/ 3168442 h 4841875"/>
              <a:gd name="connsiteX187" fmla="*/ 4199551 w 6561736"/>
              <a:gd name="connsiteY187" fmla="*/ 3170982 h 4841875"/>
              <a:gd name="connsiteX188" fmla="*/ 4204896 w 6561736"/>
              <a:gd name="connsiteY188" fmla="*/ 3173840 h 4841875"/>
              <a:gd name="connsiteX189" fmla="*/ 4210576 w 6561736"/>
              <a:gd name="connsiteY189" fmla="*/ 3176062 h 4841875"/>
              <a:gd name="connsiteX190" fmla="*/ 4216255 w 6561736"/>
              <a:gd name="connsiteY190" fmla="*/ 3178284 h 4841875"/>
              <a:gd name="connsiteX191" fmla="*/ 4221934 w 6561736"/>
              <a:gd name="connsiteY191" fmla="*/ 3180189 h 4841875"/>
              <a:gd name="connsiteX192" fmla="*/ 4227613 w 6561736"/>
              <a:gd name="connsiteY192" fmla="*/ 3181776 h 4841875"/>
              <a:gd name="connsiteX193" fmla="*/ 4233292 w 6561736"/>
              <a:gd name="connsiteY193" fmla="*/ 3183046 h 4841875"/>
              <a:gd name="connsiteX194" fmla="*/ 4239305 w 6561736"/>
              <a:gd name="connsiteY194" fmla="*/ 3183999 h 4841875"/>
              <a:gd name="connsiteX195" fmla="*/ 4244984 w 6561736"/>
              <a:gd name="connsiteY195" fmla="*/ 3184634 h 4841875"/>
              <a:gd name="connsiteX196" fmla="*/ 4250998 w 6561736"/>
              <a:gd name="connsiteY196" fmla="*/ 3184951 h 4841875"/>
              <a:gd name="connsiteX197" fmla="*/ 4257011 w 6561736"/>
              <a:gd name="connsiteY197" fmla="*/ 3185269 h 4841875"/>
              <a:gd name="connsiteX198" fmla="*/ 4263024 w 6561736"/>
              <a:gd name="connsiteY198" fmla="*/ 3184951 h 4841875"/>
              <a:gd name="connsiteX199" fmla="*/ 4268703 w 6561736"/>
              <a:gd name="connsiteY199" fmla="*/ 3184634 h 4841875"/>
              <a:gd name="connsiteX200" fmla="*/ 4274382 w 6561736"/>
              <a:gd name="connsiteY200" fmla="*/ 3183999 h 4841875"/>
              <a:gd name="connsiteX201" fmla="*/ 4280395 w 6561736"/>
              <a:gd name="connsiteY201" fmla="*/ 3183046 h 4841875"/>
              <a:gd name="connsiteX202" fmla="*/ 4286075 w 6561736"/>
              <a:gd name="connsiteY202" fmla="*/ 3181776 h 4841875"/>
              <a:gd name="connsiteX203" fmla="*/ 4292088 w 6561736"/>
              <a:gd name="connsiteY203" fmla="*/ 3180189 h 4841875"/>
              <a:gd name="connsiteX204" fmla="*/ 4297767 w 6561736"/>
              <a:gd name="connsiteY204" fmla="*/ 3178284 h 4841875"/>
              <a:gd name="connsiteX205" fmla="*/ 4303446 w 6561736"/>
              <a:gd name="connsiteY205" fmla="*/ 3176062 h 4841875"/>
              <a:gd name="connsiteX206" fmla="*/ 4308791 w 6561736"/>
              <a:gd name="connsiteY206" fmla="*/ 3173840 h 4841875"/>
              <a:gd name="connsiteX207" fmla="*/ 4314136 w 6561736"/>
              <a:gd name="connsiteY207" fmla="*/ 3170982 h 4841875"/>
              <a:gd name="connsiteX208" fmla="*/ 4319815 w 6561736"/>
              <a:gd name="connsiteY208" fmla="*/ 3168442 h 4841875"/>
              <a:gd name="connsiteX209" fmla="*/ 4324826 w 6561736"/>
              <a:gd name="connsiteY209" fmla="*/ 3164950 h 4841875"/>
              <a:gd name="connsiteX210" fmla="*/ 4329503 w 6561736"/>
              <a:gd name="connsiteY210" fmla="*/ 3161458 h 4841875"/>
              <a:gd name="connsiteX211" fmla="*/ 4334848 w 6561736"/>
              <a:gd name="connsiteY211" fmla="*/ 3157648 h 4841875"/>
              <a:gd name="connsiteX212" fmla="*/ 4339525 w 6561736"/>
              <a:gd name="connsiteY212" fmla="*/ 3153521 h 4841875"/>
              <a:gd name="connsiteX213" fmla="*/ 4344202 w 6561736"/>
              <a:gd name="connsiteY213" fmla="*/ 3149076 h 4841875"/>
              <a:gd name="connsiteX214" fmla="*/ 4348545 w 6561736"/>
              <a:gd name="connsiteY214" fmla="*/ 3144631 h 4841875"/>
              <a:gd name="connsiteX215" fmla="*/ 4352554 w 6561736"/>
              <a:gd name="connsiteY215" fmla="*/ 3139869 h 4841875"/>
              <a:gd name="connsiteX216" fmla="*/ 4356228 w 6561736"/>
              <a:gd name="connsiteY216" fmla="*/ 3134790 h 4841875"/>
              <a:gd name="connsiteX217" fmla="*/ 4359903 w 6561736"/>
              <a:gd name="connsiteY217" fmla="*/ 3130027 h 4841875"/>
              <a:gd name="connsiteX218" fmla="*/ 4363244 w 6561736"/>
              <a:gd name="connsiteY218" fmla="*/ 3124948 h 4841875"/>
              <a:gd name="connsiteX219" fmla="*/ 4365916 w 6561736"/>
              <a:gd name="connsiteY219" fmla="*/ 3119551 h 4841875"/>
              <a:gd name="connsiteX220" fmla="*/ 4368589 w 6561736"/>
              <a:gd name="connsiteY220" fmla="*/ 3113836 h 4841875"/>
              <a:gd name="connsiteX221" fmla="*/ 4371261 w 6561736"/>
              <a:gd name="connsiteY221" fmla="*/ 3108439 h 4841875"/>
              <a:gd name="connsiteX222" fmla="*/ 4373266 w 6561736"/>
              <a:gd name="connsiteY222" fmla="*/ 3103042 h 4841875"/>
              <a:gd name="connsiteX223" fmla="*/ 4375270 w 6561736"/>
              <a:gd name="connsiteY223" fmla="*/ 3097010 h 4841875"/>
              <a:gd name="connsiteX224" fmla="*/ 4376606 w 6561736"/>
              <a:gd name="connsiteY224" fmla="*/ 3091295 h 4841875"/>
              <a:gd name="connsiteX225" fmla="*/ 4377943 w 6561736"/>
              <a:gd name="connsiteY225" fmla="*/ 3085580 h 4841875"/>
              <a:gd name="connsiteX226" fmla="*/ 4378945 w 6561736"/>
              <a:gd name="connsiteY226" fmla="*/ 3079866 h 4841875"/>
              <a:gd name="connsiteX227" fmla="*/ 4379613 w 6561736"/>
              <a:gd name="connsiteY227" fmla="*/ 3073834 h 4841875"/>
              <a:gd name="connsiteX228" fmla="*/ 4379947 w 6561736"/>
              <a:gd name="connsiteY228" fmla="*/ 3068119 h 4841875"/>
              <a:gd name="connsiteX229" fmla="*/ 4380281 w 6561736"/>
              <a:gd name="connsiteY229" fmla="*/ 3062404 h 4841875"/>
              <a:gd name="connsiteX230" fmla="*/ 4379947 w 6561736"/>
              <a:gd name="connsiteY230" fmla="*/ 3056055 h 4841875"/>
              <a:gd name="connsiteX231" fmla="*/ 4379613 w 6561736"/>
              <a:gd name="connsiteY231" fmla="*/ 3050340 h 4841875"/>
              <a:gd name="connsiteX232" fmla="*/ 4378945 w 6561736"/>
              <a:gd name="connsiteY232" fmla="*/ 3044625 h 4841875"/>
              <a:gd name="connsiteX233" fmla="*/ 4377943 w 6561736"/>
              <a:gd name="connsiteY233" fmla="*/ 3038593 h 4841875"/>
              <a:gd name="connsiteX234" fmla="*/ 4376606 w 6561736"/>
              <a:gd name="connsiteY234" fmla="*/ 3032879 h 4841875"/>
              <a:gd name="connsiteX235" fmla="*/ 4375270 w 6561736"/>
              <a:gd name="connsiteY235" fmla="*/ 3027164 h 4841875"/>
              <a:gd name="connsiteX236" fmla="*/ 4373266 w 6561736"/>
              <a:gd name="connsiteY236" fmla="*/ 3021449 h 4841875"/>
              <a:gd name="connsiteX237" fmla="*/ 4371261 w 6561736"/>
              <a:gd name="connsiteY237" fmla="*/ 3015735 h 4841875"/>
              <a:gd name="connsiteX238" fmla="*/ 4368589 w 6561736"/>
              <a:gd name="connsiteY238" fmla="*/ 3010338 h 4841875"/>
              <a:gd name="connsiteX239" fmla="*/ 4365916 w 6561736"/>
              <a:gd name="connsiteY239" fmla="*/ 3004941 h 4841875"/>
              <a:gd name="connsiteX240" fmla="*/ 4363244 w 6561736"/>
              <a:gd name="connsiteY240" fmla="*/ 2999543 h 4841875"/>
              <a:gd name="connsiteX241" fmla="*/ 4359903 w 6561736"/>
              <a:gd name="connsiteY241" fmla="*/ 2994464 h 4841875"/>
              <a:gd name="connsiteX242" fmla="*/ 4356228 w 6561736"/>
              <a:gd name="connsiteY242" fmla="*/ 2989384 h 4841875"/>
              <a:gd name="connsiteX243" fmla="*/ 4352554 w 6561736"/>
              <a:gd name="connsiteY243" fmla="*/ 2984622 h 4841875"/>
              <a:gd name="connsiteX244" fmla="*/ 4348545 w 6561736"/>
              <a:gd name="connsiteY244" fmla="*/ 2979860 h 4841875"/>
              <a:gd name="connsiteX245" fmla="*/ 4344202 w 6561736"/>
              <a:gd name="connsiteY245" fmla="*/ 2975098 h 4841875"/>
              <a:gd name="connsiteX246" fmla="*/ 4244650 w 6561736"/>
              <a:gd name="connsiteY246" fmla="*/ 2875727 h 4841875"/>
              <a:gd name="connsiteX247" fmla="*/ 3995771 w 6561736"/>
              <a:gd name="connsiteY247" fmla="*/ 2627140 h 4841875"/>
              <a:gd name="connsiteX248" fmla="*/ 3991428 w 6561736"/>
              <a:gd name="connsiteY248" fmla="*/ 2622696 h 4841875"/>
              <a:gd name="connsiteX249" fmla="*/ 3987419 w 6561736"/>
              <a:gd name="connsiteY249" fmla="*/ 2617933 h 4841875"/>
              <a:gd name="connsiteX250" fmla="*/ 3983410 w 6561736"/>
              <a:gd name="connsiteY250" fmla="*/ 2613171 h 4841875"/>
              <a:gd name="connsiteX251" fmla="*/ 3980070 w 6561736"/>
              <a:gd name="connsiteY251" fmla="*/ 2608092 h 4841875"/>
              <a:gd name="connsiteX252" fmla="*/ 3977063 w 6561736"/>
              <a:gd name="connsiteY252" fmla="*/ 2603012 h 4841875"/>
              <a:gd name="connsiteX253" fmla="*/ 3973722 w 6561736"/>
              <a:gd name="connsiteY253" fmla="*/ 2597297 h 4841875"/>
              <a:gd name="connsiteX254" fmla="*/ 3971050 w 6561736"/>
              <a:gd name="connsiteY254" fmla="*/ 2591900 h 4841875"/>
              <a:gd name="connsiteX255" fmla="*/ 3968711 w 6561736"/>
              <a:gd name="connsiteY255" fmla="*/ 2586503 h 4841875"/>
              <a:gd name="connsiteX256" fmla="*/ 3966707 w 6561736"/>
              <a:gd name="connsiteY256" fmla="*/ 2581106 h 4841875"/>
              <a:gd name="connsiteX257" fmla="*/ 3965037 w 6561736"/>
              <a:gd name="connsiteY257" fmla="*/ 2575074 h 4841875"/>
              <a:gd name="connsiteX258" fmla="*/ 3963366 w 6561736"/>
              <a:gd name="connsiteY258" fmla="*/ 2569677 h 4841875"/>
              <a:gd name="connsiteX259" fmla="*/ 3962030 w 6561736"/>
              <a:gd name="connsiteY259" fmla="*/ 2563962 h 4841875"/>
              <a:gd name="connsiteX260" fmla="*/ 3961028 w 6561736"/>
              <a:gd name="connsiteY260" fmla="*/ 2558247 h 4841875"/>
              <a:gd name="connsiteX261" fmla="*/ 3960026 w 6561736"/>
              <a:gd name="connsiteY261" fmla="*/ 2551898 h 4841875"/>
              <a:gd name="connsiteX262" fmla="*/ 3959691 w 6561736"/>
              <a:gd name="connsiteY262" fmla="*/ 2546183 h 4841875"/>
              <a:gd name="connsiteX263" fmla="*/ 3959691 w 6561736"/>
              <a:gd name="connsiteY263" fmla="*/ 2540469 h 4841875"/>
              <a:gd name="connsiteX264" fmla="*/ 3959691 w 6561736"/>
              <a:gd name="connsiteY264" fmla="*/ 2534436 h 4841875"/>
              <a:gd name="connsiteX265" fmla="*/ 3960026 w 6561736"/>
              <a:gd name="connsiteY265" fmla="*/ 2528404 h 4841875"/>
              <a:gd name="connsiteX266" fmla="*/ 3961028 w 6561736"/>
              <a:gd name="connsiteY266" fmla="*/ 2522690 h 4841875"/>
              <a:gd name="connsiteX267" fmla="*/ 3962030 w 6561736"/>
              <a:gd name="connsiteY267" fmla="*/ 2516658 h 4841875"/>
              <a:gd name="connsiteX268" fmla="*/ 3963366 w 6561736"/>
              <a:gd name="connsiteY268" fmla="*/ 2510943 h 4841875"/>
              <a:gd name="connsiteX269" fmla="*/ 3965037 w 6561736"/>
              <a:gd name="connsiteY269" fmla="*/ 2505228 h 4841875"/>
              <a:gd name="connsiteX270" fmla="*/ 3966707 w 6561736"/>
              <a:gd name="connsiteY270" fmla="*/ 2499514 h 4841875"/>
              <a:gd name="connsiteX271" fmla="*/ 3968711 w 6561736"/>
              <a:gd name="connsiteY271" fmla="*/ 2494117 h 4841875"/>
              <a:gd name="connsiteX272" fmla="*/ 3971050 w 6561736"/>
              <a:gd name="connsiteY272" fmla="*/ 2488402 h 4841875"/>
              <a:gd name="connsiteX273" fmla="*/ 3973722 w 6561736"/>
              <a:gd name="connsiteY273" fmla="*/ 2483322 h 4841875"/>
              <a:gd name="connsiteX274" fmla="*/ 3977063 w 6561736"/>
              <a:gd name="connsiteY274" fmla="*/ 2477608 h 4841875"/>
              <a:gd name="connsiteX275" fmla="*/ 3980070 w 6561736"/>
              <a:gd name="connsiteY275" fmla="*/ 2472528 h 4841875"/>
              <a:gd name="connsiteX276" fmla="*/ 3983410 w 6561736"/>
              <a:gd name="connsiteY276" fmla="*/ 2467448 h 4841875"/>
              <a:gd name="connsiteX277" fmla="*/ 3987419 w 6561736"/>
              <a:gd name="connsiteY277" fmla="*/ 2462686 h 4841875"/>
              <a:gd name="connsiteX278" fmla="*/ 3991428 w 6561736"/>
              <a:gd name="connsiteY278" fmla="*/ 2457924 h 4841875"/>
              <a:gd name="connsiteX279" fmla="*/ 3995771 w 6561736"/>
              <a:gd name="connsiteY279" fmla="*/ 2453162 h 4841875"/>
              <a:gd name="connsiteX280" fmla="*/ 4000448 w 6561736"/>
              <a:gd name="connsiteY280" fmla="*/ 2449035 h 4841875"/>
              <a:gd name="connsiteX281" fmla="*/ 4005459 w 6561736"/>
              <a:gd name="connsiteY281" fmla="*/ 2444907 h 4841875"/>
              <a:gd name="connsiteX282" fmla="*/ 4010135 w 6561736"/>
              <a:gd name="connsiteY282" fmla="*/ 2441098 h 4841875"/>
              <a:gd name="connsiteX283" fmla="*/ 4015146 w 6561736"/>
              <a:gd name="connsiteY283" fmla="*/ 2437288 h 4841875"/>
              <a:gd name="connsiteX284" fmla="*/ 4020492 w 6561736"/>
              <a:gd name="connsiteY284" fmla="*/ 2434430 h 4841875"/>
              <a:gd name="connsiteX285" fmla="*/ 4025503 w 6561736"/>
              <a:gd name="connsiteY285" fmla="*/ 2431256 h 4841875"/>
              <a:gd name="connsiteX286" fmla="*/ 4031182 w 6561736"/>
              <a:gd name="connsiteY286" fmla="*/ 2428398 h 4841875"/>
              <a:gd name="connsiteX287" fmla="*/ 4036527 w 6561736"/>
              <a:gd name="connsiteY287" fmla="*/ 2426176 h 4841875"/>
              <a:gd name="connsiteX288" fmla="*/ 4042206 w 6561736"/>
              <a:gd name="connsiteY288" fmla="*/ 2423954 h 4841875"/>
              <a:gd name="connsiteX289" fmla="*/ 4047885 w 6561736"/>
              <a:gd name="connsiteY289" fmla="*/ 2422366 h 4841875"/>
              <a:gd name="connsiteX290" fmla="*/ 4053564 w 6561736"/>
              <a:gd name="connsiteY290" fmla="*/ 2420461 h 4841875"/>
              <a:gd name="connsiteX291" fmla="*/ 4059577 w 6561736"/>
              <a:gd name="connsiteY291" fmla="*/ 2419509 h 4841875"/>
              <a:gd name="connsiteX292" fmla="*/ 4065256 w 6561736"/>
              <a:gd name="connsiteY292" fmla="*/ 2418557 h 4841875"/>
              <a:gd name="connsiteX293" fmla="*/ 4071270 w 6561736"/>
              <a:gd name="connsiteY293" fmla="*/ 2417922 h 4841875"/>
              <a:gd name="connsiteX294" fmla="*/ 4076949 w 6561736"/>
              <a:gd name="connsiteY294" fmla="*/ 2417287 h 4841875"/>
              <a:gd name="connsiteX295" fmla="*/ 4082962 w 6561736"/>
              <a:gd name="connsiteY295" fmla="*/ 2417287 h 4841875"/>
              <a:gd name="connsiteX296" fmla="*/ 4088975 w 6561736"/>
              <a:gd name="connsiteY296" fmla="*/ 2417287 h 4841875"/>
              <a:gd name="connsiteX297" fmla="*/ 4094654 w 6561736"/>
              <a:gd name="connsiteY297" fmla="*/ 2417922 h 4841875"/>
              <a:gd name="connsiteX298" fmla="*/ 4100668 w 6561736"/>
              <a:gd name="connsiteY298" fmla="*/ 2418557 h 4841875"/>
              <a:gd name="connsiteX299" fmla="*/ 4106347 w 6561736"/>
              <a:gd name="connsiteY299" fmla="*/ 2419509 h 4841875"/>
              <a:gd name="connsiteX300" fmla="*/ 4112360 w 6561736"/>
              <a:gd name="connsiteY300" fmla="*/ 2420461 h 4841875"/>
              <a:gd name="connsiteX301" fmla="*/ 4118039 w 6561736"/>
              <a:gd name="connsiteY301" fmla="*/ 2422366 h 4841875"/>
              <a:gd name="connsiteX302" fmla="*/ 4123718 w 6561736"/>
              <a:gd name="connsiteY302" fmla="*/ 2423954 h 4841875"/>
              <a:gd name="connsiteX303" fmla="*/ 4129397 w 6561736"/>
              <a:gd name="connsiteY303" fmla="*/ 2426176 h 4841875"/>
              <a:gd name="connsiteX304" fmla="*/ 4134742 w 6561736"/>
              <a:gd name="connsiteY304" fmla="*/ 2428398 h 4841875"/>
              <a:gd name="connsiteX305" fmla="*/ 4140421 w 6561736"/>
              <a:gd name="connsiteY305" fmla="*/ 2431256 h 4841875"/>
              <a:gd name="connsiteX306" fmla="*/ 4145767 w 6561736"/>
              <a:gd name="connsiteY306" fmla="*/ 2434430 h 4841875"/>
              <a:gd name="connsiteX307" fmla="*/ 4150778 w 6561736"/>
              <a:gd name="connsiteY307" fmla="*/ 2437288 h 4841875"/>
              <a:gd name="connsiteX308" fmla="*/ 4155789 w 6561736"/>
              <a:gd name="connsiteY308" fmla="*/ 2441098 h 4841875"/>
              <a:gd name="connsiteX309" fmla="*/ 4160800 w 6561736"/>
              <a:gd name="connsiteY309" fmla="*/ 2444907 h 4841875"/>
              <a:gd name="connsiteX310" fmla="*/ 4165476 w 6561736"/>
              <a:gd name="connsiteY310" fmla="*/ 2449035 h 4841875"/>
              <a:gd name="connsiteX311" fmla="*/ 4170153 w 6561736"/>
              <a:gd name="connsiteY311" fmla="*/ 2453162 h 4841875"/>
              <a:gd name="connsiteX312" fmla="*/ 4969908 w 6561736"/>
              <a:gd name="connsiteY312" fmla="*/ 3252257 h 4841875"/>
              <a:gd name="connsiteX313" fmla="*/ 6561736 w 6561736"/>
              <a:gd name="connsiteY313" fmla="*/ 4841875 h 4841875"/>
              <a:gd name="connsiteX314" fmla="*/ 6561736 w 6561736"/>
              <a:gd name="connsiteY314" fmla="*/ 0 h 484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</a:cxnLst>
            <a:rect l="l" t="t" r="r" b="b"/>
            <a:pathLst>
              <a:path w="6561736" h="4841875">
                <a:moveTo>
                  <a:pt x="6561736" y="0"/>
                </a:moveTo>
                <a:lnTo>
                  <a:pt x="0" y="0"/>
                </a:lnTo>
                <a:lnTo>
                  <a:pt x="2696252" y="2688414"/>
                </a:lnTo>
                <a:cubicBezTo>
                  <a:pt x="2695918" y="2685874"/>
                  <a:pt x="2695918" y="2683652"/>
                  <a:pt x="2695583" y="2681112"/>
                </a:cubicBezTo>
                <a:cubicBezTo>
                  <a:pt x="2695249" y="2678889"/>
                  <a:pt x="2695249" y="2676350"/>
                  <a:pt x="2694915" y="2674127"/>
                </a:cubicBezTo>
                <a:lnTo>
                  <a:pt x="2694915" y="2667143"/>
                </a:lnTo>
                <a:cubicBezTo>
                  <a:pt x="2694915" y="2664920"/>
                  <a:pt x="2695249" y="2662381"/>
                  <a:pt x="2695249" y="2660158"/>
                </a:cubicBezTo>
                <a:cubicBezTo>
                  <a:pt x="2695583" y="2657618"/>
                  <a:pt x="2695583" y="2655396"/>
                  <a:pt x="2695918" y="2652856"/>
                </a:cubicBezTo>
                <a:cubicBezTo>
                  <a:pt x="2696252" y="2650634"/>
                  <a:pt x="2696586" y="2648094"/>
                  <a:pt x="2696920" y="2645872"/>
                </a:cubicBezTo>
                <a:cubicBezTo>
                  <a:pt x="2697588" y="2643649"/>
                  <a:pt x="2697922" y="2641109"/>
                  <a:pt x="2698590" y="2638887"/>
                </a:cubicBezTo>
                <a:cubicBezTo>
                  <a:pt x="2699258" y="2636665"/>
                  <a:pt x="2699592" y="2634125"/>
                  <a:pt x="2700260" y="2631903"/>
                </a:cubicBezTo>
                <a:cubicBezTo>
                  <a:pt x="2700929" y="2629680"/>
                  <a:pt x="2701931" y="2627458"/>
                  <a:pt x="2702599" y="2625235"/>
                </a:cubicBezTo>
                <a:lnTo>
                  <a:pt x="2705605" y="2618568"/>
                </a:lnTo>
                <a:cubicBezTo>
                  <a:pt x="2706608" y="2616346"/>
                  <a:pt x="2707944" y="2614441"/>
                  <a:pt x="2708946" y="2612219"/>
                </a:cubicBezTo>
                <a:cubicBezTo>
                  <a:pt x="2709948" y="2609996"/>
                  <a:pt x="2711285" y="2607774"/>
                  <a:pt x="2712287" y="2605552"/>
                </a:cubicBezTo>
                <a:cubicBezTo>
                  <a:pt x="2713623" y="2603647"/>
                  <a:pt x="2714959" y="2601425"/>
                  <a:pt x="2716296" y="2599520"/>
                </a:cubicBezTo>
                <a:cubicBezTo>
                  <a:pt x="2717966" y="2597615"/>
                  <a:pt x="2719302" y="2595392"/>
                  <a:pt x="2720973" y="2593488"/>
                </a:cubicBezTo>
                <a:cubicBezTo>
                  <a:pt x="2722643" y="2591583"/>
                  <a:pt x="2723979" y="2589678"/>
                  <a:pt x="2725649" y="2587773"/>
                </a:cubicBezTo>
                <a:lnTo>
                  <a:pt x="2730660" y="2582058"/>
                </a:lnTo>
                <a:cubicBezTo>
                  <a:pt x="2732331" y="2580788"/>
                  <a:pt x="2733667" y="2579201"/>
                  <a:pt x="2735337" y="2577931"/>
                </a:cubicBezTo>
                <a:cubicBezTo>
                  <a:pt x="2737008" y="2576661"/>
                  <a:pt x="2738344" y="2575074"/>
                  <a:pt x="2740014" y="2573804"/>
                </a:cubicBezTo>
                <a:lnTo>
                  <a:pt x="2745025" y="2569994"/>
                </a:lnTo>
                <a:lnTo>
                  <a:pt x="2750036" y="2566184"/>
                </a:lnTo>
                <a:cubicBezTo>
                  <a:pt x="2751707" y="2565232"/>
                  <a:pt x="2753711" y="2564279"/>
                  <a:pt x="2755381" y="2563327"/>
                </a:cubicBezTo>
                <a:cubicBezTo>
                  <a:pt x="2757052" y="2562375"/>
                  <a:pt x="2759056" y="2561105"/>
                  <a:pt x="2760726" y="2560152"/>
                </a:cubicBezTo>
                <a:cubicBezTo>
                  <a:pt x="2762397" y="2559200"/>
                  <a:pt x="2764401" y="2558247"/>
                  <a:pt x="2766072" y="2557295"/>
                </a:cubicBezTo>
                <a:cubicBezTo>
                  <a:pt x="2767742" y="2556660"/>
                  <a:pt x="2769746" y="2555708"/>
                  <a:pt x="2771417" y="2555073"/>
                </a:cubicBezTo>
                <a:cubicBezTo>
                  <a:pt x="2773421" y="2554438"/>
                  <a:pt x="2775091" y="2553485"/>
                  <a:pt x="2777096" y="2552850"/>
                </a:cubicBezTo>
                <a:cubicBezTo>
                  <a:pt x="2779100" y="2552215"/>
                  <a:pt x="2780770" y="2551898"/>
                  <a:pt x="2782775" y="2551263"/>
                </a:cubicBezTo>
                <a:cubicBezTo>
                  <a:pt x="2784779" y="2550628"/>
                  <a:pt x="2786784" y="2550310"/>
                  <a:pt x="2788788" y="2549675"/>
                </a:cubicBezTo>
                <a:cubicBezTo>
                  <a:pt x="2790792" y="2549358"/>
                  <a:pt x="2792463" y="2548723"/>
                  <a:pt x="2794467" y="2548406"/>
                </a:cubicBezTo>
                <a:lnTo>
                  <a:pt x="2800146" y="2547453"/>
                </a:lnTo>
                <a:cubicBezTo>
                  <a:pt x="2802151" y="2547136"/>
                  <a:pt x="2804155" y="2547136"/>
                  <a:pt x="2806159" y="2546818"/>
                </a:cubicBezTo>
                <a:cubicBezTo>
                  <a:pt x="2808164" y="2546501"/>
                  <a:pt x="2809834" y="2546501"/>
                  <a:pt x="2811839" y="2546183"/>
                </a:cubicBezTo>
                <a:lnTo>
                  <a:pt x="2817852" y="2546183"/>
                </a:lnTo>
                <a:lnTo>
                  <a:pt x="2823865" y="2546183"/>
                </a:lnTo>
                <a:cubicBezTo>
                  <a:pt x="2825869" y="2546501"/>
                  <a:pt x="2827874" y="2546501"/>
                  <a:pt x="2829878" y="2546818"/>
                </a:cubicBezTo>
                <a:cubicBezTo>
                  <a:pt x="2831883" y="2547136"/>
                  <a:pt x="2833553" y="2547136"/>
                  <a:pt x="2835557" y="2547453"/>
                </a:cubicBezTo>
                <a:lnTo>
                  <a:pt x="2841236" y="2548406"/>
                </a:lnTo>
                <a:cubicBezTo>
                  <a:pt x="2843241" y="2548723"/>
                  <a:pt x="2845245" y="2549358"/>
                  <a:pt x="2847250" y="2549675"/>
                </a:cubicBezTo>
                <a:cubicBezTo>
                  <a:pt x="2849254" y="2550310"/>
                  <a:pt x="2850924" y="2550628"/>
                  <a:pt x="2852929" y="2551263"/>
                </a:cubicBezTo>
                <a:cubicBezTo>
                  <a:pt x="2854933" y="2551898"/>
                  <a:pt x="2856604" y="2552215"/>
                  <a:pt x="2858608" y="2552850"/>
                </a:cubicBezTo>
                <a:cubicBezTo>
                  <a:pt x="2860612" y="2553485"/>
                  <a:pt x="2862283" y="2554438"/>
                  <a:pt x="2864287" y="2555073"/>
                </a:cubicBezTo>
                <a:cubicBezTo>
                  <a:pt x="2866291" y="2555708"/>
                  <a:pt x="2867962" y="2556660"/>
                  <a:pt x="2869966" y="2557295"/>
                </a:cubicBezTo>
                <a:cubicBezTo>
                  <a:pt x="2871637" y="2558247"/>
                  <a:pt x="2873641" y="2559200"/>
                  <a:pt x="2875311" y="2560152"/>
                </a:cubicBezTo>
                <a:cubicBezTo>
                  <a:pt x="2876982" y="2561105"/>
                  <a:pt x="2878652" y="2562375"/>
                  <a:pt x="2880322" y="2563327"/>
                </a:cubicBezTo>
                <a:cubicBezTo>
                  <a:pt x="2881993" y="2564279"/>
                  <a:pt x="2883997" y="2565232"/>
                  <a:pt x="2885667" y="2566184"/>
                </a:cubicBezTo>
                <a:lnTo>
                  <a:pt x="2890678" y="2569994"/>
                </a:lnTo>
                <a:lnTo>
                  <a:pt x="2895689" y="2573804"/>
                </a:lnTo>
                <a:cubicBezTo>
                  <a:pt x="2897360" y="2575074"/>
                  <a:pt x="2898696" y="2576661"/>
                  <a:pt x="2900366" y="2577931"/>
                </a:cubicBezTo>
                <a:cubicBezTo>
                  <a:pt x="2902037" y="2579201"/>
                  <a:pt x="2903373" y="2580788"/>
                  <a:pt x="2905043" y="2582058"/>
                </a:cubicBezTo>
                <a:lnTo>
                  <a:pt x="4398989" y="4073893"/>
                </a:lnTo>
                <a:cubicBezTo>
                  <a:pt x="4400325" y="4075480"/>
                  <a:pt x="4401995" y="4076750"/>
                  <a:pt x="4403332" y="4078338"/>
                </a:cubicBezTo>
                <a:cubicBezTo>
                  <a:pt x="4405002" y="4079608"/>
                  <a:pt x="4406338" y="4081195"/>
                  <a:pt x="4408009" y="4082465"/>
                </a:cubicBezTo>
                <a:lnTo>
                  <a:pt x="4413020" y="4086275"/>
                </a:lnTo>
                <a:cubicBezTo>
                  <a:pt x="4414690" y="4087545"/>
                  <a:pt x="4416360" y="4088497"/>
                  <a:pt x="4418031" y="4089767"/>
                </a:cubicBezTo>
                <a:cubicBezTo>
                  <a:pt x="4419701" y="4091037"/>
                  <a:pt x="4421372" y="4091989"/>
                  <a:pt x="4423042" y="4093259"/>
                </a:cubicBezTo>
                <a:cubicBezTo>
                  <a:pt x="4425046" y="4094212"/>
                  <a:pt x="4426716" y="4094847"/>
                  <a:pt x="4428721" y="4095799"/>
                </a:cubicBezTo>
                <a:lnTo>
                  <a:pt x="4433732" y="4098656"/>
                </a:lnTo>
                <a:cubicBezTo>
                  <a:pt x="4435736" y="4099609"/>
                  <a:pt x="4437741" y="4100244"/>
                  <a:pt x="4439745" y="4101196"/>
                </a:cubicBezTo>
                <a:cubicBezTo>
                  <a:pt x="4441416" y="4101831"/>
                  <a:pt x="4443420" y="4102466"/>
                  <a:pt x="4445090" y="4103101"/>
                </a:cubicBezTo>
                <a:cubicBezTo>
                  <a:pt x="4447094" y="4103736"/>
                  <a:pt x="4448765" y="4104371"/>
                  <a:pt x="4450769" y="4105006"/>
                </a:cubicBezTo>
                <a:cubicBezTo>
                  <a:pt x="4452774" y="4105641"/>
                  <a:pt x="4454444" y="4105958"/>
                  <a:pt x="4456449" y="4106593"/>
                </a:cubicBezTo>
                <a:cubicBezTo>
                  <a:pt x="4458453" y="4106911"/>
                  <a:pt x="4460123" y="4107546"/>
                  <a:pt x="4462127" y="4107863"/>
                </a:cubicBezTo>
                <a:lnTo>
                  <a:pt x="4468140" y="4108816"/>
                </a:lnTo>
                <a:cubicBezTo>
                  <a:pt x="4470145" y="4109133"/>
                  <a:pt x="4472149" y="4109133"/>
                  <a:pt x="4474154" y="4109451"/>
                </a:cubicBezTo>
                <a:cubicBezTo>
                  <a:pt x="4476158" y="4109768"/>
                  <a:pt x="4478162" y="4109768"/>
                  <a:pt x="4480167" y="4110086"/>
                </a:cubicBezTo>
                <a:lnTo>
                  <a:pt x="4485846" y="4110086"/>
                </a:lnTo>
                <a:lnTo>
                  <a:pt x="4491526" y="4110086"/>
                </a:lnTo>
                <a:cubicBezTo>
                  <a:pt x="4493529" y="4109768"/>
                  <a:pt x="4495534" y="4109768"/>
                  <a:pt x="4497538" y="4109451"/>
                </a:cubicBezTo>
                <a:cubicBezTo>
                  <a:pt x="4499543" y="4109133"/>
                  <a:pt x="4501547" y="4109133"/>
                  <a:pt x="4503551" y="4108816"/>
                </a:cubicBezTo>
                <a:lnTo>
                  <a:pt x="4509565" y="4107863"/>
                </a:lnTo>
                <a:cubicBezTo>
                  <a:pt x="4511569" y="4107546"/>
                  <a:pt x="4513239" y="4106911"/>
                  <a:pt x="4515244" y="4106593"/>
                </a:cubicBezTo>
                <a:cubicBezTo>
                  <a:pt x="4516915" y="4105958"/>
                  <a:pt x="4518919" y="4105641"/>
                  <a:pt x="4520589" y="4105006"/>
                </a:cubicBezTo>
                <a:lnTo>
                  <a:pt x="4526602" y="4103101"/>
                </a:lnTo>
                <a:cubicBezTo>
                  <a:pt x="4528272" y="4102466"/>
                  <a:pt x="4530277" y="4101831"/>
                  <a:pt x="4531948" y="4101196"/>
                </a:cubicBezTo>
                <a:cubicBezTo>
                  <a:pt x="4533952" y="4100244"/>
                  <a:pt x="4535956" y="4099609"/>
                  <a:pt x="4537960" y="4098656"/>
                </a:cubicBezTo>
                <a:lnTo>
                  <a:pt x="4542971" y="4095799"/>
                </a:lnTo>
                <a:cubicBezTo>
                  <a:pt x="4544976" y="4094847"/>
                  <a:pt x="4546646" y="4094212"/>
                  <a:pt x="4548650" y="4093259"/>
                </a:cubicBezTo>
                <a:cubicBezTo>
                  <a:pt x="4550321" y="4091989"/>
                  <a:pt x="4551991" y="4091037"/>
                  <a:pt x="4553661" y="4089767"/>
                </a:cubicBezTo>
                <a:cubicBezTo>
                  <a:pt x="4555332" y="4088497"/>
                  <a:pt x="4557002" y="4087545"/>
                  <a:pt x="4558672" y="4086275"/>
                </a:cubicBezTo>
                <a:lnTo>
                  <a:pt x="4563683" y="4082465"/>
                </a:lnTo>
                <a:cubicBezTo>
                  <a:pt x="4565354" y="4081195"/>
                  <a:pt x="4566690" y="4079608"/>
                  <a:pt x="4568360" y="4078338"/>
                </a:cubicBezTo>
                <a:cubicBezTo>
                  <a:pt x="4569697" y="4076750"/>
                  <a:pt x="4571367" y="4075480"/>
                  <a:pt x="4572704" y="4073893"/>
                </a:cubicBezTo>
                <a:lnTo>
                  <a:pt x="4577381" y="4069448"/>
                </a:lnTo>
                <a:lnTo>
                  <a:pt x="4581389" y="4064686"/>
                </a:lnTo>
                <a:cubicBezTo>
                  <a:pt x="4582726" y="4063099"/>
                  <a:pt x="4583727" y="4061194"/>
                  <a:pt x="4585064" y="4059606"/>
                </a:cubicBezTo>
                <a:cubicBezTo>
                  <a:pt x="4586400" y="4058019"/>
                  <a:pt x="4587403" y="4056432"/>
                  <a:pt x="4588738" y="4054844"/>
                </a:cubicBezTo>
                <a:cubicBezTo>
                  <a:pt x="4589741" y="4052939"/>
                  <a:pt x="4591077" y="4051352"/>
                  <a:pt x="4592079" y="4049447"/>
                </a:cubicBezTo>
                <a:cubicBezTo>
                  <a:pt x="4593081" y="4047860"/>
                  <a:pt x="4594084" y="4045955"/>
                  <a:pt x="4595086" y="4044367"/>
                </a:cubicBezTo>
                <a:cubicBezTo>
                  <a:pt x="4595754" y="4042463"/>
                  <a:pt x="4596756" y="4040558"/>
                  <a:pt x="4597424" y="4038653"/>
                </a:cubicBezTo>
                <a:cubicBezTo>
                  <a:pt x="4598092" y="4036748"/>
                  <a:pt x="4599095" y="4035161"/>
                  <a:pt x="4599763" y="4033256"/>
                </a:cubicBezTo>
                <a:cubicBezTo>
                  <a:pt x="4600431" y="4031351"/>
                  <a:pt x="4601433" y="4029763"/>
                  <a:pt x="4602101" y="4027859"/>
                </a:cubicBezTo>
                <a:lnTo>
                  <a:pt x="4604106" y="4022144"/>
                </a:lnTo>
                <a:cubicBezTo>
                  <a:pt x="4604774" y="4020239"/>
                  <a:pt x="4605108" y="4018017"/>
                  <a:pt x="4605776" y="4016112"/>
                </a:cubicBezTo>
                <a:lnTo>
                  <a:pt x="4606778" y="4010397"/>
                </a:lnTo>
                <a:lnTo>
                  <a:pt x="4607781" y="4004683"/>
                </a:lnTo>
                <a:cubicBezTo>
                  <a:pt x="4608115" y="4002778"/>
                  <a:pt x="4608115" y="4000555"/>
                  <a:pt x="4608448" y="3998650"/>
                </a:cubicBezTo>
                <a:cubicBezTo>
                  <a:pt x="4608448" y="3996746"/>
                  <a:pt x="4608782" y="3994841"/>
                  <a:pt x="4608782" y="3992936"/>
                </a:cubicBezTo>
                <a:cubicBezTo>
                  <a:pt x="4608782" y="3991031"/>
                  <a:pt x="4609117" y="3989126"/>
                  <a:pt x="4609117" y="3987221"/>
                </a:cubicBezTo>
                <a:cubicBezTo>
                  <a:pt x="4609117" y="3984999"/>
                  <a:pt x="4608782" y="3983094"/>
                  <a:pt x="4608782" y="3980872"/>
                </a:cubicBezTo>
                <a:cubicBezTo>
                  <a:pt x="4608782" y="3978967"/>
                  <a:pt x="4608448" y="3977062"/>
                  <a:pt x="4608448" y="3975157"/>
                </a:cubicBezTo>
                <a:cubicBezTo>
                  <a:pt x="4608115" y="3973252"/>
                  <a:pt x="4608115" y="3971347"/>
                  <a:pt x="4607781" y="3969442"/>
                </a:cubicBezTo>
                <a:cubicBezTo>
                  <a:pt x="4607446" y="3967537"/>
                  <a:pt x="4607112" y="3965315"/>
                  <a:pt x="4606778" y="3963410"/>
                </a:cubicBezTo>
                <a:lnTo>
                  <a:pt x="4605776" y="3957696"/>
                </a:lnTo>
                <a:cubicBezTo>
                  <a:pt x="4605108" y="3955791"/>
                  <a:pt x="4604774" y="3953886"/>
                  <a:pt x="4604106" y="3951981"/>
                </a:cubicBezTo>
                <a:cubicBezTo>
                  <a:pt x="4603437" y="3950076"/>
                  <a:pt x="4602770" y="3948489"/>
                  <a:pt x="4602101" y="3946584"/>
                </a:cubicBezTo>
                <a:cubicBezTo>
                  <a:pt x="4601433" y="3944679"/>
                  <a:pt x="4600431" y="3942457"/>
                  <a:pt x="4599763" y="3940552"/>
                </a:cubicBezTo>
                <a:cubicBezTo>
                  <a:pt x="4599095" y="3938647"/>
                  <a:pt x="4598092" y="3937059"/>
                  <a:pt x="4597424" y="3935155"/>
                </a:cubicBezTo>
                <a:cubicBezTo>
                  <a:pt x="4596756" y="3933250"/>
                  <a:pt x="4595754" y="3931662"/>
                  <a:pt x="4595086" y="3929757"/>
                </a:cubicBezTo>
                <a:cubicBezTo>
                  <a:pt x="4594084" y="3928170"/>
                  <a:pt x="4593081" y="3926265"/>
                  <a:pt x="4592079" y="3924678"/>
                </a:cubicBezTo>
                <a:cubicBezTo>
                  <a:pt x="4591077" y="3922773"/>
                  <a:pt x="4589741" y="3921185"/>
                  <a:pt x="4588738" y="3919281"/>
                </a:cubicBezTo>
                <a:cubicBezTo>
                  <a:pt x="4587403" y="3917693"/>
                  <a:pt x="4586400" y="3915788"/>
                  <a:pt x="4585064" y="3914201"/>
                </a:cubicBezTo>
                <a:cubicBezTo>
                  <a:pt x="4583727" y="3912614"/>
                  <a:pt x="4582726" y="3910709"/>
                  <a:pt x="4581389" y="3909121"/>
                </a:cubicBezTo>
                <a:cubicBezTo>
                  <a:pt x="4580053" y="3907534"/>
                  <a:pt x="4578716" y="3906264"/>
                  <a:pt x="4577381" y="3904677"/>
                </a:cubicBezTo>
                <a:cubicBezTo>
                  <a:pt x="4575710" y="3903089"/>
                  <a:pt x="4574374" y="3901502"/>
                  <a:pt x="4572704" y="3899914"/>
                </a:cubicBezTo>
                <a:lnTo>
                  <a:pt x="3276525" y="2605234"/>
                </a:lnTo>
                <a:cubicBezTo>
                  <a:pt x="3275189" y="2603647"/>
                  <a:pt x="3273519" y="2602059"/>
                  <a:pt x="3272182" y="2600472"/>
                </a:cubicBezTo>
                <a:cubicBezTo>
                  <a:pt x="3270846" y="2598885"/>
                  <a:pt x="3269510" y="2597615"/>
                  <a:pt x="3268174" y="2596027"/>
                </a:cubicBezTo>
                <a:cubicBezTo>
                  <a:pt x="3266837" y="2594440"/>
                  <a:pt x="3265501" y="2592535"/>
                  <a:pt x="3264165" y="2590948"/>
                </a:cubicBezTo>
                <a:cubicBezTo>
                  <a:pt x="3263163" y="2589360"/>
                  <a:pt x="3261826" y="2587455"/>
                  <a:pt x="3260824" y="2585868"/>
                </a:cubicBezTo>
                <a:cubicBezTo>
                  <a:pt x="3259822" y="2584281"/>
                  <a:pt x="3258820" y="2582376"/>
                  <a:pt x="3257818" y="2580788"/>
                </a:cubicBezTo>
                <a:cubicBezTo>
                  <a:pt x="3256815" y="2579201"/>
                  <a:pt x="3255813" y="2577296"/>
                  <a:pt x="3254811" y="2575709"/>
                </a:cubicBezTo>
                <a:cubicBezTo>
                  <a:pt x="3253809" y="2573804"/>
                  <a:pt x="3253141" y="2571899"/>
                  <a:pt x="3252138" y="2569994"/>
                </a:cubicBezTo>
                <a:cubicBezTo>
                  <a:pt x="3251136" y="2568089"/>
                  <a:pt x="3250468" y="2566502"/>
                  <a:pt x="3249466" y="2564597"/>
                </a:cubicBezTo>
                <a:lnTo>
                  <a:pt x="3247461" y="2558882"/>
                </a:lnTo>
                <a:cubicBezTo>
                  <a:pt x="3246793" y="2556977"/>
                  <a:pt x="3246459" y="2555073"/>
                  <a:pt x="3245791" y="2553168"/>
                </a:cubicBezTo>
                <a:cubicBezTo>
                  <a:pt x="3245123" y="2551263"/>
                  <a:pt x="3244789" y="2549358"/>
                  <a:pt x="3244121" y="2547453"/>
                </a:cubicBezTo>
                <a:cubicBezTo>
                  <a:pt x="3243787" y="2545548"/>
                  <a:pt x="3243119" y="2543643"/>
                  <a:pt x="3242785" y="2541738"/>
                </a:cubicBezTo>
                <a:lnTo>
                  <a:pt x="3241782" y="2536024"/>
                </a:lnTo>
                <a:cubicBezTo>
                  <a:pt x="3241448" y="2534119"/>
                  <a:pt x="3241448" y="2531897"/>
                  <a:pt x="3241114" y="2529992"/>
                </a:cubicBezTo>
                <a:cubicBezTo>
                  <a:pt x="3241114" y="2528087"/>
                  <a:pt x="3240780" y="2526182"/>
                  <a:pt x="3240780" y="2524277"/>
                </a:cubicBezTo>
                <a:lnTo>
                  <a:pt x="3240780" y="2518245"/>
                </a:lnTo>
                <a:lnTo>
                  <a:pt x="3240780" y="2512213"/>
                </a:lnTo>
                <a:cubicBezTo>
                  <a:pt x="3240780" y="2510308"/>
                  <a:pt x="3241114" y="2508403"/>
                  <a:pt x="3241114" y="2506498"/>
                </a:cubicBezTo>
                <a:cubicBezTo>
                  <a:pt x="3241448" y="2504593"/>
                  <a:pt x="3241448" y="2502689"/>
                  <a:pt x="3241782" y="2500784"/>
                </a:cubicBezTo>
                <a:cubicBezTo>
                  <a:pt x="3242116" y="2498879"/>
                  <a:pt x="3242450" y="2496656"/>
                  <a:pt x="3242785" y="2494752"/>
                </a:cubicBezTo>
                <a:cubicBezTo>
                  <a:pt x="3243119" y="2492847"/>
                  <a:pt x="3243787" y="2490942"/>
                  <a:pt x="3244121" y="2489037"/>
                </a:cubicBezTo>
                <a:cubicBezTo>
                  <a:pt x="3244789" y="2487132"/>
                  <a:pt x="3245123" y="2485227"/>
                  <a:pt x="3245791" y="2483322"/>
                </a:cubicBezTo>
                <a:cubicBezTo>
                  <a:pt x="3246459" y="2481417"/>
                  <a:pt x="3246793" y="2479195"/>
                  <a:pt x="3247461" y="2477290"/>
                </a:cubicBezTo>
                <a:cubicBezTo>
                  <a:pt x="3248130" y="2475385"/>
                  <a:pt x="3248798" y="2473798"/>
                  <a:pt x="3249466" y="2471893"/>
                </a:cubicBezTo>
                <a:cubicBezTo>
                  <a:pt x="3250468" y="2469988"/>
                  <a:pt x="3251136" y="2468401"/>
                  <a:pt x="3252138" y="2466496"/>
                </a:cubicBezTo>
                <a:cubicBezTo>
                  <a:pt x="3253141" y="2464591"/>
                  <a:pt x="3253809" y="2463004"/>
                  <a:pt x="3254811" y="2461099"/>
                </a:cubicBezTo>
                <a:cubicBezTo>
                  <a:pt x="3255813" y="2459194"/>
                  <a:pt x="3256815" y="2457606"/>
                  <a:pt x="3257818" y="2455702"/>
                </a:cubicBezTo>
                <a:cubicBezTo>
                  <a:pt x="3258820" y="2453797"/>
                  <a:pt x="3259822" y="2452209"/>
                  <a:pt x="3260824" y="2450304"/>
                </a:cubicBezTo>
                <a:cubicBezTo>
                  <a:pt x="3261826" y="2448717"/>
                  <a:pt x="3263163" y="2447130"/>
                  <a:pt x="3264165" y="2445542"/>
                </a:cubicBezTo>
                <a:cubicBezTo>
                  <a:pt x="3265501" y="2443955"/>
                  <a:pt x="3266837" y="2442050"/>
                  <a:pt x="3268174" y="2440463"/>
                </a:cubicBezTo>
                <a:lnTo>
                  <a:pt x="3272182" y="2435700"/>
                </a:lnTo>
                <a:cubicBezTo>
                  <a:pt x="3273519" y="2434113"/>
                  <a:pt x="3275189" y="2432843"/>
                  <a:pt x="3276525" y="2431256"/>
                </a:cubicBezTo>
                <a:cubicBezTo>
                  <a:pt x="3278196" y="2429668"/>
                  <a:pt x="3279866" y="2428398"/>
                  <a:pt x="3281536" y="2426811"/>
                </a:cubicBezTo>
                <a:lnTo>
                  <a:pt x="3285879" y="2422684"/>
                </a:lnTo>
                <a:lnTo>
                  <a:pt x="3290890" y="2418874"/>
                </a:lnTo>
                <a:cubicBezTo>
                  <a:pt x="3292560" y="2417604"/>
                  <a:pt x="3294565" y="2416652"/>
                  <a:pt x="3296235" y="2415382"/>
                </a:cubicBezTo>
                <a:cubicBezTo>
                  <a:pt x="3297906" y="2414429"/>
                  <a:pt x="3299576" y="2413159"/>
                  <a:pt x="3301246" y="2412207"/>
                </a:cubicBezTo>
                <a:cubicBezTo>
                  <a:pt x="3302917" y="2411255"/>
                  <a:pt x="3304921" y="2410302"/>
                  <a:pt x="3306591" y="2409350"/>
                </a:cubicBezTo>
                <a:cubicBezTo>
                  <a:pt x="3308262" y="2408397"/>
                  <a:pt x="3310266" y="2407445"/>
                  <a:pt x="3311936" y="2406492"/>
                </a:cubicBezTo>
                <a:cubicBezTo>
                  <a:pt x="3313607" y="2405857"/>
                  <a:pt x="3315611" y="2404905"/>
                  <a:pt x="3317281" y="2404270"/>
                </a:cubicBezTo>
                <a:cubicBezTo>
                  <a:pt x="3319286" y="2403635"/>
                  <a:pt x="3321290" y="2402683"/>
                  <a:pt x="3323295" y="2402048"/>
                </a:cubicBezTo>
                <a:cubicBezTo>
                  <a:pt x="3324965" y="2401413"/>
                  <a:pt x="3326969" y="2400778"/>
                  <a:pt x="3328640" y="2400143"/>
                </a:cubicBezTo>
                <a:cubicBezTo>
                  <a:pt x="3330644" y="2399825"/>
                  <a:pt x="3332648" y="2399190"/>
                  <a:pt x="3334653" y="2398873"/>
                </a:cubicBezTo>
                <a:cubicBezTo>
                  <a:pt x="3336657" y="2398238"/>
                  <a:pt x="3338328" y="2397920"/>
                  <a:pt x="3340332" y="2397285"/>
                </a:cubicBezTo>
                <a:lnTo>
                  <a:pt x="3346011" y="2396333"/>
                </a:lnTo>
                <a:cubicBezTo>
                  <a:pt x="3348016" y="2396016"/>
                  <a:pt x="3350020" y="2396016"/>
                  <a:pt x="3352024" y="2395698"/>
                </a:cubicBezTo>
                <a:cubicBezTo>
                  <a:pt x="3354029" y="2395698"/>
                  <a:pt x="3355699" y="2395381"/>
                  <a:pt x="3357703" y="2395381"/>
                </a:cubicBezTo>
                <a:lnTo>
                  <a:pt x="3364051" y="2395381"/>
                </a:lnTo>
                <a:lnTo>
                  <a:pt x="3369730" y="2395381"/>
                </a:lnTo>
                <a:cubicBezTo>
                  <a:pt x="3371734" y="2395381"/>
                  <a:pt x="3373739" y="2395698"/>
                  <a:pt x="3375743" y="2395698"/>
                </a:cubicBezTo>
                <a:cubicBezTo>
                  <a:pt x="3377747" y="2396016"/>
                  <a:pt x="3379418" y="2396016"/>
                  <a:pt x="3381422" y="2396333"/>
                </a:cubicBezTo>
                <a:lnTo>
                  <a:pt x="3387101" y="2397285"/>
                </a:lnTo>
                <a:cubicBezTo>
                  <a:pt x="3389106" y="2397920"/>
                  <a:pt x="3391110" y="2398238"/>
                  <a:pt x="3393114" y="2398873"/>
                </a:cubicBezTo>
                <a:cubicBezTo>
                  <a:pt x="3395119" y="2399190"/>
                  <a:pt x="3396789" y="2399825"/>
                  <a:pt x="3398794" y="2400143"/>
                </a:cubicBezTo>
                <a:lnTo>
                  <a:pt x="3404807" y="2402048"/>
                </a:lnTo>
                <a:cubicBezTo>
                  <a:pt x="3406477" y="2402683"/>
                  <a:pt x="3408482" y="2403635"/>
                  <a:pt x="3410152" y="2404270"/>
                </a:cubicBezTo>
                <a:cubicBezTo>
                  <a:pt x="3412156" y="2404905"/>
                  <a:pt x="3413827" y="2405857"/>
                  <a:pt x="3415831" y="2406492"/>
                </a:cubicBezTo>
                <a:cubicBezTo>
                  <a:pt x="3417501" y="2407445"/>
                  <a:pt x="3419506" y="2408397"/>
                  <a:pt x="3421176" y="2409350"/>
                </a:cubicBezTo>
                <a:lnTo>
                  <a:pt x="3426187" y="2412207"/>
                </a:lnTo>
                <a:cubicBezTo>
                  <a:pt x="3428191" y="2413159"/>
                  <a:pt x="3429862" y="2414429"/>
                  <a:pt x="3431866" y="2415382"/>
                </a:cubicBezTo>
                <a:cubicBezTo>
                  <a:pt x="3433537" y="2416652"/>
                  <a:pt x="3434873" y="2417604"/>
                  <a:pt x="3436543" y="2418874"/>
                </a:cubicBezTo>
                <a:lnTo>
                  <a:pt x="3441554" y="2422684"/>
                </a:lnTo>
                <a:cubicBezTo>
                  <a:pt x="3443224" y="2423954"/>
                  <a:pt x="3444895" y="2425541"/>
                  <a:pt x="3446565" y="2426811"/>
                </a:cubicBezTo>
                <a:cubicBezTo>
                  <a:pt x="3447901" y="2428398"/>
                  <a:pt x="3449572" y="2429668"/>
                  <a:pt x="3450908" y="2431256"/>
                </a:cubicBezTo>
                <a:lnTo>
                  <a:pt x="4169819" y="3149076"/>
                </a:lnTo>
                <a:lnTo>
                  <a:pt x="4174496" y="3153521"/>
                </a:lnTo>
                <a:cubicBezTo>
                  <a:pt x="4176167" y="3154791"/>
                  <a:pt x="4177503" y="3156378"/>
                  <a:pt x="4179173" y="3157648"/>
                </a:cubicBezTo>
                <a:lnTo>
                  <a:pt x="4184184" y="3161458"/>
                </a:lnTo>
                <a:cubicBezTo>
                  <a:pt x="4185855" y="3162728"/>
                  <a:pt x="4187525" y="3163680"/>
                  <a:pt x="4189195" y="3164950"/>
                </a:cubicBezTo>
                <a:cubicBezTo>
                  <a:pt x="4190866" y="3166220"/>
                  <a:pt x="4192870" y="3167172"/>
                  <a:pt x="4194540" y="3168442"/>
                </a:cubicBezTo>
                <a:cubicBezTo>
                  <a:pt x="4196211" y="3169395"/>
                  <a:pt x="4197881" y="3170030"/>
                  <a:pt x="4199551" y="3170982"/>
                </a:cubicBezTo>
                <a:cubicBezTo>
                  <a:pt x="4201222" y="3171935"/>
                  <a:pt x="4203226" y="3172887"/>
                  <a:pt x="4204896" y="3173840"/>
                </a:cubicBezTo>
                <a:cubicBezTo>
                  <a:pt x="4206901" y="3174474"/>
                  <a:pt x="4208571" y="3175427"/>
                  <a:pt x="4210576" y="3176062"/>
                </a:cubicBezTo>
                <a:cubicBezTo>
                  <a:pt x="4212580" y="3176697"/>
                  <a:pt x="4214250" y="3177649"/>
                  <a:pt x="4216255" y="3178284"/>
                </a:cubicBezTo>
                <a:cubicBezTo>
                  <a:pt x="4218259" y="3178919"/>
                  <a:pt x="4219929" y="3179554"/>
                  <a:pt x="4221934" y="3180189"/>
                </a:cubicBezTo>
                <a:cubicBezTo>
                  <a:pt x="4223938" y="3180824"/>
                  <a:pt x="4225609" y="3181142"/>
                  <a:pt x="4227613" y="3181776"/>
                </a:cubicBezTo>
                <a:cubicBezTo>
                  <a:pt x="4229617" y="3182094"/>
                  <a:pt x="4231288" y="3182729"/>
                  <a:pt x="4233292" y="3183046"/>
                </a:cubicBezTo>
                <a:lnTo>
                  <a:pt x="4239305" y="3183999"/>
                </a:lnTo>
                <a:cubicBezTo>
                  <a:pt x="4241310" y="3184316"/>
                  <a:pt x="4242980" y="3184316"/>
                  <a:pt x="4244984" y="3184634"/>
                </a:cubicBezTo>
                <a:cubicBezTo>
                  <a:pt x="4246989" y="3184634"/>
                  <a:pt x="4248993" y="3184951"/>
                  <a:pt x="4250998" y="3184951"/>
                </a:cubicBezTo>
                <a:cubicBezTo>
                  <a:pt x="4253002" y="3184951"/>
                  <a:pt x="4255006" y="3185269"/>
                  <a:pt x="4257011" y="3185269"/>
                </a:cubicBezTo>
                <a:cubicBezTo>
                  <a:pt x="4259015" y="3185269"/>
                  <a:pt x="4261020" y="3184951"/>
                  <a:pt x="4263024" y="3184951"/>
                </a:cubicBezTo>
                <a:cubicBezTo>
                  <a:pt x="4265028" y="3184951"/>
                  <a:pt x="4266699" y="3184634"/>
                  <a:pt x="4268703" y="3184634"/>
                </a:cubicBezTo>
                <a:cubicBezTo>
                  <a:pt x="4270707" y="3184316"/>
                  <a:pt x="4272378" y="3184316"/>
                  <a:pt x="4274382" y="3183999"/>
                </a:cubicBezTo>
                <a:lnTo>
                  <a:pt x="4280395" y="3183046"/>
                </a:lnTo>
                <a:cubicBezTo>
                  <a:pt x="4282400" y="3182729"/>
                  <a:pt x="4284070" y="3182094"/>
                  <a:pt x="4286075" y="3181776"/>
                </a:cubicBezTo>
                <a:cubicBezTo>
                  <a:pt x="4288079" y="3181142"/>
                  <a:pt x="4290083" y="3180824"/>
                  <a:pt x="4292088" y="3180189"/>
                </a:cubicBezTo>
                <a:cubicBezTo>
                  <a:pt x="4294092" y="3179554"/>
                  <a:pt x="4295762" y="3178919"/>
                  <a:pt x="4297767" y="3178284"/>
                </a:cubicBezTo>
                <a:cubicBezTo>
                  <a:pt x="4299771" y="3177649"/>
                  <a:pt x="4301442" y="3176697"/>
                  <a:pt x="4303446" y="3176062"/>
                </a:cubicBezTo>
                <a:cubicBezTo>
                  <a:pt x="4305116" y="3175427"/>
                  <a:pt x="4307121" y="3174474"/>
                  <a:pt x="4308791" y="3173840"/>
                </a:cubicBezTo>
                <a:cubicBezTo>
                  <a:pt x="4310461" y="3172887"/>
                  <a:pt x="4312466" y="3171935"/>
                  <a:pt x="4314136" y="3170982"/>
                </a:cubicBezTo>
                <a:cubicBezTo>
                  <a:pt x="4316140" y="3170030"/>
                  <a:pt x="4317811" y="3169395"/>
                  <a:pt x="4319815" y="3168442"/>
                </a:cubicBezTo>
                <a:cubicBezTo>
                  <a:pt x="4321486" y="3167172"/>
                  <a:pt x="4323156" y="3166220"/>
                  <a:pt x="4324826" y="3164950"/>
                </a:cubicBezTo>
                <a:cubicBezTo>
                  <a:pt x="4326497" y="3163680"/>
                  <a:pt x="4327833" y="3162728"/>
                  <a:pt x="4329503" y="3161458"/>
                </a:cubicBezTo>
                <a:cubicBezTo>
                  <a:pt x="4331173" y="3160188"/>
                  <a:pt x="4333178" y="3158918"/>
                  <a:pt x="4334848" y="3157648"/>
                </a:cubicBezTo>
                <a:cubicBezTo>
                  <a:pt x="4336519" y="3156378"/>
                  <a:pt x="4337855" y="3154791"/>
                  <a:pt x="4339525" y="3153521"/>
                </a:cubicBezTo>
                <a:lnTo>
                  <a:pt x="4344202" y="3149076"/>
                </a:lnTo>
                <a:cubicBezTo>
                  <a:pt x="4345538" y="3147489"/>
                  <a:pt x="4347209" y="3146219"/>
                  <a:pt x="4348545" y="3144631"/>
                </a:cubicBezTo>
                <a:lnTo>
                  <a:pt x="4352554" y="3139869"/>
                </a:lnTo>
                <a:cubicBezTo>
                  <a:pt x="4353890" y="3138282"/>
                  <a:pt x="4354892" y="3136377"/>
                  <a:pt x="4356228" y="3134790"/>
                </a:cubicBezTo>
                <a:cubicBezTo>
                  <a:pt x="4357565" y="3133202"/>
                  <a:pt x="4358567" y="3131615"/>
                  <a:pt x="4359903" y="3130027"/>
                </a:cubicBezTo>
                <a:cubicBezTo>
                  <a:pt x="4360905" y="3128440"/>
                  <a:pt x="4362242" y="3126535"/>
                  <a:pt x="4363244" y="3124948"/>
                </a:cubicBezTo>
                <a:cubicBezTo>
                  <a:pt x="4364246" y="3123043"/>
                  <a:pt x="4364914" y="3121455"/>
                  <a:pt x="4365916" y="3119551"/>
                </a:cubicBezTo>
                <a:cubicBezTo>
                  <a:pt x="4366919" y="3117646"/>
                  <a:pt x="4367587" y="3115741"/>
                  <a:pt x="4368589" y="3113836"/>
                </a:cubicBezTo>
                <a:cubicBezTo>
                  <a:pt x="4369591" y="3111931"/>
                  <a:pt x="4370259" y="3110344"/>
                  <a:pt x="4371261" y="3108439"/>
                </a:cubicBezTo>
                <a:cubicBezTo>
                  <a:pt x="4371930" y="3106534"/>
                  <a:pt x="4372598" y="3104947"/>
                  <a:pt x="4373266" y="3103042"/>
                </a:cubicBezTo>
                <a:cubicBezTo>
                  <a:pt x="4373934" y="3101137"/>
                  <a:pt x="4374602" y="3098914"/>
                  <a:pt x="4375270" y="3097010"/>
                </a:cubicBezTo>
                <a:cubicBezTo>
                  <a:pt x="4375604" y="3095105"/>
                  <a:pt x="4376272" y="3093200"/>
                  <a:pt x="4376606" y="3091295"/>
                </a:cubicBezTo>
                <a:cubicBezTo>
                  <a:pt x="4376941" y="3089390"/>
                  <a:pt x="4377609" y="3087485"/>
                  <a:pt x="4377943" y="3085580"/>
                </a:cubicBezTo>
                <a:lnTo>
                  <a:pt x="4378945" y="3079866"/>
                </a:lnTo>
                <a:cubicBezTo>
                  <a:pt x="4379279" y="3077961"/>
                  <a:pt x="4379279" y="3075738"/>
                  <a:pt x="4379613" y="3073834"/>
                </a:cubicBezTo>
                <a:cubicBezTo>
                  <a:pt x="4379613" y="3071929"/>
                  <a:pt x="4379947" y="3070024"/>
                  <a:pt x="4379947" y="3068119"/>
                </a:cubicBezTo>
                <a:cubicBezTo>
                  <a:pt x="4379947" y="3066214"/>
                  <a:pt x="4380281" y="3064309"/>
                  <a:pt x="4380281" y="3062404"/>
                </a:cubicBezTo>
                <a:cubicBezTo>
                  <a:pt x="4380281" y="3060182"/>
                  <a:pt x="4379947" y="3058277"/>
                  <a:pt x="4379947" y="3056055"/>
                </a:cubicBezTo>
                <a:cubicBezTo>
                  <a:pt x="4379947" y="3054150"/>
                  <a:pt x="4379613" y="3052245"/>
                  <a:pt x="4379613" y="3050340"/>
                </a:cubicBezTo>
                <a:cubicBezTo>
                  <a:pt x="4379279" y="3048435"/>
                  <a:pt x="4379279" y="3046530"/>
                  <a:pt x="4378945" y="3044625"/>
                </a:cubicBezTo>
                <a:cubicBezTo>
                  <a:pt x="4378611" y="3042721"/>
                  <a:pt x="4378277" y="3040498"/>
                  <a:pt x="4377943" y="3038593"/>
                </a:cubicBezTo>
                <a:cubicBezTo>
                  <a:pt x="4377609" y="3036688"/>
                  <a:pt x="4376941" y="3034784"/>
                  <a:pt x="4376606" y="3032879"/>
                </a:cubicBezTo>
                <a:cubicBezTo>
                  <a:pt x="4376272" y="3030974"/>
                  <a:pt x="4375604" y="3029069"/>
                  <a:pt x="4375270" y="3027164"/>
                </a:cubicBezTo>
                <a:lnTo>
                  <a:pt x="4373266" y="3021449"/>
                </a:lnTo>
                <a:lnTo>
                  <a:pt x="4371261" y="3015735"/>
                </a:lnTo>
                <a:cubicBezTo>
                  <a:pt x="4370259" y="3013830"/>
                  <a:pt x="4369591" y="3012243"/>
                  <a:pt x="4368589" y="3010338"/>
                </a:cubicBezTo>
                <a:cubicBezTo>
                  <a:pt x="4367587" y="3008433"/>
                  <a:pt x="4366919" y="3006845"/>
                  <a:pt x="4365916" y="3004941"/>
                </a:cubicBezTo>
                <a:cubicBezTo>
                  <a:pt x="4364914" y="3003036"/>
                  <a:pt x="4364246" y="3001448"/>
                  <a:pt x="4363244" y="2999543"/>
                </a:cubicBezTo>
                <a:cubicBezTo>
                  <a:pt x="4362242" y="2997956"/>
                  <a:pt x="4360905" y="2996051"/>
                  <a:pt x="4359903" y="2994464"/>
                </a:cubicBezTo>
                <a:cubicBezTo>
                  <a:pt x="4358567" y="2992876"/>
                  <a:pt x="4357565" y="2990971"/>
                  <a:pt x="4356228" y="2989384"/>
                </a:cubicBezTo>
                <a:cubicBezTo>
                  <a:pt x="4354892" y="2987797"/>
                  <a:pt x="4353890" y="2986209"/>
                  <a:pt x="4352554" y="2984622"/>
                </a:cubicBezTo>
                <a:lnTo>
                  <a:pt x="4348545" y="2979860"/>
                </a:lnTo>
                <a:cubicBezTo>
                  <a:pt x="4347209" y="2978272"/>
                  <a:pt x="4345538" y="2976685"/>
                  <a:pt x="4344202" y="2975098"/>
                </a:cubicBezTo>
                <a:lnTo>
                  <a:pt x="4244650" y="2875727"/>
                </a:lnTo>
                <a:lnTo>
                  <a:pt x="3995771" y="2627140"/>
                </a:lnTo>
                <a:cubicBezTo>
                  <a:pt x="3994434" y="2625553"/>
                  <a:pt x="3992764" y="2624283"/>
                  <a:pt x="3991428" y="2622696"/>
                </a:cubicBezTo>
                <a:lnTo>
                  <a:pt x="3987419" y="2617933"/>
                </a:lnTo>
                <a:lnTo>
                  <a:pt x="3983410" y="2613171"/>
                </a:lnTo>
                <a:cubicBezTo>
                  <a:pt x="3982408" y="2611584"/>
                  <a:pt x="3981072" y="2609679"/>
                  <a:pt x="3980070" y="2608092"/>
                </a:cubicBezTo>
                <a:cubicBezTo>
                  <a:pt x="3979067" y="2606504"/>
                  <a:pt x="3978065" y="2604599"/>
                  <a:pt x="3977063" y="2603012"/>
                </a:cubicBezTo>
                <a:cubicBezTo>
                  <a:pt x="3976061" y="2601107"/>
                  <a:pt x="3974724" y="2599202"/>
                  <a:pt x="3973722" y="2597297"/>
                </a:cubicBezTo>
                <a:cubicBezTo>
                  <a:pt x="3972720" y="2595392"/>
                  <a:pt x="3972052" y="2593805"/>
                  <a:pt x="3971050" y="2591900"/>
                </a:cubicBezTo>
                <a:cubicBezTo>
                  <a:pt x="3970382" y="2589995"/>
                  <a:pt x="3969379" y="2588408"/>
                  <a:pt x="3968711" y="2586503"/>
                </a:cubicBezTo>
                <a:cubicBezTo>
                  <a:pt x="3968043" y="2584598"/>
                  <a:pt x="3967375" y="2583011"/>
                  <a:pt x="3966707" y="2581106"/>
                </a:cubicBezTo>
                <a:cubicBezTo>
                  <a:pt x="3966039" y="2579201"/>
                  <a:pt x="3965705" y="2576979"/>
                  <a:pt x="3965037" y="2575074"/>
                </a:cubicBezTo>
                <a:cubicBezTo>
                  <a:pt x="3964368" y="2573169"/>
                  <a:pt x="3964034" y="2571581"/>
                  <a:pt x="3963366" y="2569677"/>
                </a:cubicBezTo>
                <a:cubicBezTo>
                  <a:pt x="3963032" y="2567772"/>
                  <a:pt x="3962364" y="2565867"/>
                  <a:pt x="3962030" y="2563962"/>
                </a:cubicBezTo>
                <a:lnTo>
                  <a:pt x="3961028" y="2558247"/>
                </a:lnTo>
                <a:cubicBezTo>
                  <a:pt x="3960694" y="2556025"/>
                  <a:pt x="3960360" y="2554120"/>
                  <a:pt x="3960026" y="2551898"/>
                </a:cubicBezTo>
                <a:cubicBezTo>
                  <a:pt x="3960026" y="2549993"/>
                  <a:pt x="3959691" y="2548088"/>
                  <a:pt x="3959691" y="2546183"/>
                </a:cubicBezTo>
                <a:lnTo>
                  <a:pt x="3959691" y="2540469"/>
                </a:lnTo>
                <a:lnTo>
                  <a:pt x="3959691" y="2534436"/>
                </a:lnTo>
                <a:cubicBezTo>
                  <a:pt x="3959691" y="2532532"/>
                  <a:pt x="3960026" y="2530309"/>
                  <a:pt x="3960026" y="2528404"/>
                </a:cubicBezTo>
                <a:lnTo>
                  <a:pt x="3961028" y="2522690"/>
                </a:lnTo>
                <a:cubicBezTo>
                  <a:pt x="3961362" y="2520785"/>
                  <a:pt x="3961696" y="2518562"/>
                  <a:pt x="3962030" y="2516658"/>
                </a:cubicBezTo>
                <a:cubicBezTo>
                  <a:pt x="3962364" y="2514753"/>
                  <a:pt x="3963032" y="2512848"/>
                  <a:pt x="3963366" y="2510943"/>
                </a:cubicBezTo>
                <a:cubicBezTo>
                  <a:pt x="3964034" y="2509038"/>
                  <a:pt x="3964368" y="2507133"/>
                  <a:pt x="3965037" y="2505228"/>
                </a:cubicBezTo>
                <a:cubicBezTo>
                  <a:pt x="3965705" y="2503323"/>
                  <a:pt x="3966039" y="2501419"/>
                  <a:pt x="3966707" y="2499514"/>
                </a:cubicBezTo>
                <a:cubicBezTo>
                  <a:pt x="3967375" y="2497609"/>
                  <a:pt x="3968043" y="2496021"/>
                  <a:pt x="3968711" y="2494117"/>
                </a:cubicBezTo>
                <a:cubicBezTo>
                  <a:pt x="3969379" y="2492212"/>
                  <a:pt x="3970382" y="2490307"/>
                  <a:pt x="3971050" y="2488402"/>
                </a:cubicBezTo>
                <a:cubicBezTo>
                  <a:pt x="3972052" y="2486815"/>
                  <a:pt x="3972720" y="2484910"/>
                  <a:pt x="3973722" y="2483322"/>
                </a:cubicBezTo>
                <a:cubicBezTo>
                  <a:pt x="3974724" y="2481417"/>
                  <a:pt x="3976061" y="2479513"/>
                  <a:pt x="3977063" y="2477608"/>
                </a:cubicBezTo>
                <a:cubicBezTo>
                  <a:pt x="3978065" y="2476020"/>
                  <a:pt x="3979067" y="2474115"/>
                  <a:pt x="3980070" y="2472528"/>
                </a:cubicBezTo>
                <a:cubicBezTo>
                  <a:pt x="3981072" y="2470941"/>
                  <a:pt x="3982408" y="2469036"/>
                  <a:pt x="3983410" y="2467448"/>
                </a:cubicBezTo>
                <a:lnTo>
                  <a:pt x="3987419" y="2462686"/>
                </a:lnTo>
                <a:lnTo>
                  <a:pt x="3991428" y="2457924"/>
                </a:lnTo>
                <a:cubicBezTo>
                  <a:pt x="3992764" y="2456337"/>
                  <a:pt x="3994434" y="2454749"/>
                  <a:pt x="3995771" y="2453162"/>
                </a:cubicBezTo>
                <a:cubicBezTo>
                  <a:pt x="3997441" y="2451892"/>
                  <a:pt x="3998777" y="2450304"/>
                  <a:pt x="4000448" y="2449035"/>
                </a:cubicBezTo>
                <a:cubicBezTo>
                  <a:pt x="4002118" y="2447765"/>
                  <a:pt x="4003788" y="2446177"/>
                  <a:pt x="4005459" y="2444907"/>
                </a:cubicBezTo>
                <a:cubicBezTo>
                  <a:pt x="4007129" y="2443637"/>
                  <a:pt x="4008465" y="2442367"/>
                  <a:pt x="4010135" y="2441098"/>
                </a:cubicBezTo>
                <a:lnTo>
                  <a:pt x="4015146" y="2437288"/>
                </a:lnTo>
                <a:cubicBezTo>
                  <a:pt x="4016817" y="2436335"/>
                  <a:pt x="4018821" y="2435383"/>
                  <a:pt x="4020492" y="2434430"/>
                </a:cubicBezTo>
                <a:cubicBezTo>
                  <a:pt x="4022162" y="2433478"/>
                  <a:pt x="4023832" y="2432208"/>
                  <a:pt x="4025503" y="2431256"/>
                </a:cubicBezTo>
                <a:cubicBezTo>
                  <a:pt x="4027507" y="2430303"/>
                  <a:pt x="4029177" y="2429351"/>
                  <a:pt x="4031182" y="2428398"/>
                </a:cubicBezTo>
                <a:cubicBezTo>
                  <a:pt x="4032852" y="2427763"/>
                  <a:pt x="4034856" y="2426811"/>
                  <a:pt x="4036527" y="2426176"/>
                </a:cubicBezTo>
                <a:cubicBezTo>
                  <a:pt x="4038531" y="2425541"/>
                  <a:pt x="4040201" y="2424589"/>
                  <a:pt x="4042206" y="2423954"/>
                </a:cubicBezTo>
                <a:cubicBezTo>
                  <a:pt x="4044210" y="2423319"/>
                  <a:pt x="4045881" y="2423001"/>
                  <a:pt x="4047885" y="2422366"/>
                </a:cubicBezTo>
                <a:cubicBezTo>
                  <a:pt x="4049889" y="2421731"/>
                  <a:pt x="4051560" y="2421096"/>
                  <a:pt x="4053564" y="2420461"/>
                </a:cubicBezTo>
                <a:lnTo>
                  <a:pt x="4059577" y="2419509"/>
                </a:lnTo>
                <a:lnTo>
                  <a:pt x="4065256" y="2418557"/>
                </a:lnTo>
                <a:cubicBezTo>
                  <a:pt x="4067261" y="2418239"/>
                  <a:pt x="4069265" y="2418239"/>
                  <a:pt x="4071270" y="2417922"/>
                </a:cubicBezTo>
                <a:cubicBezTo>
                  <a:pt x="4073274" y="2417604"/>
                  <a:pt x="4074944" y="2417604"/>
                  <a:pt x="4076949" y="2417287"/>
                </a:cubicBezTo>
                <a:lnTo>
                  <a:pt x="4082962" y="2417287"/>
                </a:lnTo>
                <a:lnTo>
                  <a:pt x="4088975" y="2417287"/>
                </a:lnTo>
                <a:cubicBezTo>
                  <a:pt x="4090980" y="2417604"/>
                  <a:pt x="4092650" y="2417604"/>
                  <a:pt x="4094654" y="2417922"/>
                </a:cubicBezTo>
                <a:cubicBezTo>
                  <a:pt x="4096659" y="2418239"/>
                  <a:pt x="4098663" y="2418239"/>
                  <a:pt x="4100668" y="2418557"/>
                </a:cubicBezTo>
                <a:lnTo>
                  <a:pt x="4106347" y="2419509"/>
                </a:lnTo>
                <a:lnTo>
                  <a:pt x="4112360" y="2420461"/>
                </a:lnTo>
                <a:cubicBezTo>
                  <a:pt x="4114364" y="2421096"/>
                  <a:pt x="4116035" y="2421731"/>
                  <a:pt x="4118039" y="2422366"/>
                </a:cubicBezTo>
                <a:cubicBezTo>
                  <a:pt x="4120043" y="2423001"/>
                  <a:pt x="4121714" y="2423319"/>
                  <a:pt x="4123718" y="2423954"/>
                </a:cubicBezTo>
                <a:cubicBezTo>
                  <a:pt x="4125723" y="2424589"/>
                  <a:pt x="4127393" y="2425541"/>
                  <a:pt x="4129397" y="2426176"/>
                </a:cubicBezTo>
                <a:cubicBezTo>
                  <a:pt x="4131068" y="2426811"/>
                  <a:pt x="4133072" y="2427763"/>
                  <a:pt x="4134742" y="2428398"/>
                </a:cubicBezTo>
                <a:cubicBezTo>
                  <a:pt x="4136747" y="2429351"/>
                  <a:pt x="4138417" y="2430303"/>
                  <a:pt x="4140421" y="2431256"/>
                </a:cubicBezTo>
                <a:cubicBezTo>
                  <a:pt x="4142092" y="2432208"/>
                  <a:pt x="4144096" y="2433478"/>
                  <a:pt x="4145767" y="2434430"/>
                </a:cubicBezTo>
                <a:lnTo>
                  <a:pt x="4150778" y="2437288"/>
                </a:lnTo>
                <a:lnTo>
                  <a:pt x="4155789" y="2441098"/>
                </a:lnTo>
                <a:lnTo>
                  <a:pt x="4160800" y="2444907"/>
                </a:lnTo>
                <a:cubicBezTo>
                  <a:pt x="4162470" y="2446177"/>
                  <a:pt x="4163806" y="2447765"/>
                  <a:pt x="4165476" y="2449035"/>
                </a:cubicBezTo>
                <a:cubicBezTo>
                  <a:pt x="4167147" y="2450304"/>
                  <a:pt x="4168483" y="2451892"/>
                  <a:pt x="4170153" y="2453162"/>
                </a:cubicBezTo>
                <a:lnTo>
                  <a:pt x="4969908" y="3252257"/>
                </a:lnTo>
                <a:lnTo>
                  <a:pt x="6561736" y="4841875"/>
                </a:lnTo>
                <a:lnTo>
                  <a:pt x="6561736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35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  <a:noAutofit/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72CA5DE5-A6BA-4645-82E4-DB5C7A66C780}"/>
              </a:ext>
            </a:extLst>
          </p:cNvPr>
          <p:cNvSpPr>
            <a:spLocks/>
          </p:cNvSpPr>
          <p:nvPr userDrawn="1"/>
        </p:nvSpPr>
        <p:spPr bwMode="auto">
          <a:xfrm flipH="1">
            <a:off x="5889793" y="0"/>
            <a:ext cx="4396764" cy="4142740"/>
          </a:xfrm>
          <a:custGeom>
            <a:avLst/>
            <a:gdLst>
              <a:gd name="T0" fmla="*/ 9290 w 9400"/>
              <a:gd name="T1" fmla="*/ 9207 h 9322"/>
              <a:gd name="T2" fmla="*/ 9276 w 9400"/>
              <a:gd name="T3" fmla="*/ 9221 h 9322"/>
              <a:gd name="T4" fmla="*/ 9246 w 9400"/>
              <a:gd name="T5" fmla="*/ 9247 h 9322"/>
              <a:gd name="T6" fmla="*/ 9215 w 9400"/>
              <a:gd name="T7" fmla="*/ 9269 h 9322"/>
              <a:gd name="T8" fmla="*/ 9183 w 9400"/>
              <a:gd name="T9" fmla="*/ 9287 h 9322"/>
              <a:gd name="T10" fmla="*/ 9149 w 9400"/>
              <a:gd name="T11" fmla="*/ 9301 h 9322"/>
              <a:gd name="T12" fmla="*/ 9114 w 9400"/>
              <a:gd name="T13" fmla="*/ 9312 h 9322"/>
              <a:gd name="T14" fmla="*/ 9079 w 9400"/>
              <a:gd name="T15" fmla="*/ 9319 h 9322"/>
              <a:gd name="T16" fmla="*/ 9043 w 9400"/>
              <a:gd name="T17" fmla="*/ 9322 h 9322"/>
              <a:gd name="T18" fmla="*/ 9007 w 9400"/>
              <a:gd name="T19" fmla="*/ 9322 h 9322"/>
              <a:gd name="T20" fmla="*/ 8971 w 9400"/>
              <a:gd name="T21" fmla="*/ 9319 h 9322"/>
              <a:gd name="T22" fmla="*/ 8937 w 9400"/>
              <a:gd name="T23" fmla="*/ 9312 h 9322"/>
              <a:gd name="T24" fmla="*/ 8902 w 9400"/>
              <a:gd name="T25" fmla="*/ 9301 h 9322"/>
              <a:gd name="T26" fmla="*/ 8868 w 9400"/>
              <a:gd name="T27" fmla="*/ 9287 h 9322"/>
              <a:gd name="T28" fmla="*/ 8835 w 9400"/>
              <a:gd name="T29" fmla="*/ 9269 h 9322"/>
              <a:gd name="T30" fmla="*/ 8804 w 9400"/>
              <a:gd name="T31" fmla="*/ 9247 h 9322"/>
              <a:gd name="T32" fmla="*/ 8775 w 9400"/>
              <a:gd name="T33" fmla="*/ 9221 h 9322"/>
              <a:gd name="T34" fmla="*/ 0 w 9400"/>
              <a:gd name="T35" fmla="*/ 0 h 9322"/>
              <a:gd name="T36" fmla="*/ 9290 w 9400"/>
              <a:gd name="T37" fmla="*/ 8651 h 9322"/>
              <a:gd name="T38" fmla="*/ 9303 w 9400"/>
              <a:gd name="T39" fmla="*/ 8666 h 9322"/>
              <a:gd name="T40" fmla="*/ 9327 w 9400"/>
              <a:gd name="T41" fmla="*/ 8696 h 9322"/>
              <a:gd name="T42" fmla="*/ 9348 w 9400"/>
              <a:gd name="T43" fmla="*/ 8730 h 9322"/>
              <a:gd name="T44" fmla="*/ 9365 w 9400"/>
              <a:gd name="T45" fmla="*/ 8764 h 9322"/>
              <a:gd name="T46" fmla="*/ 9378 w 9400"/>
              <a:gd name="T47" fmla="*/ 8800 h 9322"/>
              <a:gd name="T48" fmla="*/ 9389 w 9400"/>
              <a:gd name="T49" fmla="*/ 8835 h 9322"/>
              <a:gd name="T50" fmla="*/ 9396 w 9400"/>
              <a:gd name="T51" fmla="*/ 8873 h 9322"/>
              <a:gd name="T52" fmla="*/ 9399 w 9400"/>
              <a:gd name="T53" fmla="*/ 8911 h 9322"/>
              <a:gd name="T54" fmla="*/ 9399 w 9400"/>
              <a:gd name="T55" fmla="*/ 8949 h 9322"/>
              <a:gd name="T56" fmla="*/ 9396 w 9400"/>
              <a:gd name="T57" fmla="*/ 8986 h 9322"/>
              <a:gd name="T58" fmla="*/ 9389 w 9400"/>
              <a:gd name="T59" fmla="*/ 9023 h 9322"/>
              <a:gd name="T60" fmla="*/ 9378 w 9400"/>
              <a:gd name="T61" fmla="*/ 9060 h 9322"/>
              <a:gd name="T62" fmla="*/ 9365 w 9400"/>
              <a:gd name="T63" fmla="*/ 9095 h 9322"/>
              <a:gd name="T64" fmla="*/ 9348 w 9400"/>
              <a:gd name="T65" fmla="*/ 9130 h 9322"/>
              <a:gd name="T66" fmla="*/ 9327 w 9400"/>
              <a:gd name="T67" fmla="*/ 9162 h 9322"/>
              <a:gd name="T68" fmla="*/ 9303 w 9400"/>
              <a:gd name="T69" fmla="*/ 9193 h 9322"/>
              <a:gd name="T70" fmla="*/ 9290 w 9400"/>
              <a:gd name="T71" fmla="*/ 9207 h 9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400" h="9322">
                <a:moveTo>
                  <a:pt x="9290" y="9207"/>
                </a:moveTo>
                <a:lnTo>
                  <a:pt x="9290" y="9207"/>
                </a:lnTo>
                <a:lnTo>
                  <a:pt x="9290" y="9207"/>
                </a:lnTo>
                <a:lnTo>
                  <a:pt x="9276" y="9221"/>
                </a:lnTo>
                <a:lnTo>
                  <a:pt x="9261" y="9235"/>
                </a:lnTo>
                <a:lnTo>
                  <a:pt x="9246" y="9247"/>
                </a:lnTo>
                <a:lnTo>
                  <a:pt x="9231" y="9258"/>
                </a:lnTo>
                <a:lnTo>
                  <a:pt x="9215" y="9269"/>
                </a:lnTo>
                <a:lnTo>
                  <a:pt x="9199" y="9278"/>
                </a:lnTo>
                <a:lnTo>
                  <a:pt x="9183" y="9287"/>
                </a:lnTo>
                <a:lnTo>
                  <a:pt x="9166" y="9294"/>
                </a:lnTo>
                <a:lnTo>
                  <a:pt x="9149" y="9301"/>
                </a:lnTo>
                <a:lnTo>
                  <a:pt x="9131" y="9306"/>
                </a:lnTo>
                <a:lnTo>
                  <a:pt x="9114" y="9312"/>
                </a:lnTo>
                <a:lnTo>
                  <a:pt x="9096" y="9316"/>
                </a:lnTo>
                <a:lnTo>
                  <a:pt x="9079" y="9319"/>
                </a:lnTo>
                <a:lnTo>
                  <a:pt x="9061" y="9321"/>
                </a:lnTo>
                <a:lnTo>
                  <a:pt x="9043" y="9322"/>
                </a:lnTo>
                <a:lnTo>
                  <a:pt x="9025" y="9322"/>
                </a:lnTo>
                <a:lnTo>
                  <a:pt x="9007" y="9322"/>
                </a:lnTo>
                <a:lnTo>
                  <a:pt x="8989" y="9321"/>
                </a:lnTo>
                <a:lnTo>
                  <a:pt x="8971" y="9319"/>
                </a:lnTo>
                <a:lnTo>
                  <a:pt x="8954" y="9316"/>
                </a:lnTo>
                <a:lnTo>
                  <a:pt x="8937" y="9312"/>
                </a:lnTo>
                <a:lnTo>
                  <a:pt x="8919" y="9306"/>
                </a:lnTo>
                <a:lnTo>
                  <a:pt x="8902" y="9301"/>
                </a:lnTo>
                <a:lnTo>
                  <a:pt x="8884" y="9294"/>
                </a:lnTo>
                <a:lnTo>
                  <a:pt x="8868" y="9287"/>
                </a:lnTo>
                <a:lnTo>
                  <a:pt x="8851" y="9278"/>
                </a:lnTo>
                <a:lnTo>
                  <a:pt x="8835" y="9269"/>
                </a:lnTo>
                <a:lnTo>
                  <a:pt x="8820" y="9258"/>
                </a:lnTo>
                <a:lnTo>
                  <a:pt x="8804" y="9247"/>
                </a:lnTo>
                <a:lnTo>
                  <a:pt x="8789" y="9235"/>
                </a:lnTo>
                <a:lnTo>
                  <a:pt x="8775" y="9221"/>
                </a:lnTo>
                <a:lnTo>
                  <a:pt x="8760" y="9207"/>
                </a:lnTo>
                <a:lnTo>
                  <a:pt x="0" y="0"/>
                </a:lnTo>
                <a:lnTo>
                  <a:pt x="1059" y="0"/>
                </a:lnTo>
                <a:lnTo>
                  <a:pt x="9290" y="8651"/>
                </a:lnTo>
                <a:lnTo>
                  <a:pt x="9290" y="8651"/>
                </a:lnTo>
                <a:lnTo>
                  <a:pt x="9303" y="8666"/>
                </a:lnTo>
                <a:lnTo>
                  <a:pt x="9316" y="8681"/>
                </a:lnTo>
                <a:lnTo>
                  <a:pt x="9327" y="8696"/>
                </a:lnTo>
                <a:lnTo>
                  <a:pt x="9337" y="8713"/>
                </a:lnTo>
                <a:lnTo>
                  <a:pt x="9348" y="8730"/>
                </a:lnTo>
                <a:lnTo>
                  <a:pt x="9357" y="8747"/>
                </a:lnTo>
                <a:lnTo>
                  <a:pt x="9365" y="8764"/>
                </a:lnTo>
                <a:lnTo>
                  <a:pt x="9372" y="8782"/>
                </a:lnTo>
                <a:lnTo>
                  <a:pt x="9378" y="8800"/>
                </a:lnTo>
                <a:lnTo>
                  <a:pt x="9384" y="8817"/>
                </a:lnTo>
                <a:lnTo>
                  <a:pt x="9389" y="8835"/>
                </a:lnTo>
                <a:lnTo>
                  <a:pt x="9393" y="8855"/>
                </a:lnTo>
                <a:lnTo>
                  <a:pt x="9396" y="8873"/>
                </a:lnTo>
                <a:lnTo>
                  <a:pt x="9398" y="8891"/>
                </a:lnTo>
                <a:lnTo>
                  <a:pt x="9399" y="8911"/>
                </a:lnTo>
                <a:lnTo>
                  <a:pt x="9400" y="8929"/>
                </a:lnTo>
                <a:lnTo>
                  <a:pt x="9399" y="8949"/>
                </a:lnTo>
                <a:lnTo>
                  <a:pt x="9398" y="8967"/>
                </a:lnTo>
                <a:lnTo>
                  <a:pt x="9396" y="8986"/>
                </a:lnTo>
                <a:lnTo>
                  <a:pt x="9393" y="9005"/>
                </a:lnTo>
                <a:lnTo>
                  <a:pt x="9389" y="9023"/>
                </a:lnTo>
                <a:lnTo>
                  <a:pt x="9384" y="9041"/>
                </a:lnTo>
                <a:lnTo>
                  <a:pt x="9378" y="9060"/>
                </a:lnTo>
                <a:lnTo>
                  <a:pt x="9372" y="9078"/>
                </a:lnTo>
                <a:lnTo>
                  <a:pt x="9365" y="9095"/>
                </a:lnTo>
                <a:lnTo>
                  <a:pt x="9357" y="9112"/>
                </a:lnTo>
                <a:lnTo>
                  <a:pt x="9348" y="9130"/>
                </a:lnTo>
                <a:lnTo>
                  <a:pt x="9337" y="9146"/>
                </a:lnTo>
                <a:lnTo>
                  <a:pt x="9327" y="9162"/>
                </a:lnTo>
                <a:lnTo>
                  <a:pt x="9316" y="9178"/>
                </a:lnTo>
                <a:lnTo>
                  <a:pt x="9303" y="9193"/>
                </a:lnTo>
                <a:lnTo>
                  <a:pt x="9290" y="9207"/>
                </a:lnTo>
                <a:lnTo>
                  <a:pt x="9290" y="920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60783D60-3387-4877-A7CC-9B93E6BC8E42}"/>
              </a:ext>
            </a:extLst>
          </p:cNvPr>
          <p:cNvSpPr>
            <a:spLocks/>
          </p:cNvSpPr>
          <p:nvPr userDrawn="1"/>
        </p:nvSpPr>
        <p:spPr bwMode="auto">
          <a:xfrm flipH="1">
            <a:off x="2364899" y="8021004"/>
            <a:ext cx="1844770" cy="1580198"/>
          </a:xfrm>
          <a:custGeom>
            <a:avLst/>
            <a:gdLst>
              <a:gd name="T0" fmla="*/ 107 w 3945"/>
              <a:gd name="T1" fmla="*/ 113 h 3556"/>
              <a:gd name="T2" fmla="*/ 135 w 3945"/>
              <a:gd name="T3" fmla="*/ 86 h 3556"/>
              <a:gd name="T4" fmla="*/ 165 w 3945"/>
              <a:gd name="T5" fmla="*/ 63 h 3556"/>
              <a:gd name="T6" fmla="*/ 197 w 3945"/>
              <a:gd name="T7" fmla="*/ 44 h 3556"/>
              <a:gd name="T8" fmla="*/ 229 w 3945"/>
              <a:gd name="T9" fmla="*/ 28 h 3556"/>
              <a:gd name="T10" fmla="*/ 263 w 3945"/>
              <a:gd name="T11" fmla="*/ 15 h 3556"/>
              <a:gd name="T12" fmla="*/ 298 w 3945"/>
              <a:gd name="T13" fmla="*/ 6 h 3556"/>
              <a:gd name="T14" fmla="*/ 333 w 3945"/>
              <a:gd name="T15" fmla="*/ 1 h 3556"/>
              <a:gd name="T16" fmla="*/ 368 w 3945"/>
              <a:gd name="T17" fmla="*/ 0 h 3556"/>
              <a:gd name="T18" fmla="*/ 404 w 3945"/>
              <a:gd name="T19" fmla="*/ 1 h 3556"/>
              <a:gd name="T20" fmla="*/ 438 w 3945"/>
              <a:gd name="T21" fmla="*/ 6 h 3556"/>
              <a:gd name="T22" fmla="*/ 473 w 3945"/>
              <a:gd name="T23" fmla="*/ 15 h 3556"/>
              <a:gd name="T24" fmla="*/ 507 w 3945"/>
              <a:gd name="T25" fmla="*/ 28 h 3556"/>
              <a:gd name="T26" fmla="*/ 540 w 3945"/>
              <a:gd name="T27" fmla="*/ 44 h 3556"/>
              <a:gd name="T28" fmla="*/ 571 w 3945"/>
              <a:gd name="T29" fmla="*/ 63 h 3556"/>
              <a:gd name="T30" fmla="*/ 601 w 3945"/>
              <a:gd name="T31" fmla="*/ 86 h 3556"/>
              <a:gd name="T32" fmla="*/ 629 w 3945"/>
              <a:gd name="T33" fmla="*/ 113 h 3556"/>
              <a:gd name="T34" fmla="*/ 2863 w 3945"/>
              <a:gd name="T35" fmla="*/ 3556 h 3556"/>
              <a:gd name="T36" fmla="*/ 107 w 3945"/>
              <a:gd name="T37" fmla="*/ 661 h 3556"/>
              <a:gd name="T38" fmla="*/ 82 w 3945"/>
              <a:gd name="T39" fmla="*/ 632 h 3556"/>
              <a:gd name="T40" fmla="*/ 60 w 3945"/>
              <a:gd name="T41" fmla="*/ 600 h 3556"/>
              <a:gd name="T42" fmla="*/ 42 w 3945"/>
              <a:gd name="T43" fmla="*/ 567 h 3556"/>
              <a:gd name="T44" fmla="*/ 26 w 3945"/>
              <a:gd name="T45" fmla="*/ 533 h 3556"/>
              <a:gd name="T46" fmla="*/ 14 w 3945"/>
              <a:gd name="T47" fmla="*/ 497 h 3556"/>
              <a:gd name="T48" fmla="*/ 6 w 3945"/>
              <a:gd name="T49" fmla="*/ 461 h 3556"/>
              <a:gd name="T50" fmla="*/ 1 w 3945"/>
              <a:gd name="T51" fmla="*/ 424 h 3556"/>
              <a:gd name="T52" fmla="*/ 0 w 3945"/>
              <a:gd name="T53" fmla="*/ 386 h 3556"/>
              <a:gd name="T54" fmla="*/ 1 w 3945"/>
              <a:gd name="T55" fmla="*/ 350 h 3556"/>
              <a:gd name="T56" fmla="*/ 6 w 3945"/>
              <a:gd name="T57" fmla="*/ 313 h 3556"/>
              <a:gd name="T58" fmla="*/ 14 w 3945"/>
              <a:gd name="T59" fmla="*/ 277 h 3556"/>
              <a:gd name="T60" fmla="*/ 26 w 3945"/>
              <a:gd name="T61" fmla="*/ 241 h 3556"/>
              <a:gd name="T62" fmla="*/ 42 w 3945"/>
              <a:gd name="T63" fmla="*/ 206 h 3556"/>
              <a:gd name="T64" fmla="*/ 60 w 3945"/>
              <a:gd name="T65" fmla="*/ 173 h 3556"/>
              <a:gd name="T66" fmla="*/ 82 w 3945"/>
              <a:gd name="T67" fmla="*/ 142 h 3556"/>
              <a:gd name="T68" fmla="*/ 107 w 3945"/>
              <a:gd name="T69" fmla="*/ 113 h 3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945" h="3556">
                <a:moveTo>
                  <a:pt x="107" y="113"/>
                </a:moveTo>
                <a:lnTo>
                  <a:pt x="107" y="113"/>
                </a:lnTo>
                <a:lnTo>
                  <a:pt x="121" y="99"/>
                </a:lnTo>
                <a:lnTo>
                  <a:pt x="135" y="86"/>
                </a:lnTo>
                <a:lnTo>
                  <a:pt x="150" y="74"/>
                </a:lnTo>
                <a:lnTo>
                  <a:pt x="165" y="63"/>
                </a:lnTo>
                <a:lnTo>
                  <a:pt x="181" y="52"/>
                </a:lnTo>
                <a:lnTo>
                  <a:pt x="197" y="44"/>
                </a:lnTo>
                <a:lnTo>
                  <a:pt x="213" y="35"/>
                </a:lnTo>
                <a:lnTo>
                  <a:pt x="229" y="28"/>
                </a:lnTo>
                <a:lnTo>
                  <a:pt x="246" y="21"/>
                </a:lnTo>
                <a:lnTo>
                  <a:pt x="263" y="15"/>
                </a:lnTo>
                <a:lnTo>
                  <a:pt x="281" y="10"/>
                </a:lnTo>
                <a:lnTo>
                  <a:pt x="298" y="6"/>
                </a:lnTo>
                <a:lnTo>
                  <a:pt x="315" y="3"/>
                </a:lnTo>
                <a:lnTo>
                  <a:pt x="333" y="1"/>
                </a:lnTo>
                <a:lnTo>
                  <a:pt x="350" y="0"/>
                </a:lnTo>
                <a:lnTo>
                  <a:pt x="368" y="0"/>
                </a:lnTo>
                <a:lnTo>
                  <a:pt x="386" y="0"/>
                </a:lnTo>
                <a:lnTo>
                  <a:pt x="404" y="1"/>
                </a:lnTo>
                <a:lnTo>
                  <a:pt x="421" y="3"/>
                </a:lnTo>
                <a:lnTo>
                  <a:pt x="438" y="6"/>
                </a:lnTo>
                <a:lnTo>
                  <a:pt x="456" y="10"/>
                </a:lnTo>
                <a:lnTo>
                  <a:pt x="473" y="15"/>
                </a:lnTo>
                <a:lnTo>
                  <a:pt x="490" y="21"/>
                </a:lnTo>
                <a:lnTo>
                  <a:pt x="507" y="28"/>
                </a:lnTo>
                <a:lnTo>
                  <a:pt x="524" y="35"/>
                </a:lnTo>
                <a:lnTo>
                  <a:pt x="540" y="44"/>
                </a:lnTo>
                <a:lnTo>
                  <a:pt x="555" y="52"/>
                </a:lnTo>
                <a:lnTo>
                  <a:pt x="571" y="63"/>
                </a:lnTo>
                <a:lnTo>
                  <a:pt x="586" y="74"/>
                </a:lnTo>
                <a:lnTo>
                  <a:pt x="601" y="86"/>
                </a:lnTo>
                <a:lnTo>
                  <a:pt x="615" y="99"/>
                </a:lnTo>
                <a:lnTo>
                  <a:pt x="629" y="113"/>
                </a:lnTo>
                <a:lnTo>
                  <a:pt x="3945" y="3556"/>
                </a:lnTo>
                <a:lnTo>
                  <a:pt x="2863" y="3556"/>
                </a:lnTo>
                <a:lnTo>
                  <a:pt x="107" y="661"/>
                </a:lnTo>
                <a:lnTo>
                  <a:pt x="107" y="661"/>
                </a:lnTo>
                <a:lnTo>
                  <a:pt x="94" y="646"/>
                </a:lnTo>
                <a:lnTo>
                  <a:pt x="82" y="632"/>
                </a:lnTo>
                <a:lnTo>
                  <a:pt x="70" y="616"/>
                </a:lnTo>
                <a:lnTo>
                  <a:pt x="60" y="600"/>
                </a:lnTo>
                <a:lnTo>
                  <a:pt x="50" y="584"/>
                </a:lnTo>
                <a:lnTo>
                  <a:pt x="42" y="567"/>
                </a:lnTo>
                <a:lnTo>
                  <a:pt x="34" y="550"/>
                </a:lnTo>
                <a:lnTo>
                  <a:pt x="26" y="533"/>
                </a:lnTo>
                <a:lnTo>
                  <a:pt x="20" y="515"/>
                </a:lnTo>
                <a:lnTo>
                  <a:pt x="14" y="497"/>
                </a:lnTo>
                <a:lnTo>
                  <a:pt x="10" y="479"/>
                </a:lnTo>
                <a:lnTo>
                  <a:pt x="6" y="461"/>
                </a:lnTo>
                <a:lnTo>
                  <a:pt x="3" y="442"/>
                </a:lnTo>
                <a:lnTo>
                  <a:pt x="1" y="424"/>
                </a:lnTo>
                <a:lnTo>
                  <a:pt x="0" y="406"/>
                </a:lnTo>
                <a:lnTo>
                  <a:pt x="0" y="386"/>
                </a:lnTo>
                <a:lnTo>
                  <a:pt x="0" y="368"/>
                </a:lnTo>
                <a:lnTo>
                  <a:pt x="1" y="350"/>
                </a:lnTo>
                <a:lnTo>
                  <a:pt x="3" y="331"/>
                </a:lnTo>
                <a:lnTo>
                  <a:pt x="6" y="313"/>
                </a:lnTo>
                <a:lnTo>
                  <a:pt x="10" y="295"/>
                </a:lnTo>
                <a:lnTo>
                  <a:pt x="14" y="277"/>
                </a:lnTo>
                <a:lnTo>
                  <a:pt x="20" y="258"/>
                </a:lnTo>
                <a:lnTo>
                  <a:pt x="26" y="241"/>
                </a:lnTo>
                <a:lnTo>
                  <a:pt x="34" y="224"/>
                </a:lnTo>
                <a:lnTo>
                  <a:pt x="42" y="206"/>
                </a:lnTo>
                <a:lnTo>
                  <a:pt x="50" y="190"/>
                </a:lnTo>
                <a:lnTo>
                  <a:pt x="60" y="173"/>
                </a:lnTo>
                <a:lnTo>
                  <a:pt x="70" y="158"/>
                </a:lnTo>
                <a:lnTo>
                  <a:pt x="82" y="142"/>
                </a:lnTo>
                <a:lnTo>
                  <a:pt x="94" y="127"/>
                </a:lnTo>
                <a:lnTo>
                  <a:pt x="107" y="113"/>
                </a:lnTo>
                <a:lnTo>
                  <a:pt x="107" y="1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AB80B2B9-9F81-4D56-9298-6261630E1C6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" y="3760471"/>
            <a:ext cx="2312510" cy="2558098"/>
          </a:xfrm>
          <a:custGeom>
            <a:avLst/>
            <a:gdLst>
              <a:gd name="T0" fmla="*/ 110 w 4944"/>
              <a:gd name="T1" fmla="*/ 115 h 5753"/>
              <a:gd name="T2" fmla="*/ 137 w 4944"/>
              <a:gd name="T3" fmla="*/ 88 h 5753"/>
              <a:gd name="T4" fmla="*/ 168 w 4944"/>
              <a:gd name="T5" fmla="*/ 64 h 5753"/>
              <a:gd name="T6" fmla="*/ 200 w 4944"/>
              <a:gd name="T7" fmla="*/ 45 h 5753"/>
              <a:gd name="T8" fmla="*/ 233 w 4944"/>
              <a:gd name="T9" fmla="*/ 29 h 5753"/>
              <a:gd name="T10" fmla="*/ 268 w 4944"/>
              <a:gd name="T11" fmla="*/ 16 h 5753"/>
              <a:gd name="T12" fmla="*/ 302 w 4944"/>
              <a:gd name="T13" fmla="*/ 7 h 5753"/>
              <a:gd name="T14" fmla="*/ 338 w 4944"/>
              <a:gd name="T15" fmla="*/ 2 h 5753"/>
              <a:gd name="T16" fmla="*/ 374 w 4944"/>
              <a:gd name="T17" fmla="*/ 0 h 5753"/>
              <a:gd name="T18" fmla="*/ 410 w 4944"/>
              <a:gd name="T19" fmla="*/ 2 h 5753"/>
              <a:gd name="T20" fmla="*/ 445 w 4944"/>
              <a:gd name="T21" fmla="*/ 7 h 5753"/>
              <a:gd name="T22" fmla="*/ 481 w 4944"/>
              <a:gd name="T23" fmla="*/ 16 h 5753"/>
              <a:gd name="T24" fmla="*/ 515 w 4944"/>
              <a:gd name="T25" fmla="*/ 29 h 5753"/>
              <a:gd name="T26" fmla="*/ 548 w 4944"/>
              <a:gd name="T27" fmla="*/ 45 h 5753"/>
              <a:gd name="T28" fmla="*/ 580 w 4944"/>
              <a:gd name="T29" fmla="*/ 64 h 5753"/>
              <a:gd name="T30" fmla="*/ 610 w 4944"/>
              <a:gd name="T31" fmla="*/ 88 h 5753"/>
              <a:gd name="T32" fmla="*/ 639 w 4944"/>
              <a:gd name="T33" fmla="*/ 115 h 5753"/>
              <a:gd name="T34" fmla="*/ 4944 w 4944"/>
              <a:gd name="T35" fmla="*/ 5753 h 5753"/>
              <a:gd name="T36" fmla="*/ 110 w 4944"/>
              <a:gd name="T37" fmla="*/ 672 h 5753"/>
              <a:gd name="T38" fmla="*/ 84 w 4944"/>
              <a:gd name="T39" fmla="*/ 642 h 5753"/>
              <a:gd name="T40" fmla="*/ 62 w 4944"/>
              <a:gd name="T41" fmla="*/ 609 h 5753"/>
              <a:gd name="T42" fmla="*/ 42 w 4944"/>
              <a:gd name="T43" fmla="*/ 576 h 5753"/>
              <a:gd name="T44" fmla="*/ 27 w 4944"/>
              <a:gd name="T45" fmla="*/ 541 h 5753"/>
              <a:gd name="T46" fmla="*/ 15 w 4944"/>
              <a:gd name="T47" fmla="*/ 505 h 5753"/>
              <a:gd name="T48" fmla="*/ 6 w 4944"/>
              <a:gd name="T49" fmla="*/ 468 h 5753"/>
              <a:gd name="T50" fmla="*/ 1 w 4944"/>
              <a:gd name="T51" fmla="*/ 430 h 5753"/>
              <a:gd name="T52" fmla="*/ 0 w 4944"/>
              <a:gd name="T53" fmla="*/ 393 h 5753"/>
              <a:gd name="T54" fmla="*/ 1 w 4944"/>
              <a:gd name="T55" fmla="*/ 355 h 5753"/>
              <a:gd name="T56" fmla="*/ 6 w 4944"/>
              <a:gd name="T57" fmla="*/ 318 h 5753"/>
              <a:gd name="T58" fmla="*/ 15 w 4944"/>
              <a:gd name="T59" fmla="*/ 281 h 5753"/>
              <a:gd name="T60" fmla="*/ 27 w 4944"/>
              <a:gd name="T61" fmla="*/ 245 h 5753"/>
              <a:gd name="T62" fmla="*/ 42 w 4944"/>
              <a:gd name="T63" fmla="*/ 211 h 5753"/>
              <a:gd name="T64" fmla="*/ 62 w 4944"/>
              <a:gd name="T65" fmla="*/ 176 h 5753"/>
              <a:gd name="T66" fmla="*/ 84 w 4944"/>
              <a:gd name="T67" fmla="*/ 145 h 5753"/>
              <a:gd name="T68" fmla="*/ 110 w 4944"/>
              <a:gd name="T69" fmla="*/ 115 h 5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944" h="5753">
                <a:moveTo>
                  <a:pt x="110" y="115"/>
                </a:moveTo>
                <a:lnTo>
                  <a:pt x="110" y="115"/>
                </a:lnTo>
                <a:lnTo>
                  <a:pt x="123" y="101"/>
                </a:lnTo>
                <a:lnTo>
                  <a:pt x="137" y="88"/>
                </a:lnTo>
                <a:lnTo>
                  <a:pt x="153" y="76"/>
                </a:lnTo>
                <a:lnTo>
                  <a:pt x="168" y="64"/>
                </a:lnTo>
                <a:lnTo>
                  <a:pt x="184" y="54"/>
                </a:lnTo>
                <a:lnTo>
                  <a:pt x="200" y="45"/>
                </a:lnTo>
                <a:lnTo>
                  <a:pt x="216" y="36"/>
                </a:lnTo>
                <a:lnTo>
                  <a:pt x="233" y="29"/>
                </a:lnTo>
                <a:lnTo>
                  <a:pt x="250" y="22"/>
                </a:lnTo>
                <a:lnTo>
                  <a:pt x="268" y="16"/>
                </a:lnTo>
                <a:lnTo>
                  <a:pt x="285" y="11"/>
                </a:lnTo>
                <a:lnTo>
                  <a:pt x="302" y="7"/>
                </a:lnTo>
                <a:lnTo>
                  <a:pt x="320" y="4"/>
                </a:lnTo>
                <a:lnTo>
                  <a:pt x="338" y="2"/>
                </a:lnTo>
                <a:lnTo>
                  <a:pt x="356" y="1"/>
                </a:lnTo>
                <a:lnTo>
                  <a:pt x="374" y="0"/>
                </a:lnTo>
                <a:lnTo>
                  <a:pt x="392" y="1"/>
                </a:lnTo>
                <a:lnTo>
                  <a:pt x="410" y="2"/>
                </a:lnTo>
                <a:lnTo>
                  <a:pt x="427" y="4"/>
                </a:lnTo>
                <a:lnTo>
                  <a:pt x="445" y="7"/>
                </a:lnTo>
                <a:lnTo>
                  <a:pt x="463" y="11"/>
                </a:lnTo>
                <a:lnTo>
                  <a:pt x="481" y="16"/>
                </a:lnTo>
                <a:lnTo>
                  <a:pt x="498" y="22"/>
                </a:lnTo>
                <a:lnTo>
                  <a:pt x="515" y="29"/>
                </a:lnTo>
                <a:lnTo>
                  <a:pt x="531" y="36"/>
                </a:lnTo>
                <a:lnTo>
                  <a:pt x="548" y="45"/>
                </a:lnTo>
                <a:lnTo>
                  <a:pt x="564" y="54"/>
                </a:lnTo>
                <a:lnTo>
                  <a:pt x="580" y="64"/>
                </a:lnTo>
                <a:lnTo>
                  <a:pt x="596" y="76"/>
                </a:lnTo>
                <a:lnTo>
                  <a:pt x="610" y="88"/>
                </a:lnTo>
                <a:lnTo>
                  <a:pt x="624" y="101"/>
                </a:lnTo>
                <a:lnTo>
                  <a:pt x="639" y="115"/>
                </a:lnTo>
                <a:lnTo>
                  <a:pt x="4944" y="4640"/>
                </a:lnTo>
                <a:lnTo>
                  <a:pt x="4944" y="5753"/>
                </a:lnTo>
                <a:lnTo>
                  <a:pt x="110" y="672"/>
                </a:lnTo>
                <a:lnTo>
                  <a:pt x="110" y="672"/>
                </a:lnTo>
                <a:lnTo>
                  <a:pt x="96" y="657"/>
                </a:lnTo>
                <a:lnTo>
                  <a:pt x="84" y="642"/>
                </a:lnTo>
                <a:lnTo>
                  <a:pt x="72" y="625"/>
                </a:lnTo>
                <a:lnTo>
                  <a:pt x="62" y="609"/>
                </a:lnTo>
                <a:lnTo>
                  <a:pt x="51" y="593"/>
                </a:lnTo>
                <a:lnTo>
                  <a:pt x="42" y="576"/>
                </a:lnTo>
                <a:lnTo>
                  <a:pt x="35" y="559"/>
                </a:lnTo>
                <a:lnTo>
                  <a:pt x="27" y="541"/>
                </a:lnTo>
                <a:lnTo>
                  <a:pt x="21" y="523"/>
                </a:lnTo>
                <a:lnTo>
                  <a:pt x="15" y="505"/>
                </a:lnTo>
                <a:lnTo>
                  <a:pt x="10" y="486"/>
                </a:lnTo>
                <a:lnTo>
                  <a:pt x="6" y="468"/>
                </a:lnTo>
                <a:lnTo>
                  <a:pt x="3" y="450"/>
                </a:lnTo>
                <a:lnTo>
                  <a:pt x="1" y="430"/>
                </a:lnTo>
                <a:lnTo>
                  <a:pt x="0" y="412"/>
                </a:lnTo>
                <a:lnTo>
                  <a:pt x="0" y="393"/>
                </a:lnTo>
                <a:lnTo>
                  <a:pt x="0" y="374"/>
                </a:lnTo>
                <a:lnTo>
                  <a:pt x="1" y="355"/>
                </a:lnTo>
                <a:lnTo>
                  <a:pt x="3" y="337"/>
                </a:lnTo>
                <a:lnTo>
                  <a:pt x="6" y="318"/>
                </a:lnTo>
                <a:lnTo>
                  <a:pt x="10" y="299"/>
                </a:lnTo>
                <a:lnTo>
                  <a:pt x="15" y="281"/>
                </a:lnTo>
                <a:lnTo>
                  <a:pt x="21" y="263"/>
                </a:lnTo>
                <a:lnTo>
                  <a:pt x="27" y="245"/>
                </a:lnTo>
                <a:lnTo>
                  <a:pt x="35" y="228"/>
                </a:lnTo>
                <a:lnTo>
                  <a:pt x="42" y="211"/>
                </a:lnTo>
                <a:lnTo>
                  <a:pt x="51" y="193"/>
                </a:lnTo>
                <a:lnTo>
                  <a:pt x="62" y="176"/>
                </a:lnTo>
                <a:lnTo>
                  <a:pt x="72" y="160"/>
                </a:lnTo>
                <a:lnTo>
                  <a:pt x="84" y="145"/>
                </a:lnTo>
                <a:lnTo>
                  <a:pt x="96" y="130"/>
                </a:lnTo>
                <a:lnTo>
                  <a:pt x="110" y="115"/>
                </a:lnTo>
                <a:lnTo>
                  <a:pt x="110" y="11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BD721C-2764-482F-80B9-D4006AAB6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4134" y="511176"/>
            <a:ext cx="6151186" cy="1855788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86095-26DC-48B9-BA7B-02E8DFBACA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44134" y="2555875"/>
            <a:ext cx="6151186" cy="609187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FE15AE-9590-47E3-80CE-AC9507B5660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95462" y="8898891"/>
            <a:ext cx="1664208" cy="511175"/>
          </a:xfrm>
        </p:spPr>
        <p:txBody>
          <a:bodyPr/>
          <a:lstStyle>
            <a:lvl1pPr algn="r">
              <a:defRPr/>
            </a:lvl1pPr>
          </a:lstStyle>
          <a:p>
            <a:pPr algn="l"/>
            <a:fld id="{B9DF75D4-EEC6-4C21-AAB3-958BD1FC5B4A}" type="datetime1">
              <a:rPr lang="ru-RU" smtClean="0">
                <a:solidFill>
                  <a:srgbClr val="CBCBCA">
                    <a:lumMod val="75000"/>
                  </a:srgbClr>
                </a:solidFill>
              </a:rPr>
              <a:pPr algn="l"/>
              <a:t>08.09.2023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2FEFF5-D3AE-45CC-A046-CB5ADFA1DE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12538" y="8898891"/>
            <a:ext cx="8165707" cy="511175"/>
          </a:xfrm>
        </p:spPr>
        <p:txBody>
          <a:bodyPr/>
          <a:lstStyle/>
          <a:p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668057-2C90-46BA-A286-D9B49AF1C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231112" y="8898891"/>
            <a:ext cx="1664208" cy="511175"/>
          </a:xfrm>
        </p:spPr>
        <p:txBody>
          <a:bodyPr/>
          <a:lstStyle/>
          <a:p>
            <a:fld id="{1513E0AC-52E7-4010-9D37-41BE99808841}" type="slidenum">
              <a:rPr lang="en-US" smtClean="0">
                <a:solidFill>
                  <a:srgbClr val="CBCBCA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4377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C169352-7AF5-47A9-A98C-3074E5D170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76" b="3704"/>
          <a:stretch/>
        </p:blipFill>
        <p:spPr>
          <a:xfrm>
            <a:off x="0" y="2773364"/>
            <a:ext cx="8793112" cy="6827836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99D64DA-4DA2-4225-8B77-FAD5D365B009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579094" y="0"/>
            <a:ext cx="15489706" cy="9601200"/>
          </a:xfrm>
          <a:custGeom>
            <a:avLst/>
            <a:gdLst>
              <a:gd name="connsiteX0" fmla="*/ 5629596 w 11064076"/>
              <a:gd name="connsiteY0" fmla="*/ 0 h 6858001"/>
              <a:gd name="connsiteX1" fmla="*/ 0 w 11064076"/>
              <a:gd name="connsiteY1" fmla="*/ 0 h 6858001"/>
              <a:gd name="connsiteX2" fmla="*/ 0 w 11064076"/>
              <a:gd name="connsiteY2" fmla="*/ 6858000 h 6858001"/>
              <a:gd name="connsiteX3" fmla="*/ 10123449 w 11064076"/>
              <a:gd name="connsiteY3" fmla="*/ 6858000 h 6858001"/>
              <a:gd name="connsiteX4" fmla="*/ 10123450 w 11064076"/>
              <a:gd name="connsiteY4" fmla="*/ 6858001 h 6858001"/>
              <a:gd name="connsiteX5" fmla="*/ 10581615 w 11064076"/>
              <a:gd name="connsiteY5" fmla="*/ 6858001 h 6858001"/>
              <a:gd name="connsiteX6" fmla="*/ 10581614 w 11064076"/>
              <a:gd name="connsiteY6" fmla="*/ 6858000 h 6858001"/>
              <a:gd name="connsiteX7" fmla="*/ 11064076 w 11064076"/>
              <a:gd name="connsiteY7" fmla="*/ 6858000 h 6858001"/>
              <a:gd name="connsiteX8" fmla="*/ 9033747 w 11064076"/>
              <a:gd name="connsiteY8" fmla="*/ 4816793 h 6858001"/>
              <a:gd name="connsiteX9" fmla="*/ 9018378 w 11064076"/>
              <a:gd name="connsiteY9" fmla="*/ 4803458 h 6858001"/>
              <a:gd name="connsiteX10" fmla="*/ 9003009 w 11064076"/>
              <a:gd name="connsiteY10" fmla="*/ 4789488 h 6858001"/>
              <a:gd name="connsiteX11" fmla="*/ 8987975 w 11064076"/>
              <a:gd name="connsiteY11" fmla="*/ 4775518 h 6858001"/>
              <a:gd name="connsiteX12" fmla="*/ 8973274 w 11064076"/>
              <a:gd name="connsiteY12" fmla="*/ 4760913 h 6858001"/>
              <a:gd name="connsiteX13" fmla="*/ 8039129 w 11064076"/>
              <a:gd name="connsiteY13" fmla="*/ 3828098 h 6858001"/>
              <a:gd name="connsiteX14" fmla="*/ 8034451 w 11064076"/>
              <a:gd name="connsiteY14" fmla="*/ 3823335 h 6858001"/>
              <a:gd name="connsiteX15" fmla="*/ 8030443 w 11064076"/>
              <a:gd name="connsiteY15" fmla="*/ 3818573 h 6858001"/>
              <a:gd name="connsiteX16" fmla="*/ 8026767 w 11064076"/>
              <a:gd name="connsiteY16" fmla="*/ 3813493 h 6858001"/>
              <a:gd name="connsiteX17" fmla="*/ 8023426 w 11064076"/>
              <a:gd name="connsiteY17" fmla="*/ 3808413 h 6858001"/>
              <a:gd name="connsiteX18" fmla="*/ 8020086 w 11064076"/>
              <a:gd name="connsiteY18" fmla="*/ 3803333 h 6858001"/>
              <a:gd name="connsiteX19" fmla="*/ 8017079 w 11064076"/>
              <a:gd name="connsiteY19" fmla="*/ 3798253 h 6858001"/>
              <a:gd name="connsiteX20" fmla="*/ 8014406 w 11064076"/>
              <a:gd name="connsiteY20" fmla="*/ 3792855 h 6858001"/>
              <a:gd name="connsiteX21" fmla="*/ 8012067 w 11064076"/>
              <a:gd name="connsiteY21" fmla="*/ 3787458 h 6858001"/>
              <a:gd name="connsiteX22" fmla="*/ 8010062 w 11064076"/>
              <a:gd name="connsiteY22" fmla="*/ 3781425 h 6858001"/>
              <a:gd name="connsiteX23" fmla="*/ 8008392 w 11064076"/>
              <a:gd name="connsiteY23" fmla="*/ 3776028 h 6858001"/>
              <a:gd name="connsiteX24" fmla="*/ 8006387 w 11064076"/>
              <a:gd name="connsiteY24" fmla="*/ 3770313 h 6858001"/>
              <a:gd name="connsiteX25" fmla="*/ 8005051 w 11064076"/>
              <a:gd name="connsiteY25" fmla="*/ 3764280 h 6858001"/>
              <a:gd name="connsiteX26" fmla="*/ 8004049 w 11064076"/>
              <a:gd name="connsiteY26" fmla="*/ 3758565 h 6858001"/>
              <a:gd name="connsiteX27" fmla="*/ 8003380 w 11064076"/>
              <a:gd name="connsiteY27" fmla="*/ 3752850 h 6858001"/>
              <a:gd name="connsiteX28" fmla="*/ 8003046 w 11064076"/>
              <a:gd name="connsiteY28" fmla="*/ 3746818 h 6858001"/>
              <a:gd name="connsiteX29" fmla="*/ 8003046 w 11064076"/>
              <a:gd name="connsiteY29" fmla="*/ 3740785 h 6858001"/>
              <a:gd name="connsiteX30" fmla="*/ 8003046 w 11064076"/>
              <a:gd name="connsiteY30" fmla="*/ 3735070 h 6858001"/>
              <a:gd name="connsiteX31" fmla="*/ 8003380 w 11064076"/>
              <a:gd name="connsiteY31" fmla="*/ 3729038 h 6858001"/>
              <a:gd name="connsiteX32" fmla="*/ 8004049 w 11064076"/>
              <a:gd name="connsiteY32" fmla="*/ 3723323 h 6858001"/>
              <a:gd name="connsiteX33" fmla="*/ 8005051 w 11064076"/>
              <a:gd name="connsiteY33" fmla="*/ 3717608 h 6858001"/>
              <a:gd name="connsiteX34" fmla="*/ 8006387 w 11064076"/>
              <a:gd name="connsiteY34" fmla="*/ 3711575 h 6858001"/>
              <a:gd name="connsiteX35" fmla="*/ 8008392 w 11064076"/>
              <a:gd name="connsiteY35" fmla="*/ 3705860 h 6858001"/>
              <a:gd name="connsiteX36" fmla="*/ 8010062 w 11064076"/>
              <a:gd name="connsiteY36" fmla="*/ 3700145 h 6858001"/>
              <a:gd name="connsiteX37" fmla="*/ 8012067 w 11064076"/>
              <a:gd name="connsiteY37" fmla="*/ 3694748 h 6858001"/>
              <a:gd name="connsiteX38" fmla="*/ 8014406 w 11064076"/>
              <a:gd name="connsiteY38" fmla="*/ 3689033 h 6858001"/>
              <a:gd name="connsiteX39" fmla="*/ 8017079 w 11064076"/>
              <a:gd name="connsiteY39" fmla="*/ 3683635 h 6858001"/>
              <a:gd name="connsiteX40" fmla="*/ 8020086 w 11064076"/>
              <a:gd name="connsiteY40" fmla="*/ 3678238 h 6858001"/>
              <a:gd name="connsiteX41" fmla="*/ 8023426 w 11064076"/>
              <a:gd name="connsiteY41" fmla="*/ 3673158 h 6858001"/>
              <a:gd name="connsiteX42" fmla="*/ 8026767 w 11064076"/>
              <a:gd name="connsiteY42" fmla="*/ 3668078 h 6858001"/>
              <a:gd name="connsiteX43" fmla="*/ 8030443 w 11064076"/>
              <a:gd name="connsiteY43" fmla="*/ 3662998 h 6858001"/>
              <a:gd name="connsiteX44" fmla="*/ 8034451 w 11064076"/>
              <a:gd name="connsiteY44" fmla="*/ 3658235 h 6858001"/>
              <a:gd name="connsiteX45" fmla="*/ 8039129 w 11064076"/>
              <a:gd name="connsiteY45" fmla="*/ 3653790 h 6858001"/>
              <a:gd name="connsiteX46" fmla="*/ 8043807 w 11064076"/>
              <a:gd name="connsiteY46" fmla="*/ 3649345 h 6858001"/>
              <a:gd name="connsiteX47" fmla="*/ 8048149 w 11064076"/>
              <a:gd name="connsiteY47" fmla="*/ 3645218 h 6858001"/>
              <a:gd name="connsiteX48" fmla="*/ 8053495 w 11064076"/>
              <a:gd name="connsiteY48" fmla="*/ 3641725 h 6858001"/>
              <a:gd name="connsiteX49" fmla="*/ 8058507 w 11064076"/>
              <a:gd name="connsiteY49" fmla="*/ 3638233 h 6858001"/>
              <a:gd name="connsiteX50" fmla="*/ 8063852 w 11064076"/>
              <a:gd name="connsiteY50" fmla="*/ 3634740 h 6858001"/>
              <a:gd name="connsiteX51" fmla="*/ 8068864 w 11064076"/>
              <a:gd name="connsiteY51" fmla="*/ 3631883 h 6858001"/>
              <a:gd name="connsiteX52" fmla="*/ 8074209 w 11064076"/>
              <a:gd name="connsiteY52" fmla="*/ 3629343 h 6858001"/>
              <a:gd name="connsiteX53" fmla="*/ 8079889 w 11064076"/>
              <a:gd name="connsiteY53" fmla="*/ 3626803 h 6858001"/>
              <a:gd name="connsiteX54" fmla="*/ 8085569 w 11064076"/>
              <a:gd name="connsiteY54" fmla="*/ 3624898 h 6858001"/>
              <a:gd name="connsiteX55" fmla="*/ 8091248 w 11064076"/>
              <a:gd name="connsiteY55" fmla="*/ 3622675 h 6858001"/>
              <a:gd name="connsiteX56" fmla="*/ 8096928 w 11064076"/>
              <a:gd name="connsiteY56" fmla="*/ 3621405 h 6858001"/>
              <a:gd name="connsiteX57" fmla="*/ 8102608 w 11064076"/>
              <a:gd name="connsiteY57" fmla="*/ 3620135 h 6858001"/>
              <a:gd name="connsiteX58" fmla="*/ 8108622 w 11064076"/>
              <a:gd name="connsiteY58" fmla="*/ 3618865 h 6858001"/>
              <a:gd name="connsiteX59" fmla="*/ 8114301 w 11064076"/>
              <a:gd name="connsiteY59" fmla="*/ 3618230 h 6858001"/>
              <a:gd name="connsiteX60" fmla="*/ 8120315 w 11064076"/>
              <a:gd name="connsiteY60" fmla="*/ 3617913 h 6858001"/>
              <a:gd name="connsiteX61" fmla="*/ 8126329 w 11064076"/>
              <a:gd name="connsiteY61" fmla="*/ 3617595 h 6858001"/>
              <a:gd name="connsiteX62" fmla="*/ 8132343 w 11064076"/>
              <a:gd name="connsiteY62" fmla="*/ 3617913 h 6858001"/>
              <a:gd name="connsiteX63" fmla="*/ 8138023 w 11064076"/>
              <a:gd name="connsiteY63" fmla="*/ 3618230 h 6858001"/>
              <a:gd name="connsiteX64" fmla="*/ 8143702 w 11064076"/>
              <a:gd name="connsiteY64" fmla="*/ 3618865 h 6858001"/>
              <a:gd name="connsiteX65" fmla="*/ 8149716 w 11064076"/>
              <a:gd name="connsiteY65" fmla="*/ 3620135 h 6858001"/>
              <a:gd name="connsiteX66" fmla="*/ 8155396 w 11064076"/>
              <a:gd name="connsiteY66" fmla="*/ 3621405 h 6858001"/>
              <a:gd name="connsiteX67" fmla="*/ 8161410 w 11064076"/>
              <a:gd name="connsiteY67" fmla="*/ 3622675 h 6858001"/>
              <a:gd name="connsiteX68" fmla="*/ 8167089 w 11064076"/>
              <a:gd name="connsiteY68" fmla="*/ 3624898 h 6858001"/>
              <a:gd name="connsiteX69" fmla="*/ 8172769 w 11064076"/>
              <a:gd name="connsiteY69" fmla="*/ 3626803 h 6858001"/>
              <a:gd name="connsiteX70" fmla="*/ 8178115 w 11064076"/>
              <a:gd name="connsiteY70" fmla="*/ 3629343 h 6858001"/>
              <a:gd name="connsiteX71" fmla="*/ 8183460 w 11064076"/>
              <a:gd name="connsiteY71" fmla="*/ 3631883 h 6858001"/>
              <a:gd name="connsiteX72" fmla="*/ 8188806 w 11064076"/>
              <a:gd name="connsiteY72" fmla="*/ 3634740 h 6858001"/>
              <a:gd name="connsiteX73" fmla="*/ 8194151 w 11064076"/>
              <a:gd name="connsiteY73" fmla="*/ 3638233 h 6858001"/>
              <a:gd name="connsiteX74" fmla="*/ 8199163 w 11064076"/>
              <a:gd name="connsiteY74" fmla="*/ 3641725 h 6858001"/>
              <a:gd name="connsiteX75" fmla="*/ 8204175 w 11064076"/>
              <a:gd name="connsiteY75" fmla="*/ 3645218 h 6858001"/>
              <a:gd name="connsiteX76" fmla="*/ 8208852 w 11064076"/>
              <a:gd name="connsiteY76" fmla="*/ 3649345 h 6858001"/>
              <a:gd name="connsiteX77" fmla="*/ 8213529 w 11064076"/>
              <a:gd name="connsiteY77" fmla="*/ 3653790 h 6858001"/>
              <a:gd name="connsiteX78" fmla="*/ 8882399 w 11064076"/>
              <a:gd name="connsiteY78" fmla="*/ 4321810 h 6858001"/>
              <a:gd name="connsiteX79" fmla="*/ 8886742 w 11064076"/>
              <a:gd name="connsiteY79" fmla="*/ 4325938 h 6858001"/>
              <a:gd name="connsiteX80" fmla="*/ 8891420 w 11064076"/>
              <a:gd name="connsiteY80" fmla="*/ 4330065 h 6858001"/>
              <a:gd name="connsiteX81" fmla="*/ 8896765 w 11064076"/>
              <a:gd name="connsiteY81" fmla="*/ 4334193 h 6858001"/>
              <a:gd name="connsiteX82" fmla="*/ 8901443 w 11064076"/>
              <a:gd name="connsiteY82" fmla="*/ 4337685 h 6858001"/>
              <a:gd name="connsiteX83" fmla="*/ 8906788 w 11064076"/>
              <a:gd name="connsiteY83" fmla="*/ 4340860 h 6858001"/>
              <a:gd name="connsiteX84" fmla="*/ 8912134 w 11064076"/>
              <a:gd name="connsiteY84" fmla="*/ 4343718 h 6858001"/>
              <a:gd name="connsiteX85" fmla="*/ 8917480 w 11064076"/>
              <a:gd name="connsiteY85" fmla="*/ 4346575 h 6858001"/>
              <a:gd name="connsiteX86" fmla="*/ 8923159 w 11064076"/>
              <a:gd name="connsiteY86" fmla="*/ 4349115 h 6858001"/>
              <a:gd name="connsiteX87" fmla="*/ 8928505 w 11064076"/>
              <a:gd name="connsiteY87" fmla="*/ 4351020 h 6858001"/>
              <a:gd name="connsiteX88" fmla="*/ 8934185 w 11064076"/>
              <a:gd name="connsiteY88" fmla="*/ 4352608 h 6858001"/>
              <a:gd name="connsiteX89" fmla="*/ 8940198 w 11064076"/>
              <a:gd name="connsiteY89" fmla="*/ 4354513 h 6858001"/>
              <a:gd name="connsiteX90" fmla="*/ 8945878 w 11064076"/>
              <a:gd name="connsiteY90" fmla="*/ 4355465 h 6858001"/>
              <a:gd name="connsiteX91" fmla="*/ 8951892 w 11064076"/>
              <a:gd name="connsiteY91" fmla="*/ 4356418 h 6858001"/>
              <a:gd name="connsiteX92" fmla="*/ 8957572 w 11064076"/>
              <a:gd name="connsiteY92" fmla="*/ 4357053 h 6858001"/>
              <a:gd name="connsiteX93" fmla="*/ 8963585 w 11064076"/>
              <a:gd name="connsiteY93" fmla="*/ 4358005 h 6858001"/>
              <a:gd name="connsiteX94" fmla="*/ 8969265 w 11064076"/>
              <a:gd name="connsiteY94" fmla="*/ 4358005 h 6858001"/>
              <a:gd name="connsiteX95" fmla="*/ 8975279 w 11064076"/>
              <a:gd name="connsiteY95" fmla="*/ 4358005 h 6858001"/>
              <a:gd name="connsiteX96" fmla="*/ 8981293 w 11064076"/>
              <a:gd name="connsiteY96" fmla="*/ 4357053 h 6858001"/>
              <a:gd name="connsiteX97" fmla="*/ 8986972 w 11064076"/>
              <a:gd name="connsiteY97" fmla="*/ 4356418 h 6858001"/>
              <a:gd name="connsiteX98" fmla="*/ 8992986 w 11064076"/>
              <a:gd name="connsiteY98" fmla="*/ 4355465 h 6858001"/>
              <a:gd name="connsiteX99" fmla="*/ 8998666 w 11064076"/>
              <a:gd name="connsiteY99" fmla="*/ 4354513 h 6858001"/>
              <a:gd name="connsiteX100" fmla="*/ 9004680 w 11064076"/>
              <a:gd name="connsiteY100" fmla="*/ 4352608 h 6858001"/>
              <a:gd name="connsiteX101" fmla="*/ 9010025 w 11064076"/>
              <a:gd name="connsiteY101" fmla="*/ 4351020 h 6858001"/>
              <a:gd name="connsiteX102" fmla="*/ 9015705 w 11064076"/>
              <a:gd name="connsiteY102" fmla="*/ 4349115 h 6858001"/>
              <a:gd name="connsiteX103" fmla="*/ 9021385 w 11064076"/>
              <a:gd name="connsiteY103" fmla="*/ 4346575 h 6858001"/>
              <a:gd name="connsiteX104" fmla="*/ 9026730 w 11064076"/>
              <a:gd name="connsiteY104" fmla="*/ 4343718 h 6858001"/>
              <a:gd name="connsiteX105" fmla="*/ 9032076 w 11064076"/>
              <a:gd name="connsiteY105" fmla="*/ 4340860 h 6858001"/>
              <a:gd name="connsiteX106" fmla="*/ 9037088 w 11064076"/>
              <a:gd name="connsiteY106" fmla="*/ 4337685 h 6858001"/>
              <a:gd name="connsiteX107" fmla="*/ 9042099 w 11064076"/>
              <a:gd name="connsiteY107" fmla="*/ 4334193 h 6858001"/>
              <a:gd name="connsiteX108" fmla="*/ 9047445 w 11064076"/>
              <a:gd name="connsiteY108" fmla="*/ 4330065 h 6858001"/>
              <a:gd name="connsiteX109" fmla="*/ 9051788 w 11064076"/>
              <a:gd name="connsiteY109" fmla="*/ 4325938 h 6858001"/>
              <a:gd name="connsiteX110" fmla="*/ 9056465 w 11064076"/>
              <a:gd name="connsiteY110" fmla="*/ 4321810 h 6858001"/>
              <a:gd name="connsiteX111" fmla="*/ 9061143 w 11064076"/>
              <a:gd name="connsiteY111" fmla="*/ 4317048 h 6858001"/>
              <a:gd name="connsiteX112" fmla="*/ 9065152 w 11064076"/>
              <a:gd name="connsiteY112" fmla="*/ 4312285 h 6858001"/>
              <a:gd name="connsiteX113" fmla="*/ 9068827 w 11064076"/>
              <a:gd name="connsiteY113" fmla="*/ 4307523 h 6858001"/>
              <a:gd name="connsiteX114" fmla="*/ 9072168 w 11064076"/>
              <a:gd name="connsiteY114" fmla="*/ 4302443 h 6858001"/>
              <a:gd name="connsiteX115" fmla="*/ 9075509 w 11064076"/>
              <a:gd name="connsiteY115" fmla="*/ 4297363 h 6858001"/>
              <a:gd name="connsiteX116" fmla="*/ 9078516 w 11064076"/>
              <a:gd name="connsiteY116" fmla="*/ 4292283 h 6858001"/>
              <a:gd name="connsiteX117" fmla="*/ 9081189 w 11064076"/>
              <a:gd name="connsiteY117" fmla="*/ 4286568 h 6858001"/>
              <a:gd name="connsiteX118" fmla="*/ 9083528 w 11064076"/>
              <a:gd name="connsiteY118" fmla="*/ 4281170 h 6858001"/>
              <a:gd name="connsiteX119" fmla="*/ 9085532 w 11064076"/>
              <a:gd name="connsiteY119" fmla="*/ 4275455 h 6858001"/>
              <a:gd name="connsiteX120" fmla="*/ 9087537 w 11064076"/>
              <a:gd name="connsiteY120" fmla="*/ 4270058 h 6858001"/>
              <a:gd name="connsiteX121" fmla="*/ 9089207 w 11064076"/>
              <a:gd name="connsiteY121" fmla="*/ 4264025 h 6858001"/>
              <a:gd name="connsiteX122" fmla="*/ 9090544 w 11064076"/>
              <a:gd name="connsiteY122" fmla="*/ 4258310 h 6858001"/>
              <a:gd name="connsiteX123" fmla="*/ 9091546 w 11064076"/>
              <a:gd name="connsiteY123" fmla="*/ 4252595 h 6858001"/>
              <a:gd name="connsiteX124" fmla="*/ 9092214 w 11064076"/>
              <a:gd name="connsiteY124" fmla="*/ 4246563 h 6858001"/>
              <a:gd name="connsiteX125" fmla="*/ 9092548 w 11064076"/>
              <a:gd name="connsiteY125" fmla="*/ 4240848 h 6858001"/>
              <a:gd name="connsiteX126" fmla="*/ 9092548 w 11064076"/>
              <a:gd name="connsiteY126" fmla="*/ 4234815 h 6858001"/>
              <a:gd name="connsiteX127" fmla="*/ 9092548 w 11064076"/>
              <a:gd name="connsiteY127" fmla="*/ 4228783 h 6858001"/>
              <a:gd name="connsiteX128" fmla="*/ 9092214 w 11064076"/>
              <a:gd name="connsiteY128" fmla="*/ 4223068 h 6858001"/>
              <a:gd name="connsiteX129" fmla="*/ 9091546 w 11064076"/>
              <a:gd name="connsiteY129" fmla="*/ 4217353 h 6858001"/>
              <a:gd name="connsiteX130" fmla="*/ 9090544 w 11064076"/>
              <a:gd name="connsiteY130" fmla="*/ 4211320 h 6858001"/>
              <a:gd name="connsiteX131" fmla="*/ 9089207 w 11064076"/>
              <a:gd name="connsiteY131" fmla="*/ 4205605 h 6858001"/>
              <a:gd name="connsiteX132" fmla="*/ 9087537 w 11064076"/>
              <a:gd name="connsiteY132" fmla="*/ 4199890 h 6858001"/>
              <a:gd name="connsiteX133" fmla="*/ 9085532 w 11064076"/>
              <a:gd name="connsiteY133" fmla="*/ 4194175 h 6858001"/>
              <a:gd name="connsiteX134" fmla="*/ 9083528 w 11064076"/>
              <a:gd name="connsiteY134" fmla="*/ 4188460 h 6858001"/>
              <a:gd name="connsiteX135" fmla="*/ 9081189 w 11064076"/>
              <a:gd name="connsiteY135" fmla="*/ 4183063 h 6858001"/>
              <a:gd name="connsiteX136" fmla="*/ 9078516 w 11064076"/>
              <a:gd name="connsiteY136" fmla="*/ 4177665 h 6858001"/>
              <a:gd name="connsiteX137" fmla="*/ 9075509 w 11064076"/>
              <a:gd name="connsiteY137" fmla="*/ 4172268 h 6858001"/>
              <a:gd name="connsiteX138" fmla="*/ 9072168 w 11064076"/>
              <a:gd name="connsiteY138" fmla="*/ 4166870 h 6858001"/>
              <a:gd name="connsiteX139" fmla="*/ 9068827 w 11064076"/>
              <a:gd name="connsiteY139" fmla="*/ 4161790 h 6858001"/>
              <a:gd name="connsiteX140" fmla="*/ 9065152 w 11064076"/>
              <a:gd name="connsiteY140" fmla="*/ 4157028 h 6858001"/>
              <a:gd name="connsiteX141" fmla="*/ 9061143 w 11064076"/>
              <a:gd name="connsiteY141" fmla="*/ 4152265 h 6858001"/>
              <a:gd name="connsiteX142" fmla="*/ 9056465 w 11064076"/>
              <a:gd name="connsiteY142" fmla="*/ 4147820 h 6858001"/>
              <a:gd name="connsiteX143" fmla="*/ 8669577 w 11064076"/>
              <a:gd name="connsiteY143" fmla="*/ 3761423 h 6858001"/>
              <a:gd name="connsiteX144" fmla="*/ 8473460 w 11064076"/>
              <a:gd name="connsiteY144" fmla="*/ 3565208 h 6858001"/>
              <a:gd name="connsiteX145" fmla="*/ 8468782 w 11064076"/>
              <a:gd name="connsiteY145" fmla="*/ 3560445 h 6858001"/>
              <a:gd name="connsiteX146" fmla="*/ 8464773 w 11064076"/>
              <a:gd name="connsiteY146" fmla="*/ 3555683 h 6858001"/>
              <a:gd name="connsiteX147" fmla="*/ 8461098 w 11064076"/>
              <a:gd name="connsiteY147" fmla="*/ 3550920 h 6858001"/>
              <a:gd name="connsiteX148" fmla="*/ 8457423 w 11064076"/>
              <a:gd name="connsiteY148" fmla="*/ 3545840 h 6858001"/>
              <a:gd name="connsiteX149" fmla="*/ 8454082 w 11064076"/>
              <a:gd name="connsiteY149" fmla="*/ 3540760 h 6858001"/>
              <a:gd name="connsiteX150" fmla="*/ 8451409 w 11064076"/>
              <a:gd name="connsiteY150" fmla="*/ 3535680 h 6858001"/>
              <a:gd name="connsiteX151" fmla="*/ 8448736 w 11064076"/>
              <a:gd name="connsiteY151" fmla="*/ 3529965 h 6858001"/>
              <a:gd name="connsiteX152" fmla="*/ 8446398 w 11064076"/>
              <a:gd name="connsiteY152" fmla="*/ 3524568 h 6858001"/>
              <a:gd name="connsiteX153" fmla="*/ 8444059 w 11064076"/>
              <a:gd name="connsiteY153" fmla="*/ 3518853 h 6858001"/>
              <a:gd name="connsiteX154" fmla="*/ 8442054 w 11064076"/>
              <a:gd name="connsiteY154" fmla="*/ 3513455 h 6858001"/>
              <a:gd name="connsiteX155" fmla="*/ 8440718 w 11064076"/>
              <a:gd name="connsiteY155" fmla="*/ 3507423 h 6858001"/>
              <a:gd name="connsiteX156" fmla="*/ 8439382 w 11064076"/>
              <a:gd name="connsiteY156" fmla="*/ 3501708 h 6858001"/>
              <a:gd name="connsiteX157" fmla="*/ 8438379 w 11064076"/>
              <a:gd name="connsiteY157" fmla="*/ 3495993 h 6858001"/>
              <a:gd name="connsiteX158" fmla="*/ 8437711 w 11064076"/>
              <a:gd name="connsiteY158" fmla="*/ 3489960 h 6858001"/>
              <a:gd name="connsiteX159" fmla="*/ 8437377 w 11064076"/>
              <a:gd name="connsiteY159" fmla="*/ 3484245 h 6858001"/>
              <a:gd name="connsiteX160" fmla="*/ 8437043 w 11064076"/>
              <a:gd name="connsiteY160" fmla="*/ 3478213 h 6858001"/>
              <a:gd name="connsiteX161" fmla="*/ 8437377 w 11064076"/>
              <a:gd name="connsiteY161" fmla="*/ 3472180 h 6858001"/>
              <a:gd name="connsiteX162" fmla="*/ 8437711 w 11064076"/>
              <a:gd name="connsiteY162" fmla="*/ 3466465 h 6858001"/>
              <a:gd name="connsiteX163" fmla="*/ 8438379 w 11064076"/>
              <a:gd name="connsiteY163" fmla="*/ 3460750 h 6858001"/>
              <a:gd name="connsiteX164" fmla="*/ 8439382 w 11064076"/>
              <a:gd name="connsiteY164" fmla="*/ 3454718 h 6858001"/>
              <a:gd name="connsiteX165" fmla="*/ 8440718 w 11064076"/>
              <a:gd name="connsiteY165" fmla="*/ 3449003 h 6858001"/>
              <a:gd name="connsiteX166" fmla="*/ 8442054 w 11064076"/>
              <a:gd name="connsiteY166" fmla="*/ 3443288 h 6858001"/>
              <a:gd name="connsiteX167" fmla="*/ 8444059 w 11064076"/>
              <a:gd name="connsiteY167" fmla="*/ 3437255 h 6858001"/>
              <a:gd name="connsiteX168" fmla="*/ 8446398 w 11064076"/>
              <a:gd name="connsiteY168" fmla="*/ 3431858 h 6858001"/>
              <a:gd name="connsiteX169" fmla="*/ 8448736 w 11064076"/>
              <a:gd name="connsiteY169" fmla="*/ 3426460 h 6858001"/>
              <a:gd name="connsiteX170" fmla="*/ 8451409 w 11064076"/>
              <a:gd name="connsiteY170" fmla="*/ 3421063 h 6858001"/>
              <a:gd name="connsiteX171" fmla="*/ 8454082 w 11064076"/>
              <a:gd name="connsiteY171" fmla="*/ 3415348 h 6858001"/>
              <a:gd name="connsiteX172" fmla="*/ 8457423 w 11064076"/>
              <a:gd name="connsiteY172" fmla="*/ 3410268 h 6858001"/>
              <a:gd name="connsiteX173" fmla="*/ 8461098 w 11064076"/>
              <a:gd name="connsiteY173" fmla="*/ 3405505 h 6858001"/>
              <a:gd name="connsiteX174" fmla="*/ 8464773 w 11064076"/>
              <a:gd name="connsiteY174" fmla="*/ 3400425 h 6858001"/>
              <a:gd name="connsiteX175" fmla="*/ 8468782 w 11064076"/>
              <a:gd name="connsiteY175" fmla="*/ 3395663 h 6858001"/>
              <a:gd name="connsiteX176" fmla="*/ 8473460 w 11064076"/>
              <a:gd name="connsiteY176" fmla="*/ 3391218 h 6858001"/>
              <a:gd name="connsiteX177" fmla="*/ 8477803 w 11064076"/>
              <a:gd name="connsiteY177" fmla="*/ 3386773 h 6858001"/>
              <a:gd name="connsiteX178" fmla="*/ 8482481 w 11064076"/>
              <a:gd name="connsiteY178" fmla="*/ 3382645 h 6858001"/>
              <a:gd name="connsiteX179" fmla="*/ 8487826 w 11064076"/>
              <a:gd name="connsiteY179" fmla="*/ 3378835 h 6858001"/>
              <a:gd name="connsiteX180" fmla="*/ 8492504 w 11064076"/>
              <a:gd name="connsiteY180" fmla="*/ 3375343 h 6858001"/>
              <a:gd name="connsiteX181" fmla="*/ 8497515 w 11064076"/>
              <a:gd name="connsiteY181" fmla="*/ 3372168 h 6858001"/>
              <a:gd name="connsiteX182" fmla="*/ 8503195 w 11064076"/>
              <a:gd name="connsiteY182" fmla="*/ 3369310 h 6858001"/>
              <a:gd name="connsiteX183" fmla="*/ 8508540 w 11064076"/>
              <a:gd name="connsiteY183" fmla="*/ 3366453 h 6858001"/>
              <a:gd name="connsiteX184" fmla="*/ 8514220 w 11064076"/>
              <a:gd name="connsiteY184" fmla="*/ 3364230 h 6858001"/>
              <a:gd name="connsiteX185" fmla="*/ 8519566 w 11064076"/>
              <a:gd name="connsiteY185" fmla="*/ 3362008 h 6858001"/>
              <a:gd name="connsiteX186" fmla="*/ 8525245 w 11064076"/>
              <a:gd name="connsiteY186" fmla="*/ 3360103 h 6858001"/>
              <a:gd name="connsiteX187" fmla="*/ 8531259 w 11064076"/>
              <a:gd name="connsiteY187" fmla="*/ 3358833 h 6858001"/>
              <a:gd name="connsiteX188" fmla="*/ 8536939 w 11064076"/>
              <a:gd name="connsiteY188" fmla="*/ 3357245 h 6858001"/>
              <a:gd name="connsiteX189" fmla="*/ 8542953 w 11064076"/>
              <a:gd name="connsiteY189" fmla="*/ 3356293 h 6858001"/>
              <a:gd name="connsiteX190" fmla="*/ 8548632 w 11064076"/>
              <a:gd name="connsiteY190" fmla="*/ 3355658 h 6858001"/>
              <a:gd name="connsiteX191" fmla="*/ 8554646 w 11064076"/>
              <a:gd name="connsiteY191" fmla="*/ 3355340 h 6858001"/>
              <a:gd name="connsiteX192" fmla="*/ 8560326 w 11064076"/>
              <a:gd name="connsiteY192" fmla="*/ 3355023 h 6858001"/>
              <a:gd name="connsiteX193" fmla="*/ 8566340 w 11064076"/>
              <a:gd name="connsiteY193" fmla="*/ 3355340 h 6858001"/>
              <a:gd name="connsiteX194" fmla="*/ 8572354 w 11064076"/>
              <a:gd name="connsiteY194" fmla="*/ 3355658 h 6858001"/>
              <a:gd name="connsiteX195" fmla="*/ 8578033 w 11064076"/>
              <a:gd name="connsiteY195" fmla="*/ 3356293 h 6858001"/>
              <a:gd name="connsiteX196" fmla="*/ 8584047 w 11064076"/>
              <a:gd name="connsiteY196" fmla="*/ 3357245 h 6858001"/>
              <a:gd name="connsiteX197" fmla="*/ 8589727 w 11064076"/>
              <a:gd name="connsiteY197" fmla="*/ 3358833 h 6858001"/>
              <a:gd name="connsiteX198" fmla="*/ 8595741 w 11064076"/>
              <a:gd name="connsiteY198" fmla="*/ 3360103 h 6858001"/>
              <a:gd name="connsiteX199" fmla="*/ 8601086 w 11064076"/>
              <a:gd name="connsiteY199" fmla="*/ 3362008 h 6858001"/>
              <a:gd name="connsiteX200" fmla="*/ 8606766 w 11064076"/>
              <a:gd name="connsiteY200" fmla="*/ 3364230 h 6858001"/>
              <a:gd name="connsiteX201" fmla="*/ 8612446 w 11064076"/>
              <a:gd name="connsiteY201" fmla="*/ 3366453 h 6858001"/>
              <a:gd name="connsiteX202" fmla="*/ 8617791 w 11064076"/>
              <a:gd name="connsiteY202" fmla="*/ 3369310 h 6858001"/>
              <a:gd name="connsiteX203" fmla="*/ 8623137 w 11064076"/>
              <a:gd name="connsiteY203" fmla="*/ 3372168 h 6858001"/>
              <a:gd name="connsiteX204" fmla="*/ 8628148 w 11064076"/>
              <a:gd name="connsiteY204" fmla="*/ 3375343 h 6858001"/>
              <a:gd name="connsiteX205" fmla="*/ 8633160 w 11064076"/>
              <a:gd name="connsiteY205" fmla="*/ 3378835 h 6858001"/>
              <a:gd name="connsiteX206" fmla="*/ 8638171 w 11064076"/>
              <a:gd name="connsiteY206" fmla="*/ 3382645 h 6858001"/>
              <a:gd name="connsiteX207" fmla="*/ 8642849 w 11064076"/>
              <a:gd name="connsiteY207" fmla="*/ 3386773 h 6858001"/>
              <a:gd name="connsiteX208" fmla="*/ 8647526 w 11064076"/>
              <a:gd name="connsiteY208" fmla="*/ 3391218 h 6858001"/>
              <a:gd name="connsiteX209" fmla="*/ 8855003 w 11064076"/>
              <a:gd name="connsiteY209" fmla="*/ 3598228 h 6858001"/>
              <a:gd name="connsiteX210" fmla="*/ 8859346 w 11064076"/>
              <a:gd name="connsiteY210" fmla="*/ 3602673 h 6858001"/>
              <a:gd name="connsiteX211" fmla="*/ 8864023 w 11064076"/>
              <a:gd name="connsiteY211" fmla="*/ 3606800 h 6858001"/>
              <a:gd name="connsiteX212" fmla="*/ 8869369 w 11064076"/>
              <a:gd name="connsiteY212" fmla="*/ 3610610 h 6858001"/>
              <a:gd name="connsiteX213" fmla="*/ 8874046 w 11064076"/>
              <a:gd name="connsiteY213" fmla="*/ 3613785 h 6858001"/>
              <a:gd name="connsiteX214" fmla="*/ 8879392 w 11064076"/>
              <a:gd name="connsiteY214" fmla="*/ 3617278 h 6858001"/>
              <a:gd name="connsiteX215" fmla="*/ 8884738 w 11064076"/>
              <a:gd name="connsiteY215" fmla="*/ 3620135 h 6858001"/>
              <a:gd name="connsiteX216" fmla="*/ 8890083 w 11064076"/>
              <a:gd name="connsiteY216" fmla="*/ 3622675 h 6858001"/>
              <a:gd name="connsiteX217" fmla="*/ 8895763 w 11064076"/>
              <a:gd name="connsiteY217" fmla="*/ 3625215 h 6858001"/>
              <a:gd name="connsiteX218" fmla="*/ 8901109 w 11064076"/>
              <a:gd name="connsiteY218" fmla="*/ 3627120 h 6858001"/>
              <a:gd name="connsiteX219" fmla="*/ 8906788 w 11064076"/>
              <a:gd name="connsiteY219" fmla="*/ 3629343 h 6858001"/>
              <a:gd name="connsiteX220" fmla="*/ 8912802 w 11064076"/>
              <a:gd name="connsiteY220" fmla="*/ 3630613 h 6858001"/>
              <a:gd name="connsiteX221" fmla="*/ 8918482 w 11064076"/>
              <a:gd name="connsiteY221" fmla="*/ 3631883 h 6858001"/>
              <a:gd name="connsiteX222" fmla="*/ 8924496 w 11064076"/>
              <a:gd name="connsiteY222" fmla="*/ 3633153 h 6858001"/>
              <a:gd name="connsiteX223" fmla="*/ 8930175 w 11064076"/>
              <a:gd name="connsiteY223" fmla="*/ 3633788 h 6858001"/>
              <a:gd name="connsiteX224" fmla="*/ 8936189 w 11064076"/>
              <a:gd name="connsiteY224" fmla="*/ 3634105 h 6858001"/>
              <a:gd name="connsiteX225" fmla="*/ 8941869 w 11064076"/>
              <a:gd name="connsiteY225" fmla="*/ 3634105 h 6858001"/>
              <a:gd name="connsiteX226" fmla="*/ 8947883 w 11064076"/>
              <a:gd name="connsiteY226" fmla="*/ 3634105 h 6858001"/>
              <a:gd name="connsiteX227" fmla="*/ 8953897 w 11064076"/>
              <a:gd name="connsiteY227" fmla="*/ 3633788 h 6858001"/>
              <a:gd name="connsiteX228" fmla="*/ 8959576 w 11064076"/>
              <a:gd name="connsiteY228" fmla="*/ 3633153 h 6858001"/>
              <a:gd name="connsiteX229" fmla="*/ 8965590 w 11064076"/>
              <a:gd name="connsiteY229" fmla="*/ 3631883 h 6858001"/>
              <a:gd name="connsiteX230" fmla="*/ 8971270 w 11064076"/>
              <a:gd name="connsiteY230" fmla="*/ 3630613 h 6858001"/>
              <a:gd name="connsiteX231" fmla="*/ 8977284 w 11064076"/>
              <a:gd name="connsiteY231" fmla="*/ 3629343 h 6858001"/>
              <a:gd name="connsiteX232" fmla="*/ 8982629 w 11064076"/>
              <a:gd name="connsiteY232" fmla="*/ 3627120 h 6858001"/>
              <a:gd name="connsiteX233" fmla="*/ 8988309 w 11064076"/>
              <a:gd name="connsiteY233" fmla="*/ 3625215 h 6858001"/>
              <a:gd name="connsiteX234" fmla="*/ 8993989 w 11064076"/>
              <a:gd name="connsiteY234" fmla="*/ 3622675 h 6858001"/>
              <a:gd name="connsiteX235" fmla="*/ 8999334 w 11064076"/>
              <a:gd name="connsiteY235" fmla="*/ 3620135 h 6858001"/>
              <a:gd name="connsiteX236" fmla="*/ 9004680 w 11064076"/>
              <a:gd name="connsiteY236" fmla="*/ 3617278 h 6858001"/>
              <a:gd name="connsiteX237" fmla="*/ 9009691 w 11064076"/>
              <a:gd name="connsiteY237" fmla="*/ 3613785 h 6858001"/>
              <a:gd name="connsiteX238" fmla="*/ 9014703 w 11064076"/>
              <a:gd name="connsiteY238" fmla="*/ 3610610 h 6858001"/>
              <a:gd name="connsiteX239" fmla="*/ 9020048 w 11064076"/>
              <a:gd name="connsiteY239" fmla="*/ 3606800 h 6858001"/>
              <a:gd name="connsiteX240" fmla="*/ 9024392 w 11064076"/>
              <a:gd name="connsiteY240" fmla="*/ 3602673 h 6858001"/>
              <a:gd name="connsiteX241" fmla="*/ 9029069 w 11064076"/>
              <a:gd name="connsiteY241" fmla="*/ 3598228 h 6858001"/>
              <a:gd name="connsiteX242" fmla="*/ 9033747 w 11064076"/>
              <a:gd name="connsiteY242" fmla="*/ 3593783 h 6858001"/>
              <a:gd name="connsiteX243" fmla="*/ 9037756 w 11064076"/>
              <a:gd name="connsiteY243" fmla="*/ 3589020 h 6858001"/>
              <a:gd name="connsiteX244" fmla="*/ 9041431 w 11064076"/>
              <a:gd name="connsiteY244" fmla="*/ 3583940 h 6858001"/>
              <a:gd name="connsiteX245" fmla="*/ 9044772 w 11064076"/>
              <a:gd name="connsiteY245" fmla="*/ 3578860 h 6858001"/>
              <a:gd name="connsiteX246" fmla="*/ 9048113 w 11064076"/>
              <a:gd name="connsiteY246" fmla="*/ 3573463 h 6858001"/>
              <a:gd name="connsiteX247" fmla="*/ 9051120 w 11064076"/>
              <a:gd name="connsiteY247" fmla="*/ 3568383 h 6858001"/>
              <a:gd name="connsiteX248" fmla="*/ 9053793 w 11064076"/>
              <a:gd name="connsiteY248" fmla="*/ 3562985 h 6858001"/>
              <a:gd name="connsiteX249" fmla="*/ 9056131 w 11064076"/>
              <a:gd name="connsiteY249" fmla="*/ 3557588 h 6858001"/>
              <a:gd name="connsiteX250" fmla="*/ 9058136 w 11064076"/>
              <a:gd name="connsiteY250" fmla="*/ 3551873 h 6858001"/>
              <a:gd name="connsiteX251" fmla="*/ 9060141 w 11064076"/>
              <a:gd name="connsiteY251" fmla="*/ 3546158 h 6858001"/>
              <a:gd name="connsiteX252" fmla="*/ 9061811 w 11064076"/>
              <a:gd name="connsiteY252" fmla="*/ 3540443 h 6858001"/>
              <a:gd name="connsiteX253" fmla="*/ 9063147 w 11064076"/>
              <a:gd name="connsiteY253" fmla="*/ 3534410 h 6858001"/>
              <a:gd name="connsiteX254" fmla="*/ 9064150 w 11064076"/>
              <a:gd name="connsiteY254" fmla="*/ 3528695 h 6858001"/>
              <a:gd name="connsiteX255" fmla="*/ 9064818 w 11064076"/>
              <a:gd name="connsiteY255" fmla="*/ 3522980 h 6858001"/>
              <a:gd name="connsiteX256" fmla="*/ 9065152 w 11064076"/>
              <a:gd name="connsiteY256" fmla="*/ 3516948 h 6858001"/>
              <a:gd name="connsiteX257" fmla="*/ 9065152 w 11064076"/>
              <a:gd name="connsiteY257" fmla="*/ 3511233 h 6858001"/>
              <a:gd name="connsiteX258" fmla="*/ 9065152 w 11064076"/>
              <a:gd name="connsiteY258" fmla="*/ 3505200 h 6858001"/>
              <a:gd name="connsiteX259" fmla="*/ 9064818 w 11064076"/>
              <a:gd name="connsiteY259" fmla="*/ 3499168 h 6858001"/>
              <a:gd name="connsiteX260" fmla="*/ 9064150 w 11064076"/>
              <a:gd name="connsiteY260" fmla="*/ 3493453 h 6858001"/>
              <a:gd name="connsiteX261" fmla="*/ 9063147 w 11064076"/>
              <a:gd name="connsiteY261" fmla="*/ 3487738 h 6858001"/>
              <a:gd name="connsiteX262" fmla="*/ 9061811 w 11064076"/>
              <a:gd name="connsiteY262" fmla="*/ 3481705 h 6858001"/>
              <a:gd name="connsiteX263" fmla="*/ 9060141 w 11064076"/>
              <a:gd name="connsiteY263" fmla="*/ 3475990 h 6858001"/>
              <a:gd name="connsiteX264" fmla="*/ 9058136 w 11064076"/>
              <a:gd name="connsiteY264" fmla="*/ 3470593 h 6858001"/>
              <a:gd name="connsiteX265" fmla="*/ 9056131 w 11064076"/>
              <a:gd name="connsiteY265" fmla="*/ 3464878 h 6858001"/>
              <a:gd name="connsiteX266" fmla="*/ 9053793 w 11064076"/>
              <a:gd name="connsiteY266" fmla="*/ 3459163 h 6858001"/>
              <a:gd name="connsiteX267" fmla="*/ 9051120 w 11064076"/>
              <a:gd name="connsiteY267" fmla="*/ 3453765 h 6858001"/>
              <a:gd name="connsiteX268" fmla="*/ 9048113 w 11064076"/>
              <a:gd name="connsiteY268" fmla="*/ 3448685 h 6858001"/>
              <a:gd name="connsiteX269" fmla="*/ 9044772 w 11064076"/>
              <a:gd name="connsiteY269" fmla="*/ 3443605 h 6858001"/>
              <a:gd name="connsiteX270" fmla="*/ 9041431 w 11064076"/>
              <a:gd name="connsiteY270" fmla="*/ 3438525 h 6858001"/>
              <a:gd name="connsiteX271" fmla="*/ 9037756 w 11064076"/>
              <a:gd name="connsiteY271" fmla="*/ 3433763 h 6858001"/>
              <a:gd name="connsiteX272" fmla="*/ 9033747 w 11064076"/>
              <a:gd name="connsiteY272" fmla="*/ 3428683 h 6858001"/>
              <a:gd name="connsiteX273" fmla="*/ 9029069 w 11064076"/>
              <a:gd name="connsiteY273" fmla="*/ 3423920 h 6858001"/>
              <a:gd name="connsiteX274" fmla="*/ 8360534 w 11064076"/>
              <a:gd name="connsiteY274" fmla="*/ 2756218 h 6858001"/>
              <a:gd name="connsiteX275" fmla="*/ 8357193 w 11064076"/>
              <a:gd name="connsiteY275" fmla="*/ 2753043 h 6858001"/>
              <a:gd name="connsiteX276" fmla="*/ 8353852 w 11064076"/>
              <a:gd name="connsiteY276" fmla="*/ 2749233 h 6858001"/>
              <a:gd name="connsiteX277" fmla="*/ 8347504 w 11064076"/>
              <a:gd name="connsiteY277" fmla="*/ 2741295 h 6858001"/>
              <a:gd name="connsiteX278" fmla="*/ 8342492 w 11064076"/>
              <a:gd name="connsiteY278" fmla="*/ 2733040 h 6858001"/>
              <a:gd name="connsiteX279" fmla="*/ 8337815 w 11064076"/>
              <a:gd name="connsiteY279" fmla="*/ 2724468 h 6858001"/>
              <a:gd name="connsiteX280" fmla="*/ 8333471 w 11064076"/>
              <a:gd name="connsiteY280" fmla="*/ 2715895 h 6858001"/>
              <a:gd name="connsiteX281" fmla="*/ 8330465 w 11064076"/>
              <a:gd name="connsiteY281" fmla="*/ 2707005 h 6858001"/>
              <a:gd name="connsiteX282" fmla="*/ 8328126 w 11064076"/>
              <a:gd name="connsiteY282" fmla="*/ 2697798 h 6858001"/>
              <a:gd name="connsiteX283" fmla="*/ 8326121 w 11064076"/>
              <a:gd name="connsiteY283" fmla="*/ 2688590 h 6858001"/>
              <a:gd name="connsiteX0" fmla="*/ 5629596 w 11064076"/>
              <a:gd name="connsiteY0" fmla="*/ 0 h 6858001"/>
              <a:gd name="connsiteX1" fmla="*/ 0 w 11064076"/>
              <a:gd name="connsiteY1" fmla="*/ 0 h 6858001"/>
              <a:gd name="connsiteX2" fmla="*/ 0 w 11064076"/>
              <a:gd name="connsiteY2" fmla="*/ 6858000 h 6858001"/>
              <a:gd name="connsiteX3" fmla="*/ 10123449 w 11064076"/>
              <a:gd name="connsiteY3" fmla="*/ 6858000 h 6858001"/>
              <a:gd name="connsiteX4" fmla="*/ 10581615 w 11064076"/>
              <a:gd name="connsiteY4" fmla="*/ 6858001 h 6858001"/>
              <a:gd name="connsiteX5" fmla="*/ 10581614 w 11064076"/>
              <a:gd name="connsiteY5" fmla="*/ 6858000 h 6858001"/>
              <a:gd name="connsiteX6" fmla="*/ 11064076 w 11064076"/>
              <a:gd name="connsiteY6" fmla="*/ 6858000 h 6858001"/>
              <a:gd name="connsiteX7" fmla="*/ 9033747 w 11064076"/>
              <a:gd name="connsiteY7" fmla="*/ 4816793 h 6858001"/>
              <a:gd name="connsiteX8" fmla="*/ 9018378 w 11064076"/>
              <a:gd name="connsiteY8" fmla="*/ 4803458 h 6858001"/>
              <a:gd name="connsiteX9" fmla="*/ 9003009 w 11064076"/>
              <a:gd name="connsiteY9" fmla="*/ 4789488 h 6858001"/>
              <a:gd name="connsiteX10" fmla="*/ 8987975 w 11064076"/>
              <a:gd name="connsiteY10" fmla="*/ 4775518 h 6858001"/>
              <a:gd name="connsiteX11" fmla="*/ 8973274 w 11064076"/>
              <a:gd name="connsiteY11" fmla="*/ 4760913 h 6858001"/>
              <a:gd name="connsiteX12" fmla="*/ 8039129 w 11064076"/>
              <a:gd name="connsiteY12" fmla="*/ 3828098 h 6858001"/>
              <a:gd name="connsiteX13" fmla="*/ 8034451 w 11064076"/>
              <a:gd name="connsiteY13" fmla="*/ 3823335 h 6858001"/>
              <a:gd name="connsiteX14" fmla="*/ 8030443 w 11064076"/>
              <a:gd name="connsiteY14" fmla="*/ 3818573 h 6858001"/>
              <a:gd name="connsiteX15" fmla="*/ 8026767 w 11064076"/>
              <a:gd name="connsiteY15" fmla="*/ 3813493 h 6858001"/>
              <a:gd name="connsiteX16" fmla="*/ 8023426 w 11064076"/>
              <a:gd name="connsiteY16" fmla="*/ 3808413 h 6858001"/>
              <a:gd name="connsiteX17" fmla="*/ 8020086 w 11064076"/>
              <a:gd name="connsiteY17" fmla="*/ 3803333 h 6858001"/>
              <a:gd name="connsiteX18" fmla="*/ 8017079 w 11064076"/>
              <a:gd name="connsiteY18" fmla="*/ 3798253 h 6858001"/>
              <a:gd name="connsiteX19" fmla="*/ 8014406 w 11064076"/>
              <a:gd name="connsiteY19" fmla="*/ 3792855 h 6858001"/>
              <a:gd name="connsiteX20" fmla="*/ 8012067 w 11064076"/>
              <a:gd name="connsiteY20" fmla="*/ 3787458 h 6858001"/>
              <a:gd name="connsiteX21" fmla="*/ 8010062 w 11064076"/>
              <a:gd name="connsiteY21" fmla="*/ 3781425 h 6858001"/>
              <a:gd name="connsiteX22" fmla="*/ 8008392 w 11064076"/>
              <a:gd name="connsiteY22" fmla="*/ 3776028 h 6858001"/>
              <a:gd name="connsiteX23" fmla="*/ 8006387 w 11064076"/>
              <a:gd name="connsiteY23" fmla="*/ 3770313 h 6858001"/>
              <a:gd name="connsiteX24" fmla="*/ 8005051 w 11064076"/>
              <a:gd name="connsiteY24" fmla="*/ 3764280 h 6858001"/>
              <a:gd name="connsiteX25" fmla="*/ 8004049 w 11064076"/>
              <a:gd name="connsiteY25" fmla="*/ 3758565 h 6858001"/>
              <a:gd name="connsiteX26" fmla="*/ 8003380 w 11064076"/>
              <a:gd name="connsiteY26" fmla="*/ 3752850 h 6858001"/>
              <a:gd name="connsiteX27" fmla="*/ 8003046 w 11064076"/>
              <a:gd name="connsiteY27" fmla="*/ 3746818 h 6858001"/>
              <a:gd name="connsiteX28" fmla="*/ 8003046 w 11064076"/>
              <a:gd name="connsiteY28" fmla="*/ 3740785 h 6858001"/>
              <a:gd name="connsiteX29" fmla="*/ 8003046 w 11064076"/>
              <a:gd name="connsiteY29" fmla="*/ 3735070 h 6858001"/>
              <a:gd name="connsiteX30" fmla="*/ 8003380 w 11064076"/>
              <a:gd name="connsiteY30" fmla="*/ 3729038 h 6858001"/>
              <a:gd name="connsiteX31" fmla="*/ 8004049 w 11064076"/>
              <a:gd name="connsiteY31" fmla="*/ 3723323 h 6858001"/>
              <a:gd name="connsiteX32" fmla="*/ 8005051 w 11064076"/>
              <a:gd name="connsiteY32" fmla="*/ 3717608 h 6858001"/>
              <a:gd name="connsiteX33" fmla="*/ 8006387 w 11064076"/>
              <a:gd name="connsiteY33" fmla="*/ 3711575 h 6858001"/>
              <a:gd name="connsiteX34" fmla="*/ 8008392 w 11064076"/>
              <a:gd name="connsiteY34" fmla="*/ 3705860 h 6858001"/>
              <a:gd name="connsiteX35" fmla="*/ 8010062 w 11064076"/>
              <a:gd name="connsiteY35" fmla="*/ 3700145 h 6858001"/>
              <a:gd name="connsiteX36" fmla="*/ 8012067 w 11064076"/>
              <a:gd name="connsiteY36" fmla="*/ 3694748 h 6858001"/>
              <a:gd name="connsiteX37" fmla="*/ 8014406 w 11064076"/>
              <a:gd name="connsiteY37" fmla="*/ 3689033 h 6858001"/>
              <a:gd name="connsiteX38" fmla="*/ 8017079 w 11064076"/>
              <a:gd name="connsiteY38" fmla="*/ 3683635 h 6858001"/>
              <a:gd name="connsiteX39" fmla="*/ 8020086 w 11064076"/>
              <a:gd name="connsiteY39" fmla="*/ 3678238 h 6858001"/>
              <a:gd name="connsiteX40" fmla="*/ 8023426 w 11064076"/>
              <a:gd name="connsiteY40" fmla="*/ 3673158 h 6858001"/>
              <a:gd name="connsiteX41" fmla="*/ 8026767 w 11064076"/>
              <a:gd name="connsiteY41" fmla="*/ 3668078 h 6858001"/>
              <a:gd name="connsiteX42" fmla="*/ 8030443 w 11064076"/>
              <a:gd name="connsiteY42" fmla="*/ 3662998 h 6858001"/>
              <a:gd name="connsiteX43" fmla="*/ 8034451 w 11064076"/>
              <a:gd name="connsiteY43" fmla="*/ 3658235 h 6858001"/>
              <a:gd name="connsiteX44" fmla="*/ 8039129 w 11064076"/>
              <a:gd name="connsiteY44" fmla="*/ 3653790 h 6858001"/>
              <a:gd name="connsiteX45" fmla="*/ 8043807 w 11064076"/>
              <a:gd name="connsiteY45" fmla="*/ 3649345 h 6858001"/>
              <a:gd name="connsiteX46" fmla="*/ 8048149 w 11064076"/>
              <a:gd name="connsiteY46" fmla="*/ 3645218 h 6858001"/>
              <a:gd name="connsiteX47" fmla="*/ 8053495 w 11064076"/>
              <a:gd name="connsiteY47" fmla="*/ 3641725 h 6858001"/>
              <a:gd name="connsiteX48" fmla="*/ 8058507 w 11064076"/>
              <a:gd name="connsiteY48" fmla="*/ 3638233 h 6858001"/>
              <a:gd name="connsiteX49" fmla="*/ 8063852 w 11064076"/>
              <a:gd name="connsiteY49" fmla="*/ 3634740 h 6858001"/>
              <a:gd name="connsiteX50" fmla="*/ 8068864 w 11064076"/>
              <a:gd name="connsiteY50" fmla="*/ 3631883 h 6858001"/>
              <a:gd name="connsiteX51" fmla="*/ 8074209 w 11064076"/>
              <a:gd name="connsiteY51" fmla="*/ 3629343 h 6858001"/>
              <a:gd name="connsiteX52" fmla="*/ 8079889 w 11064076"/>
              <a:gd name="connsiteY52" fmla="*/ 3626803 h 6858001"/>
              <a:gd name="connsiteX53" fmla="*/ 8085569 w 11064076"/>
              <a:gd name="connsiteY53" fmla="*/ 3624898 h 6858001"/>
              <a:gd name="connsiteX54" fmla="*/ 8091248 w 11064076"/>
              <a:gd name="connsiteY54" fmla="*/ 3622675 h 6858001"/>
              <a:gd name="connsiteX55" fmla="*/ 8096928 w 11064076"/>
              <a:gd name="connsiteY55" fmla="*/ 3621405 h 6858001"/>
              <a:gd name="connsiteX56" fmla="*/ 8102608 w 11064076"/>
              <a:gd name="connsiteY56" fmla="*/ 3620135 h 6858001"/>
              <a:gd name="connsiteX57" fmla="*/ 8108622 w 11064076"/>
              <a:gd name="connsiteY57" fmla="*/ 3618865 h 6858001"/>
              <a:gd name="connsiteX58" fmla="*/ 8114301 w 11064076"/>
              <a:gd name="connsiteY58" fmla="*/ 3618230 h 6858001"/>
              <a:gd name="connsiteX59" fmla="*/ 8120315 w 11064076"/>
              <a:gd name="connsiteY59" fmla="*/ 3617913 h 6858001"/>
              <a:gd name="connsiteX60" fmla="*/ 8126329 w 11064076"/>
              <a:gd name="connsiteY60" fmla="*/ 3617595 h 6858001"/>
              <a:gd name="connsiteX61" fmla="*/ 8132343 w 11064076"/>
              <a:gd name="connsiteY61" fmla="*/ 3617913 h 6858001"/>
              <a:gd name="connsiteX62" fmla="*/ 8138023 w 11064076"/>
              <a:gd name="connsiteY62" fmla="*/ 3618230 h 6858001"/>
              <a:gd name="connsiteX63" fmla="*/ 8143702 w 11064076"/>
              <a:gd name="connsiteY63" fmla="*/ 3618865 h 6858001"/>
              <a:gd name="connsiteX64" fmla="*/ 8149716 w 11064076"/>
              <a:gd name="connsiteY64" fmla="*/ 3620135 h 6858001"/>
              <a:gd name="connsiteX65" fmla="*/ 8155396 w 11064076"/>
              <a:gd name="connsiteY65" fmla="*/ 3621405 h 6858001"/>
              <a:gd name="connsiteX66" fmla="*/ 8161410 w 11064076"/>
              <a:gd name="connsiteY66" fmla="*/ 3622675 h 6858001"/>
              <a:gd name="connsiteX67" fmla="*/ 8167089 w 11064076"/>
              <a:gd name="connsiteY67" fmla="*/ 3624898 h 6858001"/>
              <a:gd name="connsiteX68" fmla="*/ 8172769 w 11064076"/>
              <a:gd name="connsiteY68" fmla="*/ 3626803 h 6858001"/>
              <a:gd name="connsiteX69" fmla="*/ 8178115 w 11064076"/>
              <a:gd name="connsiteY69" fmla="*/ 3629343 h 6858001"/>
              <a:gd name="connsiteX70" fmla="*/ 8183460 w 11064076"/>
              <a:gd name="connsiteY70" fmla="*/ 3631883 h 6858001"/>
              <a:gd name="connsiteX71" fmla="*/ 8188806 w 11064076"/>
              <a:gd name="connsiteY71" fmla="*/ 3634740 h 6858001"/>
              <a:gd name="connsiteX72" fmla="*/ 8194151 w 11064076"/>
              <a:gd name="connsiteY72" fmla="*/ 3638233 h 6858001"/>
              <a:gd name="connsiteX73" fmla="*/ 8199163 w 11064076"/>
              <a:gd name="connsiteY73" fmla="*/ 3641725 h 6858001"/>
              <a:gd name="connsiteX74" fmla="*/ 8204175 w 11064076"/>
              <a:gd name="connsiteY74" fmla="*/ 3645218 h 6858001"/>
              <a:gd name="connsiteX75" fmla="*/ 8208852 w 11064076"/>
              <a:gd name="connsiteY75" fmla="*/ 3649345 h 6858001"/>
              <a:gd name="connsiteX76" fmla="*/ 8213529 w 11064076"/>
              <a:gd name="connsiteY76" fmla="*/ 3653790 h 6858001"/>
              <a:gd name="connsiteX77" fmla="*/ 8882399 w 11064076"/>
              <a:gd name="connsiteY77" fmla="*/ 4321810 h 6858001"/>
              <a:gd name="connsiteX78" fmla="*/ 8886742 w 11064076"/>
              <a:gd name="connsiteY78" fmla="*/ 4325938 h 6858001"/>
              <a:gd name="connsiteX79" fmla="*/ 8891420 w 11064076"/>
              <a:gd name="connsiteY79" fmla="*/ 4330065 h 6858001"/>
              <a:gd name="connsiteX80" fmla="*/ 8896765 w 11064076"/>
              <a:gd name="connsiteY80" fmla="*/ 4334193 h 6858001"/>
              <a:gd name="connsiteX81" fmla="*/ 8901443 w 11064076"/>
              <a:gd name="connsiteY81" fmla="*/ 4337685 h 6858001"/>
              <a:gd name="connsiteX82" fmla="*/ 8906788 w 11064076"/>
              <a:gd name="connsiteY82" fmla="*/ 4340860 h 6858001"/>
              <a:gd name="connsiteX83" fmla="*/ 8912134 w 11064076"/>
              <a:gd name="connsiteY83" fmla="*/ 4343718 h 6858001"/>
              <a:gd name="connsiteX84" fmla="*/ 8917480 w 11064076"/>
              <a:gd name="connsiteY84" fmla="*/ 4346575 h 6858001"/>
              <a:gd name="connsiteX85" fmla="*/ 8923159 w 11064076"/>
              <a:gd name="connsiteY85" fmla="*/ 4349115 h 6858001"/>
              <a:gd name="connsiteX86" fmla="*/ 8928505 w 11064076"/>
              <a:gd name="connsiteY86" fmla="*/ 4351020 h 6858001"/>
              <a:gd name="connsiteX87" fmla="*/ 8934185 w 11064076"/>
              <a:gd name="connsiteY87" fmla="*/ 4352608 h 6858001"/>
              <a:gd name="connsiteX88" fmla="*/ 8940198 w 11064076"/>
              <a:gd name="connsiteY88" fmla="*/ 4354513 h 6858001"/>
              <a:gd name="connsiteX89" fmla="*/ 8945878 w 11064076"/>
              <a:gd name="connsiteY89" fmla="*/ 4355465 h 6858001"/>
              <a:gd name="connsiteX90" fmla="*/ 8951892 w 11064076"/>
              <a:gd name="connsiteY90" fmla="*/ 4356418 h 6858001"/>
              <a:gd name="connsiteX91" fmla="*/ 8957572 w 11064076"/>
              <a:gd name="connsiteY91" fmla="*/ 4357053 h 6858001"/>
              <a:gd name="connsiteX92" fmla="*/ 8963585 w 11064076"/>
              <a:gd name="connsiteY92" fmla="*/ 4358005 h 6858001"/>
              <a:gd name="connsiteX93" fmla="*/ 8969265 w 11064076"/>
              <a:gd name="connsiteY93" fmla="*/ 4358005 h 6858001"/>
              <a:gd name="connsiteX94" fmla="*/ 8975279 w 11064076"/>
              <a:gd name="connsiteY94" fmla="*/ 4358005 h 6858001"/>
              <a:gd name="connsiteX95" fmla="*/ 8981293 w 11064076"/>
              <a:gd name="connsiteY95" fmla="*/ 4357053 h 6858001"/>
              <a:gd name="connsiteX96" fmla="*/ 8986972 w 11064076"/>
              <a:gd name="connsiteY96" fmla="*/ 4356418 h 6858001"/>
              <a:gd name="connsiteX97" fmla="*/ 8992986 w 11064076"/>
              <a:gd name="connsiteY97" fmla="*/ 4355465 h 6858001"/>
              <a:gd name="connsiteX98" fmla="*/ 8998666 w 11064076"/>
              <a:gd name="connsiteY98" fmla="*/ 4354513 h 6858001"/>
              <a:gd name="connsiteX99" fmla="*/ 9004680 w 11064076"/>
              <a:gd name="connsiteY99" fmla="*/ 4352608 h 6858001"/>
              <a:gd name="connsiteX100" fmla="*/ 9010025 w 11064076"/>
              <a:gd name="connsiteY100" fmla="*/ 4351020 h 6858001"/>
              <a:gd name="connsiteX101" fmla="*/ 9015705 w 11064076"/>
              <a:gd name="connsiteY101" fmla="*/ 4349115 h 6858001"/>
              <a:gd name="connsiteX102" fmla="*/ 9021385 w 11064076"/>
              <a:gd name="connsiteY102" fmla="*/ 4346575 h 6858001"/>
              <a:gd name="connsiteX103" fmla="*/ 9026730 w 11064076"/>
              <a:gd name="connsiteY103" fmla="*/ 4343718 h 6858001"/>
              <a:gd name="connsiteX104" fmla="*/ 9032076 w 11064076"/>
              <a:gd name="connsiteY104" fmla="*/ 4340860 h 6858001"/>
              <a:gd name="connsiteX105" fmla="*/ 9037088 w 11064076"/>
              <a:gd name="connsiteY105" fmla="*/ 4337685 h 6858001"/>
              <a:gd name="connsiteX106" fmla="*/ 9042099 w 11064076"/>
              <a:gd name="connsiteY106" fmla="*/ 4334193 h 6858001"/>
              <a:gd name="connsiteX107" fmla="*/ 9047445 w 11064076"/>
              <a:gd name="connsiteY107" fmla="*/ 4330065 h 6858001"/>
              <a:gd name="connsiteX108" fmla="*/ 9051788 w 11064076"/>
              <a:gd name="connsiteY108" fmla="*/ 4325938 h 6858001"/>
              <a:gd name="connsiteX109" fmla="*/ 9056465 w 11064076"/>
              <a:gd name="connsiteY109" fmla="*/ 4321810 h 6858001"/>
              <a:gd name="connsiteX110" fmla="*/ 9061143 w 11064076"/>
              <a:gd name="connsiteY110" fmla="*/ 4317048 h 6858001"/>
              <a:gd name="connsiteX111" fmla="*/ 9065152 w 11064076"/>
              <a:gd name="connsiteY111" fmla="*/ 4312285 h 6858001"/>
              <a:gd name="connsiteX112" fmla="*/ 9068827 w 11064076"/>
              <a:gd name="connsiteY112" fmla="*/ 4307523 h 6858001"/>
              <a:gd name="connsiteX113" fmla="*/ 9072168 w 11064076"/>
              <a:gd name="connsiteY113" fmla="*/ 4302443 h 6858001"/>
              <a:gd name="connsiteX114" fmla="*/ 9075509 w 11064076"/>
              <a:gd name="connsiteY114" fmla="*/ 4297363 h 6858001"/>
              <a:gd name="connsiteX115" fmla="*/ 9078516 w 11064076"/>
              <a:gd name="connsiteY115" fmla="*/ 4292283 h 6858001"/>
              <a:gd name="connsiteX116" fmla="*/ 9081189 w 11064076"/>
              <a:gd name="connsiteY116" fmla="*/ 4286568 h 6858001"/>
              <a:gd name="connsiteX117" fmla="*/ 9083528 w 11064076"/>
              <a:gd name="connsiteY117" fmla="*/ 4281170 h 6858001"/>
              <a:gd name="connsiteX118" fmla="*/ 9085532 w 11064076"/>
              <a:gd name="connsiteY118" fmla="*/ 4275455 h 6858001"/>
              <a:gd name="connsiteX119" fmla="*/ 9087537 w 11064076"/>
              <a:gd name="connsiteY119" fmla="*/ 4270058 h 6858001"/>
              <a:gd name="connsiteX120" fmla="*/ 9089207 w 11064076"/>
              <a:gd name="connsiteY120" fmla="*/ 4264025 h 6858001"/>
              <a:gd name="connsiteX121" fmla="*/ 9090544 w 11064076"/>
              <a:gd name="connsiteY121" fmla="*/ 4258310 h 6858001"/>
              <a:gd name="connsiteX122" fmla="*/ 9091546 w 11064076"/>
              <a:gd name="connsiteY122" fmla="*/ 4252595 h 6858001"/>
              <a:gd name="connsiteX123" fmla="*/ 9092214 w 11064076"/>
              <a:gd name="connsiteY123" fmla="*/ 4246563 h 6858001"/>
              <a:gd name="connsiteX124" fmla="*/ 9092548 w 11064076"/>
              <a:gd name="connsiteY124" fmla="*/ 4240848 h 6858001"/>
              <a:gd name="connsiteX125" fmla="*/ 9092548 w 11064076"/>
              <a:gd name="connsiteY125" fmla="*/ 4234815 h 6858001"/>
              <a:gd name="connsiteX126" fmla="*/ 9092548 w 11064076"/>
              <a:gd name="connsiteY126" fmla="*/ 4228783 h 6858001"/>
              <a:gd name="connsiteX127" fmla="*/ 9092214 w 11064076"/>
              <a:gd name="connsiteY127" fmla="*/ 4223068 h 6858001"/>
              <a:gd name="connsiteX128" fmla="*/ 9091546 w 11064076"/>
              <a:gd name="connsiteY128" fmla="*/ 4217353 h 6858001"/>
              <a:gd name="connsiteX129" fmla="*/ 9090544 w 11064076"/>
              <a:gd name="connsiteY129" fmla="*/ 4211320 h 6858001"/>
              <a:gd name="connsiteX130" fmla="*/ 9089207 w 11064076"/>
              <a:gd name="connsiteY130" fmla="*/ 4205605 h 6858001"/>
              <a:gd name="connsiteX131" fmla="*/ 9087537 w 11064076"/>
              <a:gd name="connsiteY131" fmla="*/ 4199890 h 6858001"/>
              <a:gd name="connsiteX132" fmla="*/ 9085532 w 11064076"/>
              <a:gd name="connsiteY132" fmla="*/ 4194175 h 6858001"/>
              <a:gd name="connsiteX133" fmla="*/ 9083528 w 11064076"/>
              <a:gd name="connsiteY133" fmla="*/ 4188460 h 6858001"/>
              <a:gd name="connsiteX134" fmla="*/ 9081189 w 11064076"/>
              <a:gd name="connsiteY134" fmla="*/ 4183063 h 6858001"/>
              <a:gd name="connsiteX135" fmla="*/ 9078516 w 11064076"/>
              <a:gd name="connsiteY135" fmla="*/ 4177665 h 6858001"/>
              <a:gd name="connsiteX136" fmla="*/ 9075509 w 11064076"/>
              <a:gd name="connsiteY136" fmla="*/ 4172268 h 6858001"/>
              <a:gd name="connsiteX137" fmla="*/ 9072168 w 11064076"/>
              <a:gd name="connsiteY137" fmla="*/ 4166870 h 6858001"/>
              <a:gd name="connsiteX138" fmla="*/ 9068827 w 11064076"/>
              <a:gd name="connsiteY138" fmla="*/ 4161790 h 6858001"/>
              <a:gd name="connsiteX139" fmla="*/ 9065152 w 11064076"/>
              <a:gd name="connsiteY139" fmla="*/ 4157028 h 6858001"/>
              <a:gd name="connsiteX140" fmla="*/ 9061143 w 11064076"/>
              <a:gd name="connsiteY140" fmla="*/ 4152265 h 6858001"/>
              <a:gd name="connsiteX141" fmla="*/ 9056465 w 11064076"/>
              <a:gd name="connsiteY141" fmla="*/ 4147820 h 6858001"/>
              <a:gd name="connsiteX142" fmla="*/ 8669577 w 11064076"/>
              <a:gd name="connsiteY142" fmla="*/ 3761423 h 6858001"/>
              <a:gd name="connsiteX143" fmla="*/ 8473460 w 11064076"/>
              <a:gd name="connsiteY143" fmla="*/ 3565208 h 6858001"/>
              <a:gd name="connsiteX144" fmla="*/ 8468782 w 11064076"/>
              <a:gd name="connsiteY144" fmla="*/ 3560445 h 6858001"/>
              <a:gd name="connsiteX145" fmla="*/ 8464773 w 11064076"/>
              <a:gd name="connsiteY145" fmla="*/ 3555683 h 6858001"/>
              <a:gd name="connsiteX146" fmla="*/ 8461098 w 11064076"/>
              <a:gd name="connsiteY146" fmla="*/ 3550920 h 6858001"/>
              <a:gd name="connsiteX147" fmla="*/ 8457423 w 11064076"/>
              <a:gd name="connsiteY147" fmla="*/ 3545840 h 6858001"/>
              <a:gd name="connsiteX148" fmla="*/ 8454082 w 11064076"/>
              <a:gd name="connsiteY148" fmla="*/ 3540760 h 6858001"/>
              <a:gd name="connsiteX149" fmla="*/ 8451409 w 11064076"/>
              <a:gd name="connsiteY149" fmla="*/ 3535680 h 6858001"/>
              <a:gd name="connsiteX150" fmla="*/ 8448736 w 11064076"/>
              <a:gd name="connsiteY150" fmla="*/ 3529965 h 6858001"/>
              <a:gd name="connsiteX151" fmla="*/ 8446398 w 11064076"/>
              <a:gd name="connsiteY151" fmla="*/ 3524568 h 6858001"/>
              <a:gd name="connsiteX152" fmla="*/ 8444059 w 11064076"/>
              <a:gd name="connsiteY152" fmla="*/ 3518853 h 6858001"/>
              <a:gd name="connsiteX153" fmla="*/ 8442054 w 11064076"/>
              <a:gd name="connsiteY153" fmla="*/ 3513455 h 6858001"/>
              <a:gd name="connsiteX154" fmla="*/ 8440718 w 11064076"/>
              <a:gd name="connsiteY154" fmla="*/ 3507423 h 6858001"/>
              <a:gd name="connsiteX155" fmla="*/ 8439382 w 11064076"/>
              <a:gd name="connsiteY155" fmla="*/ 3501708 h 6858001"/>
              <a:gd name="connsiteX156" fmla="*/ 8438379 w 11064076"/>
              <a:gd name="connsiteY156" fmla="*/ 3495993 h 6858001"/>
              <a:gd name="connsiteX157" fmla="*/ 8437711 w 11064076"/>
              <a:gd name="connsiteY157" fmla="*/ 3489960 h 6858001"/>
              <a:gd name="connsiteX158" fmla="*/ 8437377 w 11064076"/>
              <a:gd name="connsiteY158" fmla="*/ 3484245 h 6858001"/>
              <a:gd name="connsiteX159" fmla="*/ 8437043 w 11064076"/>
              <a:gd name="connsiteY159" fmla="*/ 3478213 h 6858001"/>
              <a:gd name="connsiteX160" fmla="*/ 8437377 w 11064076"/>
              <a:gd name="connsiteY160" fmla="*/ 3472180 h 6858001"/>
              <a:gd name="connsiteX161" fmla="*/ 8437711 w 11064076"/>
              <a:gd name="connsiteY161" fmla="*/ 3466465 h 6858001"/>
              <a:gd name="connsiteX162" fmla="*/ 8438379 w 11064076"/>
              <a:gd name="connsiteY162" fmla="*/ 3460750 h 6858001"/>
              <a:gd name="connsiteX163" fmla="*/ 8439382 w 11064076"/>
              <a:gd name="connsiteY163" fmla="*/ 3454718 h 6858001"/>
              <a:gd name="connsiteX164" fmla="*/ 8440718 w 11064076"/>
              <a:gd name="connsiteY164" fmla="*/ 3449003 h 6858001"/>
              <a:gd name="connsiteX165" fmla="*/ 8442054 w 11064076"/>
              <a:gd name="connsiteY165" fmla="*/ 3443288 h 6858001"/>
              <a:gd name="connsiteX166" fmla="*/ 8444059 w 11064076"/>
              <a:gd name="connsiteY166" fmla="*/ 3437255 h 6858001"/>
              <a:gd name="connsiteX167" fmla="*/ 8446398 w 11064076"/>
              <a:gd name="connsiteY167" fmla="*/ 3431858 h 6858001"/>
              <a:gd name="connsiteX168" fmla="*/ 8448736 w 11064076"/>
              <a:gd name="connsiteY168" fmla="*/ 3426460 h 6858001"/>
              <a:gd name="connsiteX169" fmla="*/ 8451409 w 11064076"/>
              <a:gd name="connsiteY169" fmla="*/ 3421063 h 6858001"/>
              <a:gd name="connsiteX170" fmla="*/ 8454082 w 11064076"/>
              <a:gd name="connsiteY170" fmla="*/ 3415348 h 6858001"/>
              <a:gd name="connsiteX171" fmla="*/ 8457423 w 11064076"/>
              <a:gd name="connsiteY171" fmla="*/ 3410268 h 6858001"/>
              <a:gd name="connsiteX172" fmla="*/ 8461098 w 11064076"/>
              <a:gd name="connsiteY172" fmla="*/ 3405505 h 6858001"/>
              <a:gd name="connsiteX173" fmla="*/ 8464773 w 11064076"/>
              <a:gd name="connsiteY173" fmla="*/ 3400425 h 6858001"/>
              <a:gd name="connsiteX174" fmla="*/ 8468782 w 11064076"/>
              <a:gd name="connsiteY174" fmla="*/ 3395663 h 6858001"/>
              <a:gd name="connsiteX175" fmla="*/ 8473460 w 11064076"/>
              <a:gd name="connsiteY175" fmla="*/ 3391218 h 6858001"/>
              <a:gd name="connsiteX176" fmla="*/ 8477803 w 11064076"/>
              <a:gd name="connsiteY176" fmla="*/ 3386773 h 6858001"/>
              <a:gd name="connsiteX177" fmla="*/ 8482481 w 11064076"/>
              <a:gd name="connsiteY177" fmla="*/ 3382645 h 6858001"/>
              <a:gd name="connsiteX178" fmla="*/ 8487826 w 11064076"/>
              <a:gd name="connsiteY178" fmla="*/ 3378835 h 6858001"/>
              <a:gd name="connsiteX179" fmla="*/ 8492504 w 11064076"/>
              <a:gd name="connsiteY179" fmla="*/ 3375343 h 6858001"/>
              <a:gd name="connsiteX180" fmla="*/ 8497515 w 11064076"/>
              <a:gd name="connsiteY180" fmla="*/ 3372168 h 6858001"/>
              <a:gd name="connsiteX181" fmla="*/ 8503195 w 11064076"/>
              <a:gd name="connsiteY181" fmla="*/ 3369310 h 6858001"/>
              <a:gd name="connsiteX182" fmla="*/ 8508540 w 11064076"/>
              <a:gd name="connsiteY182" fmla="*/ 3366453 h 6858001"/>
              <a:gd name="connsiteX183" fmla="*/ 8514220 w 11064076"/>
              <a:gd name="connsiteY183" fmla="*/ 3364230 h 6858001"/>
              <a:gd name="connsiteX184" fmla="*/ 8519566 w 11064076"/>
              <a:gd name="connsiteY184" fmla="*/ 3362008 h 6858001"/>
              <a:gd name="connsiteX185" fmla="*/ 8525245 w 11064076"/>
              <a:gd name="connsiteY185" fmla="*/ 3360103 h 6858001"/>
              <a:gd name="connsiteX186" fmla="*/ 8531259 w 11064076"/>
              <a:gd name="connsiteY186" fmla="*/ 3358833 h 6858001"/>
              <a:gd name="connsiteX187" fmla="*/ 8536939 w 11064076"/>
              <a:gd name="connsiteY187" fmla="*/ 3357245 h 6858001"/>
              <a:gd name="connsiteX188" fmla="*/ 8542953 w 11064076"/>
              <a:gd name="connsiteY188" fmla="*/ 3356293 h 6858001"/>
              <a:gd name="connsiteX189" fmla="*/ 8548632 w 11064076"/>
              <a:gd name="connsiteY189" fmla="*/ 3355658 h 6858001"/>
              <a:gd name="connsiteX190" fmla="*/ 8554646 w 11064076"/>
              <a:gd name="connsiteY190" fmla="*/ 3355340 h 6858001"/>
              <a:gd name="connsiteX191" fmla="*/ 8560326 w 11064076"/>
              <a:gd name="connsiteY191" fmla="*/ 3355023 h 6858001"/>
              <a:gd name="connsiteX192" fmla="*/ 8566340 w 11064076"/>
              <a:gd name="connsiteY192" fmla="*/ 3355340 h 6858001"/>
              <a:gd name="connsiteX193" fmla="*/ 8572354 w 11064076"/>
              <a:gd name="connsiteY193" fmla="*/ 3355658 h 6858001"/>
              <a:gd name="connsiteX194" fmla="*/ 8578033 w 11064076"/>
              <a:gd name="connsiteY194" fmla="*/ 3356293 h 6858001"/>
              <a:gd name="connsiteX195" fmla="*/ 8584047 w 11064076"/>
              <a:gd name="connsiteY195" fmla="*/ 3357245 h 6858001"/>
              <a:gd name="connsiteX196" fmla="*/ 8589727 w 11064076"/>
              <a:gd name="connsiteY196" fmla="*/ 3358833 h 6858001"/>
              <a:gd name="connsiteX197" fmla="*/ 8595741 w 11064076"/>
              <a:gd name="connsiteY197" fmla="*/ 3360103 h 6858001"/>
              <a:gd name="connsiteX198" fmla="*/ 8601086 w 11064076"/>
              <a:gd name="connsiteY198" fmla="*/ 3362008 h 6858001"/>
              <a:gd name="connsiteX199" fmla="*/ 8606766 w 11064076"/>
              <a:gd name="connsiteY199" fmla="*/ 3364230 h 6858001"/>
              <a:gd name="connsiteX200" fmla="*/ 8612446 w 11064076"/>
              <a:gd name="connsiteY200" fmla="*/ 3366453 h 6858001"/>
              <a:gd name="connsiteX201" fmla="*/ 8617791 w 11064076"/>
              <a:gd name="connsiteY201" fmla="*/ 3369310 h 6858001"/>
              <a:gd name="connsiteX202" fmla="*/ 8623137 w 11064076"/>
              <a:gd name="connsiteY202" fmla="*/ 3372168 h 6858001"/>
              <a:gd name="connsiteX203" fmla="*/ 8628148 w 11064076"/>
              <a:gd name="connsiteY203" fmla="*/ 3375343 h 6858001"/>
              <a:gd name="connsiteX204" fmla="*/ 8633160 w 11064076"/>
              <a:gd name="connsiteY204" fmla="*/ 3378835 h 6858001"/>
              <a:gd name="connsiteX205" fmla="*/ 8638171 w 11064076"/>
              <a:gd name="connsiteY205" fmla="*/ 3382645 h 6858001"/>
              <a:gd name="connsiteX206" fmla="*/ 8642849 w 11064076"/>
              <a:gd name="connsiteY206" fmla="*/ 3386773 h 6858001"/>
              <a:gd name="connsiteX207" fmla="*/ 8647526 w 11064076"/>
              <a:gd name="connsiteY207" fmla="*/ 3391218 h 6858001"/>
              <a:gd name="connsiteX208" fmla="*/ 8855003 w 11064076"/>
              <a:gd name="connsiteY208" fmla="*/ 3598228 h 6858001"/>
              <a:gd name="connsiteX209" fmla="*/ 8859346 w 11064076"/>
              <a:gd name="connsiteY209" fmla="*/ 3602673 h 6858001"/>
              <a:gd name="connsiteX210" fmla="*/ 8864023 w 11064076"/>
              <a:gd name="connsiteY210" fmla="*/ 3606800 h 6858001"/>
              <a:gd name="connsiteX211" fmla="*/ 8869369 w 11064076"/>
              <a:gd name="connsiteY211" fmla="*/ 3610610 h 6858001"/>
              <a:gd name="connsiteX212" fmla="*/ 8874046 w 11064076"/>
              <a:gd name="connsiteY212" fmla="*/ 3613785 h 6858001"/>
              <a:gd name="connsiteX213" fmla="*/ 8879392 w 11064076"/>
              <a:gd name="connsiteY213" fmla="*/ 3617278 h 6858001"/>
              <a:gd name="connsiteX214" fmla="*/ 8884738 w 11064076"/>
              <a:gd name="connsiteY214" fmla="*/ 3620135 h 6858001"/>
              <a:gd name="connsiteX215" fmla="*/ 8890083 w 11064076"/>
              <a:gd name="connsiteY215" fmla="*/ 3622675 h 6858001"/>
              <a:gd name="connsiteX216" fmla="*/ 8895763 w 11064076"/>
              <a:gd name="connsiteY216" fmla="*/ 3625215 h 6858001"/>
              <a:gd name="connsiteX217" fmla="*/ 8901109 w 11064076"/>
              <a:gd name="connsiteY217" fmla="*/ 3627120 h 6858001"/>
              <a:gd name="connsiteX218" fmla="*/ 8906788 w 11064076"/>
              <a:gd name="connsiteY218" fmla="*/ 3629343 h 6858001"/>
              <a:gd name="connsiteX219" fmla="*/ 8912802 w 11064076"/>
              <a:gd name="connsiteY219" fmla="*/ 3630613 h 6858001"/>
              <a:gd name="connsiteX220" fmla="*/ 8918482 w 11064076"/>
              <a:gd name="connsiteY220" fmla="*/ 3631883 h 6858001"/>
              <a:gd name="connsiteX221" fmla="*/ 8924496 w 11064076"/>
              <a:gd name="connsiteY221" fmla="*/ 3633153 h 6858001"/>
              <a:gd name="connsiteX222" fmla="*/ 8930175 w 11064076"/>
              <a:gd name="connsiteY222" fmla="*/ 3633788 h 6858001"/>
              <a:gd name="connsiteX223" fmla="*/ 8936189 w 11064076"/>
              <a:gd name="connsiteY223" fmla="*/ 3634105 h 6858001"/>
              <a:gd name="connsiteX224" fmla="*/ 8941869 w 11064076"/>
              <a:gd name="connsiteY224" fmla="*/ 3634105 h 6858001"/>
              <a:gd name="connsiteX225" fmla="*/ 8947883 w 11064076"/>
              <a:gd name="connsiteY225" fmla="*/ 3634105 h 6858001"/>
              <a:gd name="connsiteX226" fmla="*/ 8953897 w 11064076"/>
              <a:gd name="connsiteY226" fmla="*/ 3633788 h 6858001"/>
              <a:gd name="connsiteX227" fmla="*/ 8959576 w 11064076"/>
              <a:gd name="connsiteY227" fmla="*/ 3633153 h 6858001"/>
              <a:gd name="connsiteX228" fmla="*/ 8965590 w 11064076"/>
              <a:gd name="connsiteY228" fmla="*/ 3631883 h 6858001"/>
              <a:gd name="connsiteX229" fmla="*/ 8971270 w 11064076"/>
              <a:gd name="connsiteY229" fmla="*/ 3630613 h 6858001"/>
              <a:gd name="connsiteX230" fmla="*/ 8977284 w 11064076"/>
              <a:gd name="connsiteY230" fmla="*/ 3629343 h 6858001"/>
              <a:gd name="connsiteX231" fmla="*/ 8982629 w 11064076"/>
              <a:gd name="connsiteY231" fmla="*/ 3627120 h 6858001"/>
              <a:gd name="connsiteX232" fmla="*/ 8988309 w 11064076"/>
              <a:gd name="connsiteY232" fmla="*/ 3625215 h 6858001"/>
              <a:gd name="connsiteX233" fmla="*/ 8993989 w 11064076"/>
              <a:gd name="connsiteY233" fmla="*/ 3622675 h 6858001"/>
              <a:gd name="connsiteX234" fmla="*/ 8999334 w 11064076"/>
              <a:gd name="connsiteY234" fmla="*/ 3620135 h 6858001"/>
              <a:gd name="connsiteX235" fmla="*/ 9004680 w 11064076"/>
              <a:gd name="connsiteY235" fmla="*/ 3617278 h 6858001"/>
              <a:gd name="connsiteX236" fmla="*/ 9009691 w 11064076"/>
              <a:gd name="connsiteY236" fmla="*/ 3613785 h 6858001"/>
              <a:gd name="connsiteX237" fmla="*/ 9014703 w 11064076"/>
              <a:gd name="connsiteY237" fmla="*/ 3610610 h 6858001"/>
              <a:gd name="connsiteX238" fmla="*/ 9020048 w 11064076"/>
              <a:gd name="connsiteY238" fmla="*/ 3606800 h 6858001"/>
              <a:gd name="connsiteX239" fmla="*/ 9024392 w 11064076"/>
              <a:gd name="connsiteY239" fmla="*/ 3602673 h 6858001"/>
              <a:gd name="connsiteX240" fmla="*/ 9029069 w 11064076"/>
              <a:gd name="connsiteY240" fmla="*/ 3598228 h 6858001"/>
              <a:gd name="connsiteX241" fmla="*/ 9033747 w 11064076"/>
              <a:gd name="connsiteY241" fmla="*/ 3593783 h 6858001"/>
              <a:gd name="connsiteX242" fmla="*/ 9037756 w 11064076"/>
              <a:gd name="connsiteY242" fmla="*/ 3589020 h 6858001"/>
              <a:gd name="connsiteX243" fmla="*/ 9041431 w 11064076"/>
              <a:gd name="connsiteY243" fmla="*/ 3583940 h 6858001"/>
              <a:gd name="connsiteX244" fmla="*/ 9044772 w 11064076"/>
              <a:gd name="connsiteY244" fmla="*/ 3578860 h 6858001"/>
              <a:gd name="connsiteX245" fmla="*/ 9048113 w 11064076"/>
              <a:gd name="connsiteY245" fmla="*/ 3573463 h 6858001"/>
              <a:gd name="connsiteX246" fmla="*/ 9051120 w 11064076"/>
              <a:gd name="connsiteY246" fmla="*/ 3568383 h 6858001"/>
              <a:gd name="connsiteX247" fmla="*/ 9053793 w 11064076"/>
              <a:gd name="connsiteY247" fmla="*/ 3562985 h 6858001"/>
              <a:gd name="connsiteX248" fmla="*/ 9056131 w 11064076"/>
              <a:gd name="connsiteY248" fmla="*/ 3557588 h 6858001"/>
              <a:gd name="connsiteX249" fmla="*/ 9058136 w 11064076"/>
              <a:gd name="connsiteY249" fmla="*/ 3551873 h 6858001"/>
              <a:gd name="connsiteX250" fmla="*/ 9060141 w 11064076"/>
              <a:gd name="connsiteY250" fmla="*/ 3546158 h 6858001"/>
              <a:gd name="connsiteX251" fmla="*/ 9061811 w 11064076"/>
              <a:gd name="connsiteY251" fmla="*/ 3540443 h 6858001"/>
              <a:gd name="connsiteX252" fmla="*/ 9063147 w 11064076"/>
              <a:gd name="connsiteY252" fmla="*/ 3534410 h 6858001"/>
              <a:gd name="connsiteX253" fmla="*/ 9064150 w 11064076"/>
              <a:gd name="connsiteY253" fmla="*/ 3528695 h 6858001"/>
              <a:gd name="connsiteX254" fmla="*/ 9064818 w 11064076"/>
              <a:gd name="connsiteY254" fmla="*/ 3522980 h 6858001"/>
              <a:gd name="connsiteX255" fmla="*/ 9065152 w 11064076"/>
              <a:gd name="connsiteY255" fmla="*/ 3516948 h 6858001"/>
              <a:gd name="connsiteX256" fmla="*/ 9065152 w 11064076"/>
              <a:gd name="connsiteY256" fmla="*/ 3511233 h 6858001"/>
              <a:gd name="connsiteX257" fmla="*/ 9065152 w 11064076"/>
              <a:gd name="connsiteY257" fmla="*/ 3505200 h 6858001"/>
              <a:gd name="connsiteX258" fmla="*/ 9064818 w 11064076"/>
              <a:gd name="connsiteY258" fmla="*/ 3499168 h 6858001"/>
              <a:gd name="connsiteX259" fmla="*/ 9064150 w 11064076"/>
              <a:gd name="connsiteY259" fmla="*/ 3493453 h 6858001"/>
              <a:gd name="connsiteX260" fmla="*/ 9063147 w 11064076"/>
              <a:gd name="connsiteY260" fmla="*/ 3487738 h 6858001"/>
              <a:gd name="connsiteX261" fmla="*/ 9061811 w 11064076"/>
              <a:gd name="connsiteY261" fmla="*/ 3481705 h 6858001"/>
              <a:gd name="connsiteX262" fmla="*/ 9060141 w 11064076"/>
              <a:gd name="connsiteY262" fmla="*/ 3475990 h 6858001"/>
              <a:gd name="connsiteX263" fmla="*/ 9058136 w 11064076"/>
              <a:gd name="connsiteY263" fmla="*/ 3470593 h 6858001"/>
              <a:gd name="connsiteX264" fmla="*/ 9056131 w 11064076"/>
              <a:gd name="connsiteY264" fmla="*/ 3464878 h 6858001"/>
              <a:gd name="connsiteX265" fmla="*/ 9053793 w 11064076"/>
              <a:gd name="connsiteY265" fmla="*/ 3459163 h 6858001"/>
              <a:gd name="connsiteX266" fmla="*/ 9051120 w 11064076"/>
              <a:gd name="connsiteY266" fmla="*/ 3453765 h 6858001"/>
              <a:gd name="connsiteX267" fmla="*/ 9048113 w 11064076"/>
              <a:gd name="connsiteY267" fmla="*/ 3448685 h 6858001"/>
              <a:gd name="connsiteX268" fmla="*/ 9044772 w 11064076"/>
              <a:gd name="connsiteY268" fmla="*/ 3443605 h 6858001"/>
              <a:gd name="connsiteX269" fmla="*/ 9041431 w 11064076"/>
              <a:gd name="connsiteY269" fmla="*/ 3438525 h 6858001"/>
              <a:gd name="connsiteX270" fmla="*/ 9037756 w 11064076"/>
              <a:gd name="connsiteY270" fmla="*/ 3433763 h 6858001"/>
              <a:gd name="connsiteX271" fmla="*/ 9033747 w 11064076"/>
              <a:gd name="connsiteY271" fmla="*/ 3428683 h 6858001"/>
              <a:gd name="connsiteX272" fmla="*/ 9029069 w 11064076"/>
              <a:gd name="connsiteY272" fmla="*/ 3423920 h 6858001"/>
              <a:gd name="connsiteX273" fmla="*/ 8360534 w 11064076"/>
              <a:gd name="connsiteY273" fmla="*/ 2756218 h 6858001"/>
              <a:gd name="connsiteX274" fmla="*/ 8357193 w 11064076"/>
              <a:gd name="connsiteY274" fmla="*/ 2753043 h 6858001"/>
              <a:gd name="connsiteX275" fmla="*/ 8353852 w 11064076"/>
              <a:gd name="connsiteY275" fmla="*/ 2749233 h 6858001"/>
              <a:gd name="connsiteX276" fmla="*/ 8347504 w 11064076"/>
              <a:gd name="connsiteY276" fmla="*/ 2741295 h 6858001"/>
              <a:gd name="connsiteX277" fmla="*/ 8342492 w 11064076"/>
              <a:gd name="connsiteY277" fmla="*/ 2733040 h 6858001"/>
              <a:gd name="connsiteX278" fmla="*/ 8337815 w 11064076"/>
              <a:gd name="connsiteY278" fmla="*/ 2724468 h 6858001"/>
              <a:gd name="connsiteX279" fmla="*/ 8333471 w 11064076"/>
              <a:gd name="connsiteY279" fmla="*/ 2715895 h 6858001"/>
              <a:gd name="connsiteX280" fmla="*/ 8330465 w 11064076"/>
              <a:gd name="connsiteY280" fmla="*/ 2707005 h 6858001"/>
              <a:gd name="connsiteX281" fmla="*/ 8328126 w 11064076"/>
              <a:gd name="connsiteY281" fmla="*/ 2697798 h 6858001"/>
              <a:gd name="connsiteX282" fmla="*/ 8326121 w 11064076"/>
              <a:gd name="connsiteY282" fmla="*/ 2688590 h 6858001"/>
              <a:gd name="connsiteX283" fmla="*/ 5629596 w 11064076"/>
              <a:gd name="connsiteY283" fmla="*/ 0 h 6858001"/>
              <a:gd name="connsiteX0" fmla="*/ 5629596 w 11064076"/>
              <a:gd name="connsiteY0" fmla="*/ 0 h 6858001"/>
              <a:gd name="connsiteX1" fmla="*/ 0 w 11064076"/>
              <a:gd name="connsiteY1" fmla="*/ 0 h 6858001"/>
              <a:gd name="connsiteX2" fmla="*/ 0 w 11064076"/>
              <a:gd name="connsiteY2" fmla="*/ 6858000 h 6858001"/>
              <a:gd name="connsiteX3" fmla="*/ 10123449 w 11064076"/>
              <a:gd name="connsiteY3" fmla="*/ 6858000 h 6858001"/>
              <a:gd name="connsiteX4" fmla="*/ 10581615 w 11064076"/>
              <a:gd name="connsiteY4" fmla="*/ 6858001 h 6858001"/>
              <a:gd name="connsiteX5" fmla="*/ 11064076 w 11064076"/>
              <a:gd name="connsiteY5" fmla="*/ 6858000 h 6858001"/>
              <a:gd name="connsiteX6" fmla="*/ 9033747 w 11064076"/>
              <a:gd name="connsiteY6" fmla="*/ 4816793 h 6858001"/>
              <a:gd name="connsiteX7" fmla="*/ 9018378 w 11064076"/>
              <a:gd name="connsiteY7" fmla="*/ 4803458 h 6858001"/>
              <a:gd name="connsiteX8" fmla="*/ 9003009 w 11064076"/>
              <a:gd name="connsiteY8" fmla="*/ 4789488 h 6858001"/>
              <a:gd name="connsiteX9" fmla="*/ 8987975 w 11064076"/>
              <a:gd name="connsiteY9" fmla="*/ 4775518 h 6858001"/>
              <a:gd name="connsiteX10" fmla="*/ 8973274 w 11064076"/>
              <a:gd name="connsiteY10" fmla="*/ 4760913 h 6858001"/>
              <a:gd name="connsiteX11" fmla="*/ 8039129 w 11064076"/>
              <a:gd name="connsiteY11" fmla="*/ 3828098 h 6858001"/>
              <a:gd name="connsiteX12" fmla="*/ 8034451 w 11064076"/>
              <a:gd name="connsiteY12" fmla="*/ 3823335 h 6858001"/>
              <a:gd name="connsiteX13" fmla="*/ 8030443 w 11064076"/>
              <a:gd name="connsiteY13" fmla="*/ 3818573 h 6858001"/>
              <a:gd name="connsiteX14" fmla="*/ 8026767 w 11064076"/>
              <a:gd name="connsiteY14" fmla="*/ 3813493 h 6858001"/>
              <a:gd name="connsiteX15" fmla="*/ 8023426 w 11064076"/>
              <a:gd name="connsiteY15" fmla="*/ 3808413 h 6858001"/>
              <a:gd name="connsiteX16" fmla="*/ 8020086 w 11064076"/>
              <a:gd name="connsiteY16" fmla="*/ 3803333 h 6858001"/>
              <a:gd name="connsiteX17" fmla="*/ 8017079 w 11064076"/>
              <a:gd name="connsiteY17" fmla="*/ 3798253 h 6858001"/>
              <a:gd name="connsiteX18" fmla="*/ 8014406 w 11064076"/>
              <a:gd name="connsiteY18" fmla="*/ 3792855 h 6858001"/>
              <a:gd name="connsiteX19" fmla="*/ 8012067 w 11064076"/>
              <a:gd name="connsiteY19" fmla="*/ 3787458 h 6858001"/>
              <a:gd name="connsiteX20" fmla="*/ 8010062 w 11064076"/>
              <a:gd name="connsiteY20" fmla="*/ 3781425 h 6858001"/>
              <a:gd name="connsiteX21" fmla="*/ 8008392 w 11064076"/>
              <a:gd name="connsiteY21" fmla="*/ 3776028 h 6858001"/>
              <a:gd name="connsiteX22" fmla="*/ 8006387 w 11064076"/>
              <a:gd name="connsiteY22" fmla="*/ 3770313 h 6858001"/>
              <a:gd name="connsiteX23" fmla="*/ 8005051 w 11064076"/>
              <a:gd name="connsiteY23" fmla="*/ 3764280 h 6858001"/>
              <a:gd name="connsiteX24" fmla="*/ 8004049 w 11064076"/>
              <a:gd name="connsiteY24" fmla="*/ 3758565 h 6858001"/>
              <a:gd name="connsiteX25" fmla="*/ 8003380 w 11064076"/>
              <a:gd name="connsiteY25" fmla="*/ 3752850 h 6858001"/>
              <a:gd name="connsiteX26" fmla="*/ 8003046 w 11064076"/>
              <a:gd name="connsiteY26" fmla="*/ 3746818 h 6858001"/>
              <a:gd name="connsiteX27" fmla="*/ 8003046 w 11064076"/>
              <a:gd name="connsiteY27" fmla="*/ 3740785 h 6858001"/>
              <a:gd name="connsiteX28" fmla="*/ 8003046 w 11064076"/>
              <a:gd name="connsiteY28" fmla="*/ 3735070 h 6858001"/>
              <a:gd name="connsiteX29" fmla="*/ 8003380 w 11064076"/>
              <a:gd name="connsiteY29" fmla="*/ 3729038 h 6858001"/>
              <a:gd name="connsiteX30" fmla="*/ 8004049 w 11064076"/>
              <a:gd name="connsiteY30" fmla="*/ 3723323 h 6858001"/>
              <a:gd name="connsiteX31" fmla="*/ 8005051 w 11064076"/>
              <a:gd name="connsiteY31" fmla="*/ 3717608 h 6858001"/>
              <a:gd name="connsiteX32" fmla="*/ 8006387 w 11064076"/>
              <a:gd name="connsiteY32" fmla="*/ 3711575 h 6858001"/>
              <a:gd name="connsiteX33" fmla="*/ 8008392 w 11064076"/>
              <a:gd name="connsiteY33" fmla="*/ 3705860 h 6858001"/>
              <a:gd name="connsiteX34" fmla="*/ 8010062 w 11064076"/>
              <a:gd name="connsiteY34" fmla="*/ 3700145 h 6858001"/>
              <a:gd name="connsiteX35" fmla="*/ 8012067 w 11064076"/>
              <a:gd name="connsiteY35" fmla="*/ 3694748 h 6858001"/>
              <a:gd name="connsiteX36" fmla="*/ 8014406 w 11064076"/>
              <a:gd name="connsiteY36" fmla="*/ 3689033 h 6858001"/>
              <a:gd name="connsiteX37" fmla="*/ 8017079 w 11064076"/>
              <a:gd name="connsiteY37" fmla="*/ 3683635 h 6858001"/>
              <a:gd name="connsiteX38" fmla="*/ 8020086 w 11064076"/>
              <a:gd name="connsiteY38" fmla="*/ 3678238 h 6858001"/>
              <a:gd name="connsiteX39" fmla="*/ 8023426 w 11064076"/>
              <a:gd name="connsiteY39" fmla="*/ 3673158 h 6858001"/>
              <a:gd name="connsiteX40" fmla="*/ 8026767 w 11064076"/>
              <a:gd name="connsiteY40" fmla="*/ 3668078 h 6858001"/>
              <a:gd name="connsiteX41" fmla="*/ 8030443 w 11064076"/>
              <a:gd name="connsiteY41" fmla="*/ 3662998 h 6858001"/>
              <a:gd name="connsiteX42" fmla="*/ 8034451 w 11064076"/>
              <a:gd name="connsiteY42" fmla="*/ 3658235 h 6858001"/>
              <a:gd name="connsiteX43" fmla="*/ 8039129 w 11064076"/>
              <a:gd name="connsiteY43" fmla="*/ 3653790 h 6858001"/>
              <a:gd name="connsiteX44" fmla="*/ 8043807 w 11064076"/>
              <a:gd name="connsiteY44" fmla="*/ 3649345 h 6858001"/>
              <a:gd name="connsiteX45" fmla="*/ 8048149 w 11064076"/>
              <a:gd name="connsiteY45" fmla="*/ 3645218 h 6858001"/>
              <a:gd name="connsiteX46" fmla="*/ 8053495 w 11064076"/>
              <a:gd name="connsiteY46" fmla="*/ 3641725 h 6858001"/>
              <a:gd name="connsiteX47" fmla="*/ 8058507 w 11064076"/>
              <a:gd name="connsiteY47" fmla="*/ 3638233 h 6858001"/>
              <a:gd name="connsiteX48" fmla="*/ 8063852 w 11064076"/>
              <a:gd name="connsiteY48" fmla="*/ 3634740 h 6858001"/>
              <a:gd name="connsiteX49" fmla="*/ 8068864 w 11064076"/>
              <a:gd name="connsiteY49" fmla="*/ 3631883 h 6858001"/>
              <a:gd name="connsiteX50" fmla="*/ 8074209 w 11064076"/>
              <a:gd name="connsiteY50" fmla="*/ 3629343 h 6858001"/>
              <a:gd name="connsiteX51" fmla="*/ 8079889 w 11064076"/>
              <a:gd name="connsiteY51" fmla="*/ 3626803 h 6858001"/>
              <a:gd name="connsiteX52" fmla="*/ 8085569 w 11064076"/>
              <a:gd name="connsiteY52" fmla="*/ 3624898 h 6858001"/>
              <a:gd name="connsiteX53" fmla="*/ 8091248 w 11064076"/>
              <a:gd name="connsiteY53" fmla="*/ 3622675 h 6858001"/>
              <a:gd name="connsiteX54" fmla="*/ 8096928 w 11064076"/>
              <a:gd name="connsiteY54" fmla="*/ 3621405 h 6858001"/>
              <a:gd name="connsiteX55" fmla="*/ 8102608 w 11064076"/>
              <a:gd name="connsiteY55" fmla="*/ 3620135 h 6858001"/>
              <a:gd name="connsiteX56" fmla="*/ 8108622 w 11064076"/>
              <a:gd name="connsiteY56" fmla="*/ 3618865 h 6858001"/>
              <a:gd name="connsiteX57" fmla="*/ 8114301 w 11064076"/>
              <a:gd name="connsiteY57" fmla="*/ 3618230 h 6858001"/>
              <a:gd name="connsiteX58" fmla="*/ 8120315 w 11064076"/>
              <a:gd name="connsiteY58" fmla="*/ 3617913 h 6858001"/>
              <a:gd name="connsiteX59" fmla="*/ 8126329 w 11064076"/>
              <a:gd name="connsiteY59" fmla="*/ 3617595 h 6858001"/>
              <a:gd name="connsiteX60" fmla="*/ 8132343 w 11064076"/>
              <a:gd name="connsiteY60" fmla="*/ 3617913 h 6858001"/>
              <a:gd name="connsiteX61" fmla="*/ 8138023 w 11064076"/>
              <a:gd name="connsiteY61" fmla="*/ 3618230 h 6858001"/>
              <a:gd name="connsiteX62" fmla="*/ 8143702 w 11064076"/>
              <a:gd name="connsiteY62" fmla="*/ 3618865 h 6858001"/>
              <a:gd name="connsiteX63" fmla="*/ 8149716 w 11064076"/>
              <a:gd name="connsiteY63" fmla="*/ 3620135 h 6858001"/>
              <a:gd name="connsiteX64" fmla="*/ 8155396 w 11064076"/>
              <a:gd name="connsiteY64" fmla="*/ 3621405 h 6858001"/>
              <a:gd name="connsiteX65" fmla="*/ 8161410 w 11064076"/>
              <a:gd name="connsiteY65" fmla="*/ 3622675 h 6858001"/>
              <a:gd name="connsiteX66" fmla="*/ 8167089 w 11064076"/>
              <a:gd name="connsiteY66" fmla="*/ 3624898 h 6858001"/>
              <a:gd name="connsiteX67" fmla="*/ 8172769 w 11064076"/>
              <a:gd name="connsiteY67" fmla="*/ 3626803 h 6858001"/>
              <a:gd name="connsiteX68" fmla="*/ 8178115 w 11064076"/>
              <a:gd name="connsiteY68" fmla="*/ 3629343 h 6858001"/>
              <a:gd name="connsiteX69" fmla="*/ 8183460 w 11064076"/>
              <a:gd name="connsiteY69" fmla="*/ 3631883 h 6858001"/>
              <a:gd name="connsiteX70" fmla="*/ 8188806 w 11064076"/>
              <a:gd name="connsiteY70" fmla="*/ 3634740 h 6858001"/>
              <a:gd name="connsiteX71" fmla="*/ 8194151 w 11064076"/>
              <a:gd name="connsiteY71" fmla="*/ 3638233 h 6858001"/>
              <a:gd name="connsiteX72" fmla="*/ 8199163 w 11064076"/>
              <a:gd name="connsiteY72" fmla="*/ 3641725 h 6858001"/>
              <a:gd name="connsiteX73" fmla="*/ 8204175 w 11064076"/>
              <a:gd name="connsiteY73" fmla="*/ 3645218 h 6858001"/>
              <a:gd name="connsiteX74" fmla="*/ 8208852 w 11064076"/>
              <a:gd name="connsiteY74" fmla="*/ 3649345 h 6858001"/>
              <a:gd name="connsiteX75" fmla="*/ 8213529 w 11064076"/>
              <a:gd name="connsiteY75" fmla="*/ 3653790 h 6858001"/>
              <a:gd name="connsiteX76" fmla="*/ 8882399 w 11064076"/>
              <a:gd name="connsiteY76" fmla="*/ 4321810 h 6858001"/>
              <a:gd name="connsiteX77" fmla="*/ 8886742 w 11064076"/>
              <a:gd name="connsiteY77" fmla="*/ 4325938 h 6858001"/>
              <a:gd name="connsiteX78" fmla="*/ 8891420 w 11064076"/>
              <a:gd name="connsiteY78" fmla="*/ 4330065 h 6858001"/>
              <a:gd name="connsiteX79" fmla="*/ 8896765 w 11064076"/>
              <a:gd name="connsiteY79" fmla="*/ 4334193 h 6858001"/>
              <a:gd name="connsiteX80" fmla="*/ 8901443 w 11064076"/>
              <a:gd name="connsiteY80" fmla="*/ 4337685 h 6858001"/>
              <a:gd name="connsiteX81" fmla="*/ 8906788 w 11064076"/>
              <a:gd name="connsiteY81" fmla="*/ 4340860 h 6858001"/>
              <a:gd name="connsiteX82" fmla="*/ 8912134 w 11064076"/>
              <a:gd name="connsiteY82" fmla="*/ 4343718 h 6858001"/>
              <a:gd name="connsiteX83" fmla="*/ 8917480 w 11064076"/>
              <a:gd name="connsiteY83" fmla="*/ 4346575 h 6858001"/>
              <a:gd name="connsiteX84" fmla="*/ 8923159 w 11064076"/>
              <a:gd name="connsiteY84" fmla="*/ 4349115 h 6858001"/>
              <a:gd name="connsiteX85" fmla="*/ 8928505 w 11064076"/>
              <a:gd name="connsiteY85" fmla="*/ 4351020 h 6858001"/>
              <a:gd name="connsiteX86" fmla="*/ 8934185 w 11064076"/>
              <a:gd name="connsiteY86" fmla="*/ 4352608 h 6858001"/>
              <a:gd name="connsiteX87" fmla="*/ 8940198 w 11064076"/>
              <a:gd name="connsiteY87" fmla="*/ 4354513 h 6858001"/>
              <a:gd name="connsiteX88" fmla="*/ 8945878 w 11064076"/>
              <a:gd name="connsiteY88" fmla="*/ 4355465 h 6858001"/>
              <a:gd name="connsiteX89" fmla="*/ 8951892 w 11064076"/>
              <a:gd name="connsiteY89" fmla="*/ 4356418 h 6858001"/>
              <a:gd name="connsiteX90" fmla="*/ 8957572 w 11064076"/>
              <a:gd name="connsiteY90" fmla="*/ 4357053 h 6858001"/>
              <a:gd name="connsiteX91" fmla="*/ 8963585 w 11064076"/>
              <a:gd name="connsiteY91" fmla="*/ 4358005 h 6858001"/>
              <a:gd name="connsiteX92" fmla="*/ 8969265 w 11064076"/>
              <a:gd name="connsiteY92" fmla="*/ 4358005 h 6858001"/>
              <a:gd name="connsiteX93" fmla="*/ 8975279 w 11064076"/>
              <a:gd name="connsiteY93" fmla="*/ 4358005 h 6858001"/>
              <a:gd name="connsiteX94" fmla="*/ 8981293 w 11064076"/>
              <a:gd name="connsiteY94" fmla="*/ 4357053 h 6858001"/>
              <a:gd name="connsiteX95" fmla="*/ 8986972 w 11064076"/>
              <a:gd name="connsiteY95" fmla="*/ 4356418 h 6858001"/>
              <a:gd name="connsiteX96" fmla="*/ 8992986 w 11064076"/>
              <a:gd name="connsiteY96" fmla="*/ 4355465 h 6858001"/>
              <a:gd name="connsiteX97" fmla="*/ 8998666 w 11064076"/>
              <a:gd name="connsiteY97" fmla="*/ 4354513 h 6858001"/>
              <a:gd name="connsiteX98" fmla="*/ 9004680 w 11064076"/>
              <a:gd name="connsiteY98" fmla="*/ 4352608 h 6858001"/>
              <a:gd name="connsiteX99" fmla="*/ 9010025 w 11064076"/>
              <a:gd name="connsiteY99" fmla="*/ 4351020 h 6858001"/>
              <a:gd name="connsiteX100" fmla="*/ 9015705 w 11064076"/>
              <a:gd name="connsiteY100" fmla="*/ 4349115 h 6858001"/>
              <a:gd name="connsiteX101" fmla="*/ 9021385 w 11064076"/>
              <a:gd name="connsiteY101" fmla="*/ 4346575 h 6858001"/>
              <a:gd name="connsiteX102" fmla="*/ 9026730 w 11064076"/>
              <a:gd name="connsiteY102" fmla="*/ 4343718 h 6858001"/>
              <a:gd name="connsiteX103" fmla="*/ 9032076 w 11064076"/>
              <a:gd name="connsiteY103" fmla="*/ 4340860 h 6858001"/>
              <a:gd name="connsiteX104" fmla="*/ 9037088 w 11064076"/>
              <a:gd name="connsiteY104" fmla="*/ 4337685 h 6858001"/>
              <a:gd name="connsiteX105" fmla="*/ 9042099 w 11064076"/>
              <a:gd name="connsiteY105" fmla="*/ 4334193 h 6858001"/>
              <a:gd name="connsiteX106" fmla="*/ 9047445 w 11064076"/>
              <a:gd name="connsiteY106" fmla="*/ 4330065 h 6858001"/>
              <a:gd name="connsiteX107" fmla="*/ 9051788 w 11064076"/>
              <a:gd name="connsiteY107" fmla="*/ 4325938 h 6858001"/>
              <a:gd name="connsiteX108" fmla="*/ 9056465 w 11064076"/>
              <a:gd name="connsiteY108" fmla="*/ 4321810 h 6858001"/>
              <a:gd name="connsiteX109" fmla="*/ 9061143 w 11064076"/>
              <a:gd name="connsiteY109" fmla="*/ 4317048 h 6858001"/>
              <a:gd name="connsiteX110" fmla="*/ 9065152 w 11064076"/>
              <a:gd name="connsiteY110" fmla="*/ 4312285 h 6858001"/>
              <a:gd name="connsiteX111" fmla="*/ 9068827 w 11064076"/>
              <a:gd name="connsiteY111" fmla="*/ 4307523 h 6858001"/>
              <a:gd name="connsiteX112" fmla="*/ 9072168 w 11064076"/>
              <a:gd name="connsiteY112" fmla="*/ 4302443 h 6858001"/>
              <a:gd name="connsiteX113" fmla="*/ 9075509 w 11064076"/>
              <a:gd name="connsiteY113" fmla="*/ 4297363 h 6858001"/>
              <a:gd name="connsiteX114" fmla="*/ 9078516 w 11064076"/>
              <a:gd name="connsiteY114" fmla="*/ 4292283 h 6858001"/>
              <a:gd name="connsiteX115" fmla="*/ 9081189 w 11064076"/>
              <a:gd name="connsiteY115" fmla="*/ 4286568 h 6858001"/>
              <a:gd name="connsiteX116" fmla="*/ 9083528 w 11064076"/>
              <a:gd name="connsiteY116" fmla="*/ 4281170 h 6858001"/>
              <a:gd name="connsiteX117" fmla="*/ 9085532 w 11064076"/>
              <a:gd name="connsiteY117" fmla="*/ 4275455 h 6858001"/>
              <a:gd name="connsiteX118" fmla="*/ 9087537 w 11064076"/>
              <a:gd name="connsiteY118" fmla="*/ 4270058 h 6858001"/>
              <a:gd name="connsiteX119" fmla="*/ 9089207 w 11064076"/>
              <a:gd name="connsiteY119" fmla="*/ 4264025 h 6858001"/>
              <a:gd name="connsiteX120" fmla="*/ 9090544 w 11064076"/>
              <a:gd name="connsiteY120" fmla="*/ 4258310 h 6858001"/>
              <a:gd name="connsiteX121" fmla="*/ 9091546 w 11064076"/>
              <a:gd name="connsiteY121" fmla="*/ 4252595 h 6858001"/>
              <a:gd name="connsiteX122" fmla="*/ 9092214 w 11064076"/>
              <a:gd name="connsiteY122" fmla="*/ 4246563 h 6858001"/>
              <a:gd name="connsiteX123" fmla="*/ 9092548 w 11064076"/>
              <a:gd name="connsiteY123" fmla="*/ 4240848 h 6858001"/>
              <a:gd name="connsiteX124" fmla="*/ 9092548 w 11064076"/>
              <a:gd name="connsiteY124" fmla="*/ 4234815 h 6858001"/>
              <a:gd name="connsiteX125" fmla="*/ 9092548 w 11064076"/>
              <a:gd name="connsiteY125" fmla="*/ 4228783 h 6858001"/>
              <a:gd name="connsiteX126" fmla="*/ 9092214 w 11064076"/>
              <a:gd name="connsiteY126" fmla="*/ 4223068 h 6858001"/>
              <a:gd name="connsiteX127" fmla="*/ 9091546 w 11064076"/>
              <a:gd name="connsiteY127" fmla="*/ 4217353 h 6858001"/>
              <a:gd name="connsiteX128" fmla="*/ 9090544 w 11064076"/>
              <a:gd name="connsiteY128" fmla="*/ 4211320 h 6858001"/>
              <a:gd name="connsiteX129" fmla="*/ 9089207 w 11064076"/>
              <a:gd name="connsiteY129" fmla="*/ 4205605 h 6858001"/>
              <a:gd name="connsiteX130" fmla="*/ 9087537 w 11064076"/>
              <a:gd name="connsiteY130" fmla="*/ 4199890 h 6858001"/>
              <a:gd name="connsiteX131" fmla="*/ 9085532 w 11064076"/>
              <a:gd name="connsiteY131" fmla="*/ 4194175 h 6858001"/>
              <a:gd name="connsiteX132" fmla="*/ 9083528 w 11064076"/>
              <a:gd name="connsiteY132" fmla="*/ 4188460 h 6858001"/>
              <a:gd name="connsiteX133" fmla="*/ 9081189 w 11064076"/>
              <a:gd name="connsiteY133" fmla="*/ 4183063 h 6858001"/>
              <a:gd name="connsiteX134" fmla="*/ 9078516 w 11064076"/>
              <a:gd name="connsiteY134" fmla="*/ 4177665 h 6858001"/>
              <a:gd name="connsiteX135" fmla="*/ 9075509 w 11064076"/>
              <a:gd name="connsiteY135" fmla="*/ 4172268 h 6858001"/>
              <a:gd name="connsiteX136" fmla="*/ 9072168 w 11064076"/>
              <a:gd name="connsiteY136" fmla="*/ 4166870 h 6858001"/>
              <a:gd name="connsiteX137" fmla="*/ 9068827 w 11064076"/>
              <a:gd name="connsiteY137" fmla="*/ 4161790 h 6858001"/>
              <a:gd name="connsiteX138" fmla="*/ 9065152 w 11064076"/>
              <a:gd name="connsiteY138" fmla="*/ 4157028 h 6858001"/>
              <a:gd name="connsiteX139" fmla="*/ 9061143 w 11064076"/>
              <a:gd name="connsiteY139" fmla="*/ 4152265 h 6858001"/>
              <a:gd name="connsiteX140" fmla="*/ 9056465 w 11064076"/>
              <a:gd name="connsiteY140" fmla="*/ 4147820 h 6858001"/>
              <a:gd name="connsiteX141" fmla="*/ 8669577 w 11064076"/>
              <a:gd name="connsiteY141" fmla="*/ 3761423 h 6858001"/>
              <a:gd name="connsiteX142" fmla="*/ 8473460 w 11064076"/>
              <a:gd name="connsiteY142" fmla="*/ 3565208 h 6858001"/>
              <a:gd name="connsiteX143" fmla="*/ 8468782 w 11064076"/>
              <a:gd name="connsiteY143" fmla="*/ 3560445 h 6858001"/>
              <a:gd name="connsiteX144" fmla="*/ 8464773 w 11064076"/>
              <a:gd name="connsiteY144" fmla="*/ 3555683 h 6858001"/>
              <a:gd name="connsiteX145" fmla="*/ 8461098 w 11064076"/>
              <a:gd name="connsiteY145" fmla="*/ 3550920 h 6858001"/>
              <a:gd name="connsiteX146" fmla="*/ 8457423 w 11064076"/>
              <a:gd name="connsiteY146" fmla="*/ 3545840 h 6858001"/>
              <a:gd name="connsiteX147" fmla="*/ 8454082 w 11064076"/>
              <a:gd name="connsiteY147" fmla="*/ 3540760 h 6858001"/>
              <a:gd name="connsiteX148" fmla="*/ 8451409 w 11064076"/>
              <a:gd name="connsiteY148" fmla="*/ 3535680 h 6858001"/>
              <a:gd name="connsiteX149" fmla="*/ 8448736 w 11064076"/>
              <a:gd name="connsiteY149" fmla="*/ 3529965 h 6858001"/>
              <a:gd name="connsiteX150" fmla="*/ 8446398 w 11064076"/>
              <a:gd name="connsiteY150" fmla="*/ 3524568 h 6858001"/>
              <a:gd name="connsiteX151" fmla="*/ 8444059 w 11064076"/>
              <a:gd name="connsiteY151" fmla="*/ 3518853 h 6858001"/>
              <a:gd name="connsiteX152" fmla="*/ 8442054 w 11064076"/>
              <a:gd name="connsiteY152" fmla="*/ 3513455 h 6858001"/>
              <a:gd name="connsiteX153" fmla="*/ 8440718 w 11064076"/>
              <a:gd name="connsiteY153" fmla="*/ 3507423 h 6858001"/>
              <a:gd name="connsiteX154" fmla="*/ 8439382 w 11064076"/>
              <a:gd name="connsiteY154" fmla="*/ 3501708 h 6858001"/>
              <a:gd name="connsiteX155" fmla="*/ 8438379 w 11064076"/>
              <a:gd name="connsiteY155" fmla="*/ 3495993 h 6858001"/>
              <a:gd name="connsiteX156" fmla="*/ 8437711 w 11064076"/>
              <a:gd name="connsiteY156" fmla="*/ 3489960 h 6858001"/>
              <a:gd name="connsiteX157" fmla="*/ 8437377 w 11064076"/>
              <a:gd name="connsiteY157" fmla="*/ 3484245 h 6858001"/>
              <a:gd name="connsiteX158" fmla="*/ 8437043 w 11064076"/>
              <a:gd name="connsiteY158" fmla="*/ 3478213 h 6858001"/>
              <a:gd name="connsiteX159" fmla="*/ 8437377 w 11064076"/>
              <a:gd name="connsiteY159" fmla="*/ 3472180 h 6858001"/>
              <a:gd name="connsiteX160" fmla="*/ 8437711 w 11064076"/>
              <a:gd name="connsiteY160" fmla="*/ 3466465 h 6858001"/>
              <a:gd name="connsiteX161" fmla="*/ 8438379 w 11064076"/>
              <a:gd name="connsiteY161" fmla="*/ 3460750 h 6858001"/>
              <a:gd name="connsiteX162" fmla="*/ 8439382 w 11064076"/>
              <a:gd name="connsiteY162" fmla="*/ 3454718 h 6858001"/>
              <a:gd name="connsiteX163" fmla="*/ 8440718 w 11064076"/>
              <a:gd name="connsiteY163" fmla="*/ 3449003 h 6858001"/>
              <a:gd name="connsiteX164" fmla="*/ 8442054 w 11064076"/>
              <a:gd name="connsiteY164" fmla="*/ 3443288 h 6858001"/>
              <a:gd name="connsiteX165" fmla="*/ 8444059 w 11064076"/>
              <a:gd name="connsiteY165" fmla="*/ 3437255 h 6858001"/>
              <a:gd name="connsiteX166" fmla="*/ 8446398 w 11064076"/>
              <a:gd name="connsiteY166" fmla="*/ 3431858 h 6858001"/>
              <a:gd name="connsiteX167" fmla="*/ 8448736 w 11064076"/>
              <a:gd name="connsiteY167" fmla="*/ 3426460 h 6858001"/>
              <a:gd name="connsiteX168" fmla="*/ 8451409 w 11064076"/>
              <a:gd name="connsiteY168" fmla="*/ 3421063 h 6858001"/>
              <a:gd name="connsiteX169" fmla="*/ 8454082 w 11064076"/>
              <a:gd name="connsiteY169" fmla="*/ 3415348 h 6858001"/>
              <a:gd name="connsiteX170" fmla="*/ 8457423 w 11064076"/>
              <a:gd name="connsiteY170" fmla="*/ 3410268 h 6858001"/>
              <a:gd name="connsiteX171" fmla="*/ 8461098 w 11064076"/>
              <a:gd name="connsiteY171" fmla="*/ 3405505 h 6858001"/>
              <a:gd name="connsiteX172" fmla="*/ 8464773 w 11064076"/>
              <a:gd name="connsiteY172" fmla="*/ 3400425 h 6858001"/>
              <a:gd name="connsiteX173" fmla="*/ 8468782 w 11064076"/>
              <a:gd name="connsiteY173" fmla="*/ 3395663 h 6858001"/>
              <a:gd name="connsiteX174" fmla="*/ 8473460 w 11064076"/>
              <a:gd name="connsiteY174" fmla="*/ 3391218 h 6858001"/>
              <a:gd name="connsiteX175" fmla="*/ 8477803 w 11064076"/>
              <a:gd name="connsiteY175" fmla="*/ 3386773 h 6858001"/>
              <a:gd name="connsiteX176" fmla="*/ 8482481 w 11064076"/>
              <a:gd name="connsiteY176" fmla="*/ 3382645 h 6858001"/>
              <a:gd name="connsiteX177" fmla="*/ 8487826 w 11064076"/>
              <a:gd name="connsiteY177" fmla="*/ 3378835 h 6858001"/>
              <a:gd name="connsiteX178" fmla="*/ 8492504 w 11064076"/>
              <a:gd name="connsiteY178" fmla="*/ 3375343 h 6858001"/>
              <a:gd name="connsiteX179" fmla="*/ 8497515 w 11064076"/>
              <a:gd name="connsiteY179" fmla="*/ 3372168 h 6858001"/>
              <a:gd name="connsiteX180" fmla="*/ 8503195 w 11064076"/>
              <a:gd name="connsiteY180" fmla="*/ 3369310 h 6858001"/>
              <a:gd name="connsiteX181" fmla="*/ 8508540 w 11064076"/>
              <a:gd name="connsiteY181" fmla="*/ 3366453 h 6858001"/>
              <a:gd name="connsiteX182" fmla="*/ 8514220 w 11064076"/>
              <a:gd name="connsiteY182" fmla="*/ 3364230 h 6858001"/>
              <a:gd name="connsiteX183" fmla="*/ 8519566 w 11064076"/>
              <a:gd name="connsiteY183" fmla="*/ 3362008 h 6858001"/>
              <a:gd name="connsiteX184" fmla="*/ 8525245 w 11064076"/>
              <a:gd name="connsiteY184" fmla="*/ 3360103 h 6858001"/>
              <a:gd name="connsiteX185" fmla="*/ 8531259 w 11064076"/>
              <a:gd name="connsiteY185" fmla="*/ 3358833 h 6858001"/>
              <a:gd name="connsiteX186" fmla="*/ 8536939 w 11064076"/>
              <a:gd name="connsiteY186" fmla="*/ 3357245 h 6858001"/>
              <a:gd name="connsiteX187" fmla="*/ 8542953 w 11064076"/>
              <a:gd name="connsiteY187" fmla="*/ 3356293 h 6858001"/>
              <a:gd name="connsiteX188" fmla="*/ 8548632 w 11064076"/>
              <a:gd name="connsiteY188" fmla="*/ 3355658 h 6858001"/>
              <a:gd name="connsiteX189" fmla="*/ 8554646 w 11064076"/>
              <a:gd name="connsiteY189" fmla="*/ 3355340 h 6858001"/>
              <a:gd name="connsiteX190" fmla="*/ 8560326 w 11064076"/>
              <a:gd name="connsiteY190" fmla="*/ 3355023 h 6858001"/>
              <a:gd name="connsiteX191" fmla="*/ 8566340 w 11064076"/>
              <a:gd name="connsiteY191" fmla="*/ 3355340 h 6858001"/>
              <a:gd name="connsiteX192" fmla="*/ 8572354 w 11064076"/>
              <a:gd name="connsiteY192" fmla="*/ 3355658 h 6858001"/>
              <a:gd name="connsiteX193" fmla="*/ 8578033 w 11064076"/>
              <a:gd name="connsiteY193" fmla="*/ 3356293 h 6858001"/>
              <a:gd name="connsiteX194" fmla="*/ 8584047 w 11064076"/>
              <a:gd name="connsiteY194" fmla="*/ 3357245 h 6858001"/>
              <a:gd name="connsiteX195" fmla="*/ 8589727 w 11064076"/>
              <a:gd name="connsiteY195" fmla="*/ 3358833 h 6858001"/>
              <a:gd name="connsiteX196" fmla="*/ 8595741 w 11064076"/>
              <a:gd name="connsiteY196" fmla="*/ 3360103 h 6858001"/>
              <a:gd name="connsiteX197" fmla="*/ 8601086 w 11064076"/>
              <a:gd name="connsiteY197" fmla="*/ 3362008 h 6858001"/>
              <a:gd name="connsiteX198" fmla="*/ 8606766 w 11064076"/>
              <a:gd name="connsiteY198" fmla="*/ 3364230 h 6858001"/>
              <a:gd name="connsiteX199" fmla="*/ 8612446 w 11064076"/>
              <a:gd name="connsiteY199" fmla="*/ 3366453 h 6858001"/>
              <a:gd name="connsiteX200" fmla="*/ 8617791 w 11064076"/>
              <a:gd name="connsiteY200" fmla="*/ 3369310 h 6858001"/>
              <a:gd name="connsiteX201" fmla="*/ 8623137 w 11064076"/>
              <a:gd name="connsiteY201" fmla="*/ 3372168 h 6858001"/>
              <a:gd name="connsiteX202" fmla="*/ 8628148 w 11064076"/>
              <a:gd name="connsiteY202" fmla="*/ 3375343 h 6858001"/>
              <a:gd name="connsiteX203" fmla="*/ 8633160 w 11064076"/>
              <a:gd name="connsiteY203" fmla="*/ 3378835 h 6858001"/>
              <a:gd name="connsiteX204" fmla="*/ 8638171 w 11064076"/>
              <a:gd name="connsiteY204" fmla="*/ 3382645 h 6858001"/>
              <a:gd name="connsiteX205" fmla="*/ 8642849 w 11064076"/>
              <a:gd name="connsiteY205" fmla="*/ 3386773 h 6858001"/>
              <a:gd name="connsiteX206" fmla="*/ 8647526 w 11064076"/>
              <a:gd name="connsiteY206" fmla="*/ 3391218 h 6858001"/>
              <a:gd name="connsiteX207" fmla="*/ 8855003 w 11064076"/>
              <a:gd name="connsiteY207" fmla="*/ 3598228 h 6858001"/>
              <a:gd name="connsiteX208" fmla="*/ 8859346 w 11064076"/>
              <a:gd name="connsiteY208" fmla="*/ 3602673 h 6858001"/>
              <a:gd name="connsiteX209" fmla="*/ 8864023 w 11064076"/>
              <a:gd name="connsiteY209" fmla="*/ 3606800 h 6858001"/>
              <a:gd name="connsiteX210" fmla="*/ 8869369 w 11064076"/>
              <a:gd name="connsiteY210" fmla="*/ 3610610 h 6858001"/>
              <a:gd name="connsiteX211" fmla="*/ 8874046 w 11064076"/>
              <a:gd name="connsiteY211" fmla="*/ 3613785 h 6858001"/>
              <a:gd name="connsiteX212" fmla="*/ 8879392 w 11064076"/>
              <a:gd name="connsiteY212" fmla="*/ 3617278 h 6858001"/>
              <a:gd name="connsiteX213" fmla="*/ 8884738 w 11064076"/>
              <a:gd name="connsiteY213" fmla="*/ 3620135 h 6858001"/>
              <a:gd name="connsiteX214" fmla="*/ 8890083 w 11064076"/>
              <a:gd name="connsiteY214" fmla="*/ 3622675 h 6858001"/>
              <a:gd name="connsiteX215" fmla="*/ 8895763 w 11064076"/>
              <a:gd name="connsiteY215" fmla="*/ 3625215 h 6858001"/>
              <a:gd name="connsiteX216" fmla="*/ 8901109 w 11064076"/>
              <a:gd name="connsiteY216" fmla="*/ 3627120 h 6858001"/>
              <a:gd name="connsiteX217" fmla="*/ 8906788 w 11064076"/>
              <a:gd name="connsiteY217" fmla="*/ 3629343 h 6858001"/>
              <a:gd name="connsiteX218" fmla="*/ 8912802 w 11064076"/>
              <a:gd name="connsiteY218" fmla="*/ 3630613 h 6858001"/>
              <a:gd name="connsiteX219" fmla="*/ 8918482 w 11064076"/>
              <a:gd name="connsiteY219" fmla="*/ 3631883 h 6858001"/>
              <a:gd name="connsiteX220" fmla="*/ 8924496 w 11064076"/>
              <a:gd name="connsiteY220" fmla="*/ 3633153 h 6858001"/>
              <a:gd name="connsiteX221" fmla="*/ 8930175 w 11064076"/>
              <a:gd name="connsiteY221" fmla="*/ 3633788 h 6858001"/>
              <a:gd name="connsiteX222" fmla="*/ 8936189 w 11064076"/>
              <a:gd name="connsiteY222" fmla="*/ 3634105 h 6858001"/>
              <a:gd name="connsiteX223" fmla="*/ 8941869 w 11064076"/>
              <a:gd name="connsiteY223" fmla="*/ 3634105 h 6858001"/>
              <a:gd name="connsiteX224" fmla="*/ 8947883 w 11064076"/>
              <a:gd name="connsiteY224" fmla="*/ 3634105 h 6858001"/>
              <a:gd name="connsiteX225" fmla="*/ 8953897 w 11064076"/>
              <a:gd name="connsiteY225" fmla="*/ 3633788 h 6858001"/>
              <a:gd name="connsiteX226" fmla="*/ 8959576 w 11064076"/>
              <a:gd name="connsiteY226" fmla="*/ 3633153 h 6858001"/>
              <a:gd name="connsiteX227" fmla="*/ 8965590 w 11064076"/>
              <a:gd name="connsiteY227" fmla="*/ 3631883 h 6858001"/>
              <a:gd name="connsiteX228" fmla="*/ 8971270 w 11064076"/>
              <a:gd name="connsiteY228" fmla="*/ 3630613 h 6858001"/>
              <a:gd name="connsiteX229" fmla="*/ 8977284 w 11064076"/>
              <a:gd name="connsiteY229" fmla="*/ 3629343 h 6858001"/>
              <a:gd name="connsiteX230" fmla="*/ 8982629 w 11064076"/>
              <a:gd name="connsiteY230" fmla="*/ 3627120 h 6858001"/>
              <a:gd name="connsiteX231" fmla="*/ 8988309 w 11064076"/>
              <a:gd name="connsiteY231" fmla="*/ 3625215 h 6858001"/>
              <a:gd name="connsiteX232" fmla="*/ 8993989 w 11064076"/>
              <a:gd name="connsiteY232" fmla="*/ 3622675 h 6858001"/>
              <a:gd name="connsiteX233" fmla="*/ 8999334 w 11064076"/>
              <a:gd name="connsiteY233" fmla="*/ 3620135 h 6858001"/>
              <a:gd name="connsiteX234" fmla="*/ 9004680 w 11064076"/>
              <a:gd name="connsiteY234" fmla="*/ 3617278 h 6858001"/>
              <a:gd name="connsiteX235" fmla="*/ 9009691 w 11064076"/>
              <a:gd name="connsiteY235" fmla="*/ 3613785 h 6858001"/>
              <a:gd name="connsiteX236" fmla="*/ 9014703 w 11064076"/>
              <a:gd name="connsiteY236" fmla="*/ 3610610 h 6858001"/>
              <a:gd name="connsiteX237" fmla="*/ 9020048 w 11064076"/>
              <a:gd name="connsiteY237" fmla="*/ 3606800 h 6858001"/>
              <a:gd name="connsiteX238" fmla="*/ 9024392 w 11064076"/>
              <a:gd name="connsiteY238" fmla="*/ 3602673 h 6858001"/>
              <a:gd name="connsiteX239" fmla="*/ 9029069 w 11064076"/>
              <a:gd name="connsiteY239" fmla="*/ 3598228 h 6858001"/>
              <a:gd name="connsiteX240" fmla="*/ 9033747 w 11064076"/>
              <a:gd name="connsiteY240" fmla="*/ 3593783 h 6858001"/>
              <a:gd name="connsiteX241" fmla="*/ 9037756 w 11064076"/>
              <a:gd name="connsiteY241" fmla="*/ 3589020 h 6858001"/>
              <a:gd name="connsiteX242" fmla="*/ 9041431 w 11064076"/>
              <a:gd name="connsiteY242" fmla="*/ 3583940 h 6858001"/>
              <a:gd name="connsiteX243" fmla="*/ 9044772 w 11064076"/>
              <a:gd name="connsiteY243" fmla="*/ 3578860 h 6858001"/>
              <a:gd name="connsiteX244" fmla="*/ 9048113 w 11064076"/>
              <a:gd name="connsiteY244" fmla="*/ 3573463 h 6858001"/>
              <a:gd name="connsiteX245" fmla="*/ 9051120 w 11064076"/>
              <a:gd name="connsiteY245" fmla="*/ 3568383 h 6858001"/>
              <a:gd name="connsiteX246" fmla="*/ 9053793 w 11064076"/>
              <a:gd name="connsiteY246" fmla="*/ 3562985 h 6858001"/>
              <a:gd name="connsiteX247" fmla="*/ 9056131 w 11064076"/>
              <a:gd name="connsiteY247" fmla="*/ 3557588 h 6858001"/>
              <a:gd name="connsiteX248" fmla="*/ 9058136 w 11064076"/>
              <a:gd name="connsiteY248" fmla="*/ 3551873 h 6858001"/>
              <a:gd name="connsiteX249" fmla="*/ 9060141 w 11064076"/>
              <a:gd name="connsiteY249" fmla="*/ 3546158 h 6858001"/>
              <a:gd name="connsiteX250" fmla="*/ 9061811 w 11064076"/>
              <a:gd name="connsiteY250" fmla="*/ 3540443 h 6858001"/>
              <a:gd name="connsiteX251" fmla="*/ 9063147 w 11064076"/>
              <a:gd name="connsiteY251" fmla="*/ 3534410 h 6858001"/>
              <a:gd name="connsiteX252" fmla="*/ 9064150 w 11064076"/>
              <a:gd name="connsiteY252" fmla="*/ 3528695 h 6858001"/>
              <a:gd name="connsiteX253" fmla="*/ 9064818 w 11064076"/>
              <a:gd name="connsiteY253" fmla="*/ 3522980 h 6858001"/>
              <a:gd name="connsiteX254" fmla="*/ 9065152 w 11064076"/>
              <a:gd name="connsiteY254" fmla="*/ 3516948 h 6858001"/>
              <a:gd name="connsiteX255" fmla="*/ 9065152 w 11064076"/>
              <a:gd name="connsiteY255" fmla="*/ 3511233 h 6858001"/>
              <a:gd name="connsiteX256" fmla="*/ 9065152 w 11064076"/>
              <a:gd name="connsiteY256" fmla="*/ 3505200 h 6858001"/>
              <a:gd name="connsiteX257" fmla="*/ 9064818 w 11064076"/>
              <a:gd name="connsiteY257" fmla="*/ 3499168 h 6858001"/>
              <a:gd name="connsiteX258" fmla="*/ 9064150 w 11064076"/>
              <a:gd name="connsiteY258" fmla="*/ 3493453 h 6858001"/>
              <a:gd name="connsiteX259" fmla="*/ 9063147 w 11064076"/>
              <a:gd name="connsiteY259" fmla="*/ 3487738 h 6858001"/>
              <a:gd name="connsiteX260" fmla="*/ 9061811 w 11064076"/>
              <a:gd name="connsiteY260" fmla="*/ 3481705 h 6858001"/>
              <a:gd name="connsiteX261" fmla="*/ 9060141 w 11064076"/>
              <a:gd name="connsiteY261" fmla="*/ 3475990 h 6858001"/>
              <a:gd name="connsiteX262" fmla="*/ 9058136 w 11064076"/>
              <a:gd name="connsiteY262" fmla="*/ 3470593 h 6858001"/>
              <a:gd name="connsiteX263" fmla="*/ 9056131 w 11064076"/>
              <a:gd name="connsiteY263" fmla="*/ 3464878 h 6858001"/>
              <a:gd name="connsiteX264" fmla="*/ 9053793 w 11064076"/>
              <a:gd name="connsiteY264" fmla="*/ 3459163 h 6858001"/>
              <a:gd name="connsiteX265" fmla="*/ 9051120 w 11064076"/>
              <a:gd name="connsiteY265" fmla="*/ 3453765 h 6858001"/>
              <a:gd name="connsiteX266" fmla="*/ 9048113 w 11064076"/>
              <a:gd name="connsiteY266" fmla="*/ 3448685 h 6858001"/>
              <a:gd name="connsiteX267" fmla="*/ 9044772 w 11064076"/>
              <a:gd name="connsiteY267" fmla="*/ 3443605 h 6858001"/>
              <a:gd name="connsiteX268" fmla="*/ 9041431 w 11064076"/>
              <a:gd name="connsiteY268" fmla="*/ 3438525 h 6858001"/>
              <a:gd name="connsiteX269" fmla="*/ 9037756 w 11064076"/>
              <a:gd name="connsiteY269" fmla="*/ 3433763 h 6858001"/>
              <a:gd name="connsiteX270" fmla="*/ 9033747 w 11064076"/>
              <a:gd name="connsiteY270" fmla="*/ 3428683 h 6858001"/>
              <a:gd name="connsiteX271" fmla="*/ 9029069 w 11064076"/>
              <a:gd name="connsiteY271" fmla="*/ 3423920 h 6858001"/>
              <a:gd name="connsiteX272" fmla="*/ 8360534 w 11064076"/>
              <a:gd name="connsiteY272" fmla="*/ 2756218 h 6858001"/>
              <a:gd name="connsiteX273" fmla="*/ 8357193 w 11064076"/>
              <a:gd name="connsiteY273" fmla="*/ 2753043 h 6858001"/>
              <a:gd name="connsiteX274" fmla="*/ 8353852 w 11064076"/>
              <a:gd name="connsiteY274" fmla="*/ 2749233 h 6858001"/>
              <a:gd name="connsiteX275" fmla="*/ 8347504 w 11064076"/>
              <a:gd name="connsiteY275" fmla="*/ 2741295 h 6858001"/>
              <a:gd name="connsiteX276" fmla="*/ 8342492 w 11064076"/>
              <a:gd name="connsiteY276" fmla="*/ 2733040 h 6858001"/>
              <a:gd name="connsiteX277" fmla="*/ 8337815 w 11064076"/>
              <a:gd name="connsiteY277" fmla="*/ 2724468 h 6858001"/>
              <a:gd name="connsiteX278" fmla="*/ 8333471 w 11064076"/>
              <a:gd name="connsiteY278" fmla="*/ 2715895 h 6858001"/>
              <a:gd name="connsiteX279" fmla="*/ 8330465 w 11064076"/>
              <a:gd name="connsiteY279" fmla="*/ 2707005 h 6858001"/>
              <a:gd name="connsiteX280" fmla="*/ 8328126 w 11064076"/>
              <a:gd name="connsiteY280" fmla="*/ 2697798 h 6858001"/>
              <a:gd name="connsiteX281" fmla="*/ 8326121 w 11064076"/>
              <a:gd name="connsiteY281" fmla="*/ 2688590 h 6858001"/>
              <a:gd name="connsiteX282" fmla="*/ 5629596 w 11064076"/>
              <a:gd name="connsiteY282" fmla="*/ 0 h 6858001"/>
              <a:gd name="connsiteX0" fmla="*/ 5629596 w 11064076"/>
              <a:gd name="connsiteY0" fmla="*/ 0 h 6858000"/>
              <a:gd name="connsiteX1" fmla="*/ 0 w 11064076"/>
              <a:gd name="connsiteY1" fmla="*/ 0 h 6858000"/>
              <a:gd name="connsiteX2" fmla="*/ 0 w 11064076"/>
              <a:gd name="connsiteY2" fmla="*/ 6858000 h 6858000"/>
              <a:gd name="connsiteX3" fmla="*/ 10123449 w 11064076"/>
              <a:gd name="connsiteY3" fmla="*/ 6858000 h 6858000"/>
              <a:gd name="connsiteX4" fmla="*/ 11064076 w 11064076"/>
              <a:gd name="connsiteY4" fmla="*/ 6858000 h 6858000"/>
              <a:gd name="connsiteX5" fmla="*/ 9033747 w 11064076"/>
              <a:gd name="connsiteY5" fmla="*/ 4816793 h 6858000"/>
              <a:gd name="connsiteX6" fmla="*/ 9018378 w 11064076"/>
              <a:gd name="connsiteY6" fmla="*/ 4803458 h 6858000"/>
              <a:gd name="connsiteX7" fmla="*/ 9003009 w 11064076"/>
              <a:gd name="connsiteY7" fmla="*/ 4789488 h 6858000"/>
              <a:gd name="connsiteX8" fmla="*/ 8987975 w 11064076"/>
              <a:gd name="connsiteY8" fmla="*/ 4775518 h 6858000"/>
              <a:gd name="connsiteX9" fmla="*/ 8973274 w 11064076"/>
              <a:gd name="connsiteY9" fmla="*/ 4760913 h 6858000"/>
              <a:gd name="connsiteX10" fmla="*/ 8039129 w 11064076"/>
              <a:gd name="connsiteY10" fmla="*/ 3828098 h 6858000"/>
              <a:gd name="connsiteX11" fmla="*/ 8034451 w 11064076"/>
              <a:gd name="connsiteY11" fmla="*/ 3823335 h 6858000"/>
              <a:gd name="connsiteX12" fmla="*/ 8030443 w 11064076"/>
              <a:gd name="connsiteY12" fmla="*/ 3818573 h 6858000"/>
              <a:gd name="connsiteX13" fmla="*/ 8026767 w 11064076"/>
              <a:gd name="connsiteY13" fmla="*/ 3813493 h 6858000"/>
              <a:gd name="connsiteX14" fmla="*/ 8023426 w 11064076"/>
              <a:gd name="connsiteY14" fmla="*/ 3808413 h 6858000"/>
              <a:gd name="connsiteX15" fmla="*/ 8020086 w 11064076"/>
              <a:gd name="connsiteY15" fmla="*/ 3803333 h 6858000"/>
              <a:gd name="connsiteX16" fmla="*/ 8017079 w 11064076"/>
              <a:gd name="connsiteY16" fmla="*/ 3798253 h 6858000"/>
              <a:gd name="connsiteX17" fmla="*/ 8014406 w 11064076"/>
              <a:gd name="connsiteY17" fmla="*/ 3792855 h 6858000"/>
              <a:gd name="connsiteX18" fmla="*/ 8012067 w 11064076"/>
              <a:gd name="connsiteY18" fmla="*/ 3787458 h 6858000"/>
              <a:gd name="connsiteX19" fmla="*/ 8010062 w 11064076"/>
              <a:gd name="connsiteY19" fmla="*/ 3781425 h 6858000"/>
              <a:gd name="connsiteX20" fmla="*/ 8008392 w 11064076"/>
              <a:gd name="connsiteY20" fmla="*/ 3776028 h 6858000"/>
              <a:gd name="connsiteX21" fmla="*/ 8006387 w 11064076"/>
              <a:gd name="connsiteY21" fmla="*/ 3770313 h 6858000"/>
              <a:gd name="connsiteX22" fmla="*/ 8005051 w 11064076"/>
              <a:gd name="connsiteY22" fmla="*/ 3764280 h 6858000"/>
              <a:gd name="connsiteX23" fmla="*/ 8004049 w 11064076"/>
              <a:gd name="connsiteY23" fmla="*/ 3758565 h 6858000"/>
              <a:gd name="connsiteX24" fmla="*/ 8003380 w 11064076"/>
              <a:gd name="connsiteY24" fmla="*/ 3752850 h 6858000"/>
              <a:gd name="connsiteX25" fmla="*/ 8003046 w 11064076"/>
              <a:gd name="connsiteY25" fmla="*/ 3746818 h 6858000"/>
              <a:gd name="connsiteX26" fmla="*/ 8003046 w 11064076"/>
              <a:gd name="connsiteY26" fmla="*/ 3740785 h 6858000"/>
              <a:gd name="connsiteX27" fmla="*/ 8003046 w 11064076"/>
              <a:gd name="connsiteY27" fmla="*/ 3735070 h 6858000"/>
              <a:gd name="connsiteX28" fmla="*/ 8003380 w 11064076"/>
              <a:gd name="connsiteY28" fmla="*/ 3729038 h 6858000"/>
              <a:gd name="connsiteX29" fmla="*/ 8004049 w 11064076"/>
              <a:gd name="connsiteY29" fmla="*/ 3723323 h 6858000"/>
              <a:gd name="connsiteX30" fmla="*/ 8005051 w 11064076"/>
              <a:gd name="connsiteY30" fmla="*/ 3717608 h 6858000"/>
              <a:gd name="connsiteX31" fmla="*/ 8006387 w 11064076"/>
              <a:gd name="connsiteY31" fmla="*/ 3711575 h 6858000"/>
              <a:gd name="connsiteX32" fmla="*/ 8008392 w 11064076"/>
              <a:gd name="connsiteY32" fmla="*/ 3705860 h 6858000"/>
              <a:gd name="connsiteX33" fmla="*/ 8010062 w 11064076"/>
              <a:gd name="connsiteY33" fmla="*/ 3700145 h 6858000"/>
              <a:gd name="connsiteX34" fmla="*/ 8012067 w 11064076"/>
              <a:gd name="connsiteY34" fmla="*/ 3694748 h 6858000"/>
              <a:gd name="connsiteX35" fmla="*/ 8014406 w 11064076"/>
              <a:gd name="connsiteY35" fmla="*/ 3689033 h 6858000"/>
              <a:gd name="connsiteX36" fmla="*/ 8017079 w 11064076"/>
              <a:gd name="connsiteY36" fmla="*/ 3683635 h 6858000"/>
              <a:gd name="connsiteX37" fmla="*/ 8020086 w 11064076"/>
              <a:gd name="connsiteY37" fmla="*/ 3678238 h 6858000"/>
              <a:gd name="connsiteX38" fmla="*/ 8023426 w 11064076"/>
              <a:gd name="connsiteY38" fmla="*/ 3673158 h 6858000"/>
              <a:gd name="connsiteX39" fmla="*/ 8026767 w 11064076"/>
              <a:gd name="connsiteY39" fmla="*/ 3668078 h 6858000"/>
              <a:gd name="connsiteX40" fmla="*/ 8030443 w 11064076"/>
              <a:gd name="connsiteY40" fmla="*/ 3662998 h 6858000"/>
              <a:gd name="connsiteX41" fmla="*/ 8034451 w 11064076"/>
              <a:gd name="connsiteY41" fmla="*/ 3658235 h 6858000"/>
              <a:gd name="connsiteX42" fmla="*/ 8039129 w 11064076"/>
              <a:gd name="connsiteY42" fmla="*/ 3653790 h 6858000"/>
              <a:gd name="connsiteX43" fmla="*/ 8043807 w 11064076"/>
              <a:gd name="connsiteY43" fmla="*/ 3649345 h 6858000"/>
              <a:gd name="connsiteX44" fmla="*/ 8048149 w 11064076"/>
              <a:gd name="connsiteY44" fmla="*/ 3645218 h 6858000"/>
              <a:gd name="connsiteX45" fmla="*/ 8053495 w 11064076"/>
              <a:gd name="connsiteY45" fmla="*/ 3641725 h 6858000"/>
              <a:gd name="connsiteX46" fmla="*/ 8058507 w 11064076"/>
              <a:gd name="connsiteY46" fmla="*/ 3638233 h 6858000"/>
              <a:gd name="connsiteX47" fmla="*/ 8063852 w 11064076"/>
              <a:gd name="connsiteY47" fmla="*/ 3634740 h 6858000"/>
              <a:gd name="connsiteX48" fmla="*/ 8068864 w 11064076"/>
              <a:gd name="connsiteY48" fmla="*/ 3631883 h 6858000"/>
              <a:gd name="connsiteX49" fmla="*/ 8074209 w 11064076"/>
              <a:gd name="connsiteY49" fmla="*/ 3629343 h 6858000"/>
              <a:gd name="connsiteX50" fmla="*/ 8079889 w 11064076"/>
              <a:gd name="connsiteY50" fmla="*/ 3626803 h 6858000"/>
              <a:gd name="connsiteX51" fmla="*/ 8085569 w 11064076"/>
              <a:gd name="connsiteY51" fmla="*/ 3624898 h 6858000"/>
              <a:gd name="connsiteX52" fmla="*/ 8091248 w 11064076"/>
              <a:gd name="connsiteY52" fmla="*/ 3622675 h 6858000"/>
              <a:gd name="connsiteX53" fmla="*/ 8096928 w 11064076"/>
              <a:gd name="connsiteY53" fmla="*/ 3621405 h 6858000"/>
              <a:gd name="connsiteX54" fmla="*/ 8102608 w 11064076"/>
              <a:gd name="connsiteY54" fmla="*/ 3620135 h 6858000"/>
              <a:gd name="connsiteX55" fmla="*/ 8108622 w 11064076"/>
              <a:gd name="connsiteY55" fmla="*/ 3618865 h 6858000"/>
              <a:gd name="connsiteX56" fmla="*/ 8114301 w 11064076"/>
              <a:gd name="connsiteY56" fmla="*/ 3618230 h 6858000"/>
              <a:gd name="connsiteX57" fmla="*/ 8120315 w 11064076"/>
              <a:gd name="connsiteY57" fmla="*/ 3617913 h 6858000"/>
              <a:gd name="connsiteX58" fmla="*/ 8126329 w 11064076"/>
              <a:gd name="connsiteY58" fmla="*/ 3617595 h 6858000"/>
              <a:gd name="connsiteX59" fmla="*/ 8132343 w 11064076"/>
              <a:gd name="connsiteY59" fmla="*/ 3617913 h 6858000"/>
              <a:gd name="connsiteX60" fmla="*/ 8138023 w 11064076"/>
              <a:gd name="connsiteY60" fmla="*/ 3618230 h 6858000"/>
              <a:gd name="connsiteX61" fmla="*/ 8143702 w 11064076"/>
              <a:gd name="connsiteY61" fmla="*/ 3618865 h 6858000"/>
              <a:gd name="connsiteX62" fmla="*/ 8149716 w 11064076"/>
              <a:gd name="connsiteY62" fmla="*/ 3620135 h 6858000"/>
              <a:gd name="connsiteX63" fmla="*/ 8155396 w 11064076"/>
              <a:gd name="connsiteY63" fmla="*/ 3621405 h 6858000"/>
              <a:gd name="connsiteX64" fmla="*/ 8161410 w 11064076"/>
              <a:gd name="connsiteY64" fmla="*/ 3622675 h 6858000"/>
              <a:gd name="connsiteX65" fmla="*/ 8167089 w 11064076"/>
              <a:gd name="connsiteY65" fmla="*/ 3624898 h 6858000"/>
              <a:gd name="connsiteX66" fmla="*/ 8172769 w 11064076"/>
              <a:gd name="connsiteY66" fmla="*/ 3626803 h 6858000"/>
              <a:gd name="connsiteX67" fmla="*/ 8178115 w 11064076"/>
              <a:gd name="connsiteY67" fmla="*/ 3629343 h 6858000"/>
              <a:gd name="connsiteX68" fmla="*/ 8183460 w 11064076"/>
              <a:gd name="connsiteY68" fmla="*/ 3631883 h 6858000"/>
              <a:gd name="connsiteX69" fmla="*/ 8188806 w 11064076"/>
              <a:gd name="connsiteY69" fmla="*/ 3634740 h 6858000"/>
              <a:gd name="connsiteX70" fmla="*/ 8194151 w 11064076"/>
              <a:gd name="connsiteY70" fmla="*/ 3638233 h 6858000"/>
              <a:gd name="connsiteX71" fmla="*/ 8199163 w 11064076"/>
              <a:gd name="connsiteY71" fmla="*/ 3641725 h 6858000"/>
              <a:gd name="connsiteX72" fmla="*/ 8204175 w 11064076"/>
              <a:gd name="connsiteY72" fmla="*/ 3645218 h 6858000"/>
              <a:gd name="connsiteX73" fmla="*/ 8208852 w 11064076"/>
              <a:gd name="connsiteY73" fmla="*/ 3649345 h 6858000"/>
              <a:gd name="connsiteX74" fmla="*/ 8213529 w 11064076"/>
              <a:gd name="connsiteY74" fmla="*/ 3653790 h 6858000"/>
              <a:gd name="connsiteX75" fmla="*/ 8882399 w 11064076"/>
              <a:gd name="connsiteY75" fmla="*/ 4321810 h 6858000"/>
              <a:gd name="connsiteX76" fmla="*/ 8886742 w 11064076"/>
              <a:gd name="connsiteY76" fmla="*/ 4325938 h 6858000"/>
              <a:gd name="connsiteX77" fmla="*/ 8891420 w 11064076"/>
              <a:gd name="connsiteY77" fmla="*/ 4330065 h 6858000"/>
              <a:gd name="connsiteX78" fmla="*/ 8896765 w 11064076"/>
              <a:gd name="connsiteY78" fmla="*/ 4334193 h 6858000"/>
              <a:gd name="connsiteX79" fmla="*/ 8901443 w 11064076"/>
              <a:gd name="connsiteY79" fmla="*/ 4337685 h 6858000"/>
              <a:gd name="connsiteX80" fmla="*/ 8906788 w 11064076"/>
              <a:gd name="connsiteY80" fmla="*/ 4340860 h 6858000"/>
              <a:gd name="connsiteX81" fmla="*/ 8912134 w 11064076"/>
              <a:gd name="connsiteY81" fmla="*/ 4343718 h 6858000"/>
              <a:gd name="connsiteX82" fmla="*/ 8917480 w 11064076"/>
              <a:gd name="connsiteY82" fmla="*/ 4346575 h 6858000"/>
              <a:gd name="connsiteX83" fmla="*/ 8923159 w 11064076"/>
              <a:gd name="connsiteY83" fmla="*/ 4349115 h 6858000"/>
              <a:gd name="connsiteX84" fmla="*/ 8928505 w 11064076"/>
              <a:gd name="connsiteY84" fmla="*/ 4351020 h 6858000"/>
              <a:gd name="connsiteX85" fmla="*/ 8934185 w 11064076"/>
              <a:gd name="connsiteY85" fmla="*/ 4352608 h 6858000"/>
              <a:gd name="connsiteX86" fmla="*/ 8940198 w 11064076"/>
              <a:gd name="connsiteY86" fmla="*/ 4354513 h 6858000"/>
              <a:gd name="connsiteX87" fmla="*/ 8945878 w 11064076"/>
              <a:gd name="connsiteY87" fmla="*/ 4355465 h 6858000"/>
              <a:gd name="connsiteX88" fmla="*/ 8951892 w 11064076"/>
              <a:gd name="connsiteY88" fmla="*/ 4356418 h 6858000"/>
              <a:gd name="connsiteX89" fmla="*/ 8957572 w 11064076"/>
              <a:gd name="connsiteY89" fmla="*/ 4357053 h 6858000"/>
              <a:gd name="connsiteX90" fmla="*/ 8963585 w 11064076"/>
              <a:gd name="connsiteY90" fmla="*/ 4358005 h 6858000"/>
              <a:gd name="connsiteX91" fmla="*/ 8969265 w 11064076"/>
              <a:gd name="connsiteY91" fmla="*/ 4358005 h 6858000"/>
              <a:gd name="connsiteX92" fmla="*/ 8975279 w 11064076"/>
              <a:gd name="connsiteY92" fmla="*/ 4358005 h 6858000"/>
              <a:gd name="connsiteX93" fmla="*/ 8981293 w 11064076"/>
              <a:gd name="connsiteY93" fmla="*/ 4357053 h 6858000"/>
              <a:gd name="connsiteX94" fmla="*/ 8986972 w 11064076"/>
              <a:gd name="connsiteY94" fmla="*/ 4356418 h 6858000"/>
              <a:gd name="connsiteX95" fmla="*/ 8992986 w 11064076"/>
              <a:gd name="connsiteY95" fmla="*/ 4355465 h 6858000"/>
              <a:gd name="connsiteX96" fmla="*/ 8998666 w 11064076"/>
              <a:gd name="connsiteY96" fmla="*/ 4354513 h 6858000"/>
              <a:gd name="connsiteX97" fmla="*/ 9004680 w 11064076"/>
              <a:gd name="connsiteY97" fmla="*/ 4352608 h 6858000"/>
              <a:gd name="connsiteX98" fmla="*/ 9010025 w 11064076"/>
              <a:gd name="connsiteY98" fmla="*/ 4351020 h 6858000"/>
              <a:gd name="connsiteX99" fmla="*/ 9015705 w 11064076"/>
              <a:gd name="connsiteY99" fmla="*/ 4349115 h 6858000"/>
              <a:gd name="connsiteX100" fmla="*/ 9021385 w 11064076"/>
              <a:gd name="connsiteY100" fmla="*/ 4346575 h 6858000"/>
              <a:gd name="connsiteX101" fmla="*/ 9026730 w 11064076"/>
              <a:gd name="connsiteY101" fmla="*/ 4343718 h 6858000"/>
              <a:gd name="connsiteX102" fmla="*/ 9032076 w 11064076"/>
              <a:gd name="connsiteY102" fmla="*/ 4340860 h 6858000"/>
              <a:gd name="connsiteX103" fmla="*/ 9037088 w 11064076"/>
              <a:gd name="connsiteY103" fmla="*/ 4337685 h 6858000"/>
              <a:gd name="connsiteX104" fmla="*/ 9042099 w 11064076"/>
              <a:gd name="connsiteY104" fmla="*/ 4334193 h 6858000"/>
              <a:gd name="connsiteX105" fmla="*/ 9047445 w 11064076"/>
              <a:gd name="connsiteY105" fmla="*/ 4330065 h 6858000"/>
              <a:gd name="connsiteX106" fmla="*/ 9051788 w 11064076"/>
              <a:gd name="connsiteY106" fmla="*/ 4325938 h 6858000"/>
              <a:gd name="connsiteX107" fmla="*/ 9056465 w 11064076"/>
              <a:gd name="connsiteY107" fmla="*/ 4321810 h 6858000"/>
              <a:gd name="connsiteX108" fmla="*/ 9061143 w 11064076"/>
              <a:gd name="connsiteY108" fmla="*/ 4317048 h 6858000"/>
              <a:gd name="connsiteX109" fmla="*/ 9065152 w 11064076"/>
              <a:gd name="connsiteY109" fmla="*/ 4312285 h 6858000"/>
              <a:gd name="connsiteX110" fmla="*/ 9068827 w 11064076"/>
              <a:gd name="connsiteY110" fmla="*/ 4307523 h 6858000"/>
              <a:gd name="connsiteX111" fmla="*/ 9072168 w 11064076"/>
              <a:gd name="connsiteY111" fmla="*/ 4302443 h 6858000"/>
              <a:gd name="connsiteX112" fmla="*/ 9075509 w 11064076"/>
              <a:gd name="connsiteY112" fmla="*/ 4297363 h 6858000"/>
              <a:gd name="connsiteX113" fmla="*/ 9078516 w 11064076"/>
              <a:gd name="connsiteY113" fmla="*/ 4292283 h 6858000"/>
              <a:gd name="connsiteX114" fmla="*/ 9081189 w 11064076"/>
              <a:gd name="connsiteY114" fmla="*/ 4286568 h 6858000"/>
              <a:gd name="connsiteX115" fmla="*/ 9083528 w 11064076"/>
              <a:gd name="connsiteY115" fmla="*/ 4281170 h 6858000"/>
              <a:gd name="connsiteX116" fmla="*/ 9085532 w 11064076"/>
              <a:gd name="connsiteY116" fmla="*/ 4275455 h 6858000"/>
              <a:gd name="connsiteX117" fmla="*/ 9087537 w 11064076"/>
              <a:gd name="connsiteY117" fmla="*/ 4270058 h 6858000"/>
              <a:gd name="connsiteX118" fmla="*/ 9089207 w 11064076"/>
              <a:gd name="connsiteY118" fmla="*/ 4264025 h 6858000"/>
              <a:gd name="connsiteX119" fmla="*/ 9090544 w 11064076"/>
              <a:gd name="connsiteY119" fmla="*/ 4258310 h 6858000"/>
              <a:gd name="connsiteX120" fmla="*/ 9091546 w 11064076"/>
              <a:gd name="connsiteY120" fmla="*/ 4252595 h 6858000"/>
              <a:gd name="connsiteX121" fmla="*/ 9092214 w 11064076"/>
              <a:gd name="connsiteY121" fmla="*/ 4246563 h 6858000"/>
              <a:gd name="connsiteX122" fmla="*/ 9092548 w 11064076"/>
              <a:gd name="connsiteY122" fmla="*/ 4240848 h 6858000"/>
              <a:gd name="connsiteX123" fmla="*/ 9092548 w 11064076"/>
              <a:gd name="connsiteY123" fmla="*/ 4234815 h 6858000"/>
              <a:gd name="connsiteX124" fmla="*/ 9092548 w 11064076"/>
              <a:gd name="connsiteY124" fmla="*/ 4228783 h 6858000"/>
              <a:gd name="connsiteX125" fmla="*/ 9092214 w 11064076"/>
              <a:gd name="connsiteY125" fmla="*/ 4223068 h 6858000"/>
              <a:gd name="connsiteX126" fmla="*/ 9091546 w 11064076"/>
              <a:gd name="connsiteY126" fmla="*/ 4217353 h 6858000"/>
              <a:gd name="connsiteX127" fmla="*/ 9090544 w 11064076"/>
              <a:gd name="connsiteY127" fmla="*/ 4211320 h 6858000"/>
              <a:gd name="connsiteX128" fmla="*/ 9089207 w 11064076"/>
              <a:gd name="connsiteY128" fmla="*/ 4205605 h 6858000"/>
              <a:gd name="connsiteX129" fmla="*/ 9087537 w 11064076"/>
              <a:gd name="connsiteY129" fmla="*/ 4199890 h 6858000"/>
              <a:gd name="connsiteX130" fmla="*/ 9085532 w 11064076"/>
              <a:gd name="connsiteY130" fmla="*/ 4194175 h 6858000"/>
              <a:gd name="connsiteX131" fmla="*/ 9083528 w 11064076"/>
              <a:gd name="connsiteY131" fmla="*/ 4188460 h 6858000"/>
              <a:gd name="connsiteX132" fmla="*/ 9081189 w 11064076"/>
              <a:gd name="connsiteY132" fmla="*/ 4183063 h 6858000"/>
              <a:gd name="connsiteX133" fmla="*/ 9078516 w 11064076"/>
              <a:gd name="connsiteY133" fmla="*/ 4177665 h 6858000"/>
              <a:gd name="connsiteX134" fmla="*/ 9075509 w 11064076"/>
              <a:gd name="connsiteY134" fmla="*/ 4172268 h 6858000"/>
              <a:gd name="connsiteX135" fmla="*/ 9072168 w 11064076"/>
              <a:gd name="connsiteY135" fmla="*/ 4166870 h 6858000"/>
              <a:gd name="connsiteX136" fmla="*/ 9068827 w 11064076"/>
              <a:gd name="connsiteY136" fmla="*/ 4161790 h 6858000"/>
              <a:gd name="connsiteX137" fmla="*/ 9065152 w 11064076"/>
              <a:gd name="connsiteY137" fmla="*/ 4157028 h 6858000"/>
              <a:gd name="connsiteX138" fmla="*/ 9061143 w 11064076"/>
              <a:gd name="connsiteY138" fmla="*/ 4152265 h 6858000"/>
              <a:gd name="connsiteX139" fmla="*/ 9056465 w 11064076"/>
              <a:gd name="connsiteY139" fmla="*/ 4147820 h 6858000"/>
              <a:gd name="connsiteX140" fmla="*/ 8669577 w 11064076"/>
              <a:gd name="connsiteY140" fmla="*/ 3761423 h 6858000"/>
              <a:gd name="connsiteX141" fmla="*/ 8473460 w 11064076"/>
              <a:gd name="connsiteY141" fmla="*/ 3565208 h 6858000"/>
              <a:gd name="connsiteX142" fmla="*/ 8468782 w 11064076"/>
              <a:gd name="connsiteY142" fmla="*/ 3560445 h 6858000"/>
              <a:gd name="connsiteX143" fmla="*/ 8464773 w 11064076"/>
              <a:gd name="connsiteY143" fmla="*/ 3555683 h 6858000"/>
              <a:gd name="connsiteX144" fmla="*/ 8461098 w 11064076"/>
              <a:gd name="connsiteY144" fmla="*/ 3550920 h 6858000"/>
              <a:gd name="connsiteX145" fmla="*/ 8457423 w 11064076"/>
              <a:gd name="connsiteY145" fmla="*/ 3545840 h 6858000"/>
              <a:gd name="connsiteX146" fmla="*/ 8454082 w 11064076"/>
              <a:gd name="connsiteY146" fmla="*/ 3540760 h 6858000"/>
              <a:gd name="connsiteX147" fmla="*/ 8451409 w 11064076"/>
              <a:gd name="connsiteY147" fmla="*/ 3535680 h 6858000"/>
              <a:gd name="connsiteX148" fmla="*/ 8448736 w 11064076"/>
              <a:gd name="connsiteY148" fmla="*/ 3529965 h 6858000"/>
              <a:gd name="connsiteX149" fmla="*/ 8446398 w 11064076"/>
              <a:gd name="connsiteY149" fmla="*/ 3524568 h 6858000"/>
              <a:gd name="connsiteX150" fmla="*/ 8444059 w 11064076"/>
              <a:gd name="connsiteY150" fmla="*/ 3518853 h 6858000"/>
              <a:gd name="connsiteX151" fmla="*/ 8442054 w 11064076"/>
              <a:gd name="connsiteY151" fmla="*/ 3513455 h 6858000"/>
              <a:gd name="connsiteX152" fmla="*/ 8440718 w 11064076"/>
              <a:gd name="connsiteY152" fmla="*/ 3507423 h 6858000"/>
              <a:gd name="connsiteX153" fmla="*/ 8439382 w 11064076"/>
              <a:gd name="connsiteY153" fmla="*/ 3501708 h 6858000"/>
              <a:gd name="connsiteX154" fmla="*/ 8438379 w 11064076"/>
              <a:gd name="connsiteY154" fmla="*/ 3495993 h 6858000"/>
              <a:gd name="connsiteX155" fmla="*/ 8437711 w 11064076"/>
              <a:gd name="connsiteY155" fmla="*/ 3489960 h 6858000"/>
              <a:gd name="connsiteX156" fmla="*/ 8437377 w 11064076"/>
              <a:gd name="connsiteY156" fmla="*/ 3484245 h 6858000"/>
              <a:gd name="connsiteX157" fmla="*/ 8437043 w 11064076"/>
              <a:gd name="connsiteY157" fmla="*/ 3478213 h 6858000"/>
              <a:gd name="connsiteX158" fmla="*/ 8437377 w 11064076"/>
              <a:gd name="connsiteY158" fmla="*/ 3472180 h 6858000"/>
              <a:gd name="connsiteX159" fmla="*/ 8437711 w 11064076"/>
              <a:gd name="connsiteY159" fmla="*/ 3466465 h 6858000"/>
              <a:gd name="connsiteX160" fmla="*/ 8438379 w 11064076"/>
              <a:gd name="connsiteY160" fmla="*/ 3460750 h 6858000"/>
              <a:gd name="connsiteX161" fmla="*/ 8439382 w 11064076"/>
              <a:gd name="connsiteY161" fmla="*/ 3454718 h 6858000"/>
              <a:gd name="connsiteX162" fmla="*/ 8440718 w 11064076"/>
              <a:gd name="connsiteY162" fmla="*/ 3449003 h 6858000"/>
              <a:gd name="connsiteX163" fmla="*/ 8442054 w 11064076"/>
              <a:gd name="connsiteY163" fmla="*/ 3443288 h 6858000"/>
              <a:gd name="connsiteX164" fmla="*/ 8444059 w 11064076"/>
              <a:gd name="connsiteY164" fmla="*/ 3437255 h 6858000"/>
              <a:gd name="connsiteX165" fmla="*/ 8446398 w 11064076"/>
              <a:gd name="connsiteY165" fmla="*/ 3431858 h 6858000"/>
              <a:gd name="connsiteX166" fmla="*/ 8448736 w 11064076"/>
              <a:gd name="connsiteY166" fmla="*/ 3426460 h 6858000"/>
              <a:gd name="connsiteX167" fmla="*/ 8451409 w 11064076"/>
              <a:gd name="connsiteY167" fmla="*/ 3421063 h 6858000"/>
              <a:gd name="connsiteX168" fmla="*/ 8454082 w 11064076"/>
              <a:gd name="connsiteY168" fmla="*/ 3415348 h 6858000"/>
              <a:gd name="connsiteX169" fmla="*/ 8457423 w 11064076"/>
              <a:gd name="connsiteY169" fmla="*/ 3410268 h 6858000"/>
              <a:gd name="connsiteX170" fmla="*/ 8461098 w 11064076"/>
              <a:gd name="connsiteY170" fmla="*/ 3405505 h 6858000"/>
              <a:gd name="connsiteX171" fmla="*/ 8464773 w 11064076"/>
              <a:gd name="connsiteY171" fmla="*/ 3400425 h 6858000"/>
              <a:gd name="connsiteX172" fmla="*/ 8468782 w 11064076"/>
              <a:gd name="connsiteY172" fmla="*/ 3395663 h 6858000"/>
              <a:gd name="connsiteX173" fmla="*/ 8473460 w 11064076"/>
              <a:gd name="connsiteY173" fmla="*/ 3391218 h 6858000"/>
              <a:gd name="connsiteX174" fmla="*/ 8477803 w 11064076"/>
              <a:gd name="connsiteY174" fmla="*/ 3386773 h 6858000"/>
              <a:gd name="connsiteX175" fmla="*/ 8482481 w 11064076"/>
              <a:gd name="connsiteY175" fmla="*/ 3382645 h 6858000"/>
              <a:gd name="connsiteX176" fmla="*/ 8487826 w 11064076"/>
              <a:gd name="connsiteY176" fmla="*/ 3378835 h 6858000"/>
              <a:gd name="connsiteX177" fmla="*/ 8492504 w 11064076"/>
              <a:gd name="connsiteY177" fmla="*/ 3375343 h 6858000"/>
              <a:gd name="connsiteX178" fmla="*/ 8497515 w 11064076"/>
              <a:gd name="connsiteY178" fmla="*/ 3372168 h 6858000"/>
              <a:gd name="connsiteX179" fmla="*/ 8503195 w 11064076"/>
              <a:gd name="connsiteY179" fmla="*/ 3369310 h 6858000"/>
              <a:gd name="connsiteX180" fmla="*/ 8508540 w 11064076"/>
              <a:gd name="connsiteY180" fmla="*/ 3366453 h 6858000"/>
              <a:gd name="connsiteX181" fmla="*/ 8514220 w 11064076"/>
              <a:gd name="connsiteY181" fmla="*/ 3364230 h 6858000"/>
              <a:gd name="connsiteX182" fmla="*/ 8519566 w 11064076"/>
              <a:gd name="connsiteY182" fmla="*/ 3362008 h 6858000"/>
              <a:gd name="connsiteX183" fmla="*/ 8525245 w 11064076"/>
              <a:gd name="connsiteY183" fmla="*/ 3360103 h 6858000"/>
              <a:gd name="connsiteX184" fmla="*/ 8531259 w 11064076"/>
              <a:gd name="connsiteY184" fmla="*/ 3358833 h 6858000"/>
              <a:gd name="connsiteX185" fmla="*/ 8536939 w 11064076"/>
              <a:gd name="connsiteY185" fmla="*/ 3357245 h 6858000"/>
              <a:gd name="connsiteX186" fmla="*/ 8542953 w 11064076"/>
              <a:gd name="connsiteY186" fmla="*/ 3356293 h 6858000"/>
              <a:gd name="connsiteX187" fmla="*/ 8548632 w 11064076"/>
              <a:gd name="connsiteY187" fmla="*/ 3355658 h 6858000"/>
              <a:gd name="connsiteX188" fmla="*/ 8554646 w 11064076"/>
              <a:gd name="connsiteY188" fmla="*/ 3355340 h 6858000"/>
              <a:gd name="connsiteX189" fmla="*/ 8560326 w 11064076"/>
              <a:gd name="connsiteY189" fmla="*/ 3355023 h 6858000"/>
              <a:gd name="connsiteX190" fmla="*/ 8566340 w 11064076"/>
              <a:gd name="connsiteY190" fmla="*/ 3355340 h 6858000"/>
              <a:gd name="connsiteX191" fmla="*/ 8572354 w 11064076"/>
              <a:gd name="connsiteY191" fmla="*/ 3355658 h 6858000"/>
              <a:gd name="connsiteX192" fmla="*/ 8578033 w 11064076"/>
              <a:gd name="connsiteY192" fmla="*/ 3356293 h 6858000"/>
              <a:gd name="connsiteX193" fmla="*/ 8584047 w 11064076"/>
              <a:gd name="connsiteY193" fmla="*/ 3357245 h 6858000"/>
              <a:gd name="connsiteX194" fmla="*/ 8589727 w 11064076"/>
              <a:gd name="connsiteY194" fmla="*/ 3358833 h 6858000"/>
              <a:gd name="connsiteX195" fmla="*/ 8595741 w 11064076"/>
              <a:gd name="connsiteY195" fmla="*/ 3360103 h 6858000"/>
              <a:gd name="connsiteX196" fmla="*/ 8601086 w 11064076"/>
              <a:gd name="connsiteY196" fmla="*/ 3362008 h 6858000"/>
              <a:gd name="connsiteX197" fmla="*/ 8606766 w 11064076"/>
              <a:gd name="connsiteY197" fmla="*/ 3364230 h 6858000"/>
              <a:gd name="connsiteX198" fmla="*/ 8612446 w 11064076"/>
              <a:gd name="connsiteY198" fmla="*/ 3366453 h 6858000"/>
              <a:gd name="connsiteX199" fmla="*/ 8617791 w 11064076"/>
              <a:gd name="connsiteY199" fmla="*/ 3369310 h 6858000"/>
              <a:gd name="connsiteX200" fmla="*/ 8623137 w 11064076"/>
              <a:gd name="connsiteY200" fmla="*/ 3372168 h 6858000"/>
              <a:gd name="connsiteX201" fmla="*/ 8628148 w 11064076"/>
              <a:gd name="connsiteY201" fmla="*/ 3375343 h 6858000"/>
              <a:gd name="connsiteX202" fmla="*/ 8633160 w 11064076"/>
              <a:gd name="connsiteY202" fmla="*/ 3378835 h 6858000"/>
              <a:gd name="connsiteX203" fmla="*/ 8638171 w 11064076"/>
              <a:gd name="connsiteY203" fmla="*/ 3382645 h 6858000"/>
              <a:gd name="connsiteX204" fmla="*/ 8642849 w 11064076"/>
              <a:gd name="connsiteY204" fmla="*/ 3386773 h 6858000"/>
              <a:gd name="connsiteX205" fmla="*/ 8647526 w 11064076"/>
              <a:gd name="connsiteY205" fmla="*/ 3391218 h 6858000"/>
              <a:gd name="connsiteX206" fmla="*/ 8855003 w 11064076"/>
              <a:gd name="connsiteY206" fmla="*/ 3598228 h 6858000"/>
              <a:gd name="connsiteX207" fmla="*/ 8859346 w 11064076"/>
              <a:gd name="connsiteY207" fmla="*/ 3602673 h 6858000"/>
              <a:gd name="connsiteX208" fmla="*/ 8864023 w 11064076"/>
              <a:gd name="connsiteY208" fmla="*/ 3606800 h 6858000"/>
              <a:gd name="connsiteX209" fmla="*/ 8869369 w 11064076"/>
              <a:gd name="connsiteY209" fmla="*/ 3610610 h 6858000"/>
              <a:gd name="connsiteX210" fmla="*/ 8874046 w 11064076"/>
              <a:gd name="connsiteY210" fmla="*/ 3613785 h 6858000"/>
              <a:gd name="connsiteX211" fmla="*/ 8879392 w 11064076"/>
              <a:gd name="connsiteY211" fmla="*/ 3617278 h 6858000"/>
              <a:gd name="connsiteX212" fmla="*/ 8884738 w 11064076"/>
              <a:gd name="connsiteY212" fmla="*/ 3620135 h 6858000"/>
              <a:gd name="connsiteX213" fmla="*/ 8890083 w 11064076"/>
              <a:gd name="connsiteY213" fmla="*/ 3622675 h 6858000"/>
              <a:gd name="connsiteX214" fmla="*/ 8895763 w 11064076"/>
              <a:gd name="connsiteY214" fmla="*/ 3625215 h 6858000"/>
              <a:gd name="connsiteX215" fmla="*/ 8901109 w 11064076"/>
              <a:gd name="connsiteY215" fmla="*/ 3627120 h 6858000"/>
              <a:gd name="connsiteX216" fmla="*/ 8906788 w 11064076"/>
              <a:gd name="connsiteY216" fmla="*/ 3629343 h 6858000"/>
              <a:gd name="connsiteX217" fmla="*/ 8912802 w 11064076"/>
              <a:gd name="connsiteY217" fmla="*/ 3630613 h 6858000"/>
              <a:gd name="connsiteX218" fmla="*/ 8918482 w 11064076"/>
              <a:gd name="connsiteY218" fmla="*/ 3631883 h 6858000"/>
              <a:gd name="connsiteX219" fmla="*/ 8924496 w 11064076"/>
              <a:gd name="connsiteY219" fmla="*/ 3633153 h 6858000"/>
              <a:gd name="connsiteX220" fmla="*/ 8930175 w 11064076"/>
              <a:gd name="connsiteY220" fmla="*/ 3633788 h 6858000"/>
              <a:gd name="connsiteX221" fmla="*/ 8936189 w 11064076"/>
              <a:gd name="connsiteY221" fmla="*/ 3634105 h 6858000"/>
              <a:gd name="connsiteX222" fmla="*/ 8941869 w 11064076"/>
              <a:gd name="connsiteY222" fmla="*/ 3634105 h 6858000"/>
              <a:gd name="connsiteX223" fmla="*/ 8947883 w 11064076"/>
              <a:gd name="connsiteY223" fmla="*/ 3634105 h 6858000"/>
              <a:gd name="connsiteX224" fmla="*/ 8953897 w 11064076"/>
              <a:gd name="connsiteY224" fmla="*/ 3633788 h 6858000"/>
              <a:gd name="connsiteX225" fmla="*/ 8959576 w 11064076"/>
              <a:gd name="connsiteY225" fmla="*/ 3633153 h 6858000"/>
              <a:gd name="connsiteX226" fmla="*/ 8965590 w 11064076"/>
              <a:gd name="connsiteY226" fmla="*/ 3631883 h 6858000"/>
              <a:gd name="connsiteX227" fmla="*/ 8971270 w 11064076"/>
              <a:gd name="connsiteY227" fmla="*/ 3630613 h 6858000"/>
              <a:gd name="connsiteX228" fmla="*/ 8977284 w 11064076"/>
              <a:gd name="connsiteY228" fmla="*/ 3629343 h 6858000"/>
              <a:gd name="connsiteX229" fmla="*/ 8982629 w 11064076"/>
              <a:gd name="connsiteY229" fmla="*/ 3627120 h 6858000"/>
              <a:gd name="connsiteX230" fmla="*/ 8988309 w 11064076"/>
              <a:gd name="connsiteY230" fmla="*/ 3625215 h 6858000"/>
              <a:gd name="connsiteX231" fmla="*/ 8993989 w 11064076"/>
              <a:gd name="connsiteY231" fmla="*/ 3622675 h 6858000"/>
              <a:gd name="connsiteX232" fmla="*/ 8999334 w 11064076"/>
              <a:gd name="connsiteY232" fmla="*/ 3620135 h 6858000"/>
              <a:gd name="connsiteX233" fmla="*/ 9004680 w 11064076"/>
              <a:gd name="connsiteY233" fmla="*/ 3617278 h 6858000"/>
              <a:gd name="connsiteX234" fmla="*/ 9009691 w 11064076"/>
              <a:gd name="connsiteY234" fmla="*/ 3613785 h 6858000"/>
              <a:gd name="connsiteX235" fmla="*/ 9014703 w 11064076"/>
              <a:gd name="connsiteY235" fmla="*/ 3610610 h 6858000"/>
              <a:gd name="connsiteX236" fmla="*/ 9020048 w 11064076"/>
              <a:gd name="connsiteY236" fmla="*/ 3606800 h 6858000"/>
              <a:gd name="connsiteX237" fmla="*/ 9024392 w 11064076"/>
              <a:gd name="connsiteY237" fmla="*/ 3602673 h 6858000"/>
              <a:gd name="connsiteX238" fmla="*/ 9029069 w 11064076"/>
              <a:gd name="connsiteY238" fmla="*/ 3598228 h 6858000"/>
              <a:gd name="connsiteX239" fmla="*/ 9033747 w 11064076"/>
              <a:gd name="connsiteY239" fmla="*/ 3593783 h 6858000"/>
              <a:gd name="connsiteX240" fmla="*/ 9037756 w 11064076"/>
              <a:gd name="connsiteY240" fmla="*/ 3589020 h 6858000"/>
              <a:gd name="connsiteX241" fmla="*/ 9041431 w 11064076"/>
              <a:gd name="connsiteY241" fmla="*/ 3583940 h 6858000"/>
              <a:gd name="connsiteX242" fmla="*/ 9044772 w 11064076"/>
              <a:gd name="connsiteY242" fmla="*/ 3578860 h 6858000"/>
              <a:gd name="connsiteX243" fmla="*/ 9048113 w 11064076"/>
              <a:gd name="connsiteY243" fmla="*/ 3573463 h 6858000"/>
              <a:gd name="connsiteX244" fmla="*/ 9051120 w 11064076"/>
              <a:gd name="connsiteY244" fmla="*/ 3568383 h 6858000"/>
              <a:gd name="connsiteX245" fmla="*/ 9053793 w 11064076"/>
              <a:gd name="connsiteY245" fmla="*/ 3562985 h 6858000"/>
              <a:gd name="connsiteX246" fmla="*/ 9056131 w 11064076"/>
              <a:gd name="connsiteY246" fmla="*/ 3557588 h 6858000"/>
              <a:gd name="connsiteX247" fmla="*/ 9058136 w 11064076"/>
              <a:gd name="connsiteY247" fmla="*/ 3551873 h 6858000"/>
              <a:gd name="connsiteX248" fmla="*/ 9060141 w 11064076"/>
              <a:gd name="connsiteY248" fmla="*/ 3546158 h 6858000"/>
              <a:gd name="connsiteX249" fmla="*/ 9061811 w 11064076"/>
              <a:gd name="connsiteY249" fmla="*/ 3540443 h 6858000"/>
              <a:gd name="connsiteX250" fmla="*/ 9063147 w 11064076"/>
              <a:gd name="connsiteY250" fmla="*/ 3534410 h 6858000"/>
              <a:gd name="connsiteX251" fmla="*/ 9064150 w 11064076"/>
              <a:gd name="connsiteY251" fmla="*/ 3528695 h 6858000"/>
              <a:gd name="connsiteX252" fmla="*/ 9064818 w 11064076"/>
              <a:gd name="connsiteY252" fmla="*/ 3522980 h 6858000"/>
              <a:gd name="connsiteX253" fmla="*/ 9065152 w 11064076"/>
              <a:gd name="connsiteY253" fmla="*/ 3516948 h 6858000"/>
              <a:gd name="connsiteX254" fmla="*/ 9065152 w 11064076"/>
              <a:gd name="connsiteY254" fmla="*/ 3511233 h 6858000"/>
              <a:gd name="connsiteX255" fmla="*/ 9065152 w 11064076"/>
              <a:gd name="connsiteY255" fmla="*/ 3505200 h 6858000"/>
              <a:gd name="connsiteX256" fmla="*/ 9064818 w 11064076"/>
              <a:gd name="connsiteY256" fmla="*/ 3499168 h 6858000"/>
              <a:gd name="connsiteX257" fmla="*/ 9064150 w 11064076"/>
              <a:gd name="connsiteY257" fmla="*/ 3493453 h 6858000"/>
              <a:gd name="connsiteX258" fmla="*/ 9063147 w 11064076"/>
              <a:gd name="connsiteY258" fmla="*/ 3487738 h 6858000"/>
              <a:gd name="connsiteX259" fmla="*/ 9061811 w 11064076"/>
              <a:gd name="connsiteY259" fmla="*/ 3481705 h 6858000"/>
              <a:gd name="connsiteX260" fmla="*/ 9060141 w 11064076"/>
              <a:gd name="connsiteY260" fmla="*/ 3475990 h 6858000"/>
              <a:gd name="connsiteX261" fmla="*/ 9058136 w 11064076"/>
              <a:gd name="connsiteY261" fmla="*/ 3470593 h 6858000"/>
              <a:gd name="connsiteX262" fmla="*/ 9056131 w 11064076"/>
              <a:gd name="connsiteY262" fmla="*/ 3464878 h 6858000"/>
              <a:gd name="connsiteX263" fmla="*/ 9053793 w 11064076"/>
              <a:gd name="connsiteY263" fmla="*/ 3459163 h 6858000"/>
              <a:gd name="connsiteX264" fmla="*/ 9051120 w 11064076"/>
              <a:gd name="connsiteY264" fmla="*/ 3453765 h 6858000"/>
              <a:gd name="connsiteX265" fmla="*/ 9048113 w 11064076"/>
              <a:gd name="connsiteY265" fmla="*/ 3448685 h 6858000"/>
              <a:gd name="connsiteX266" fmla="*/ 9044772 w 11064076"/>
              <a:gd name="connsiteY266" fmla="*/ 3443605 h 6858000"/>
              <a:gd name="connsiteX267" fmla="*/ 9041431 w 11064076"/>
              <a:gd name="connsiteY267" fmla="*/ 3438525 h 6858000"/>
              <a:gd name="connsiteX268" fmla="*/ 9037756 w 11064076"/>
              <a:gd name="connsiteY268" fmla="*/ 3433763 h 6858000"/>
              <a:gd name="connsiteX269" fmla="*/ 9033747 w 11064076"/>
              <a:gd name="connsiteY269" fmla="*/ 3428683 h 6858000"/>
              <a:gd name="connsiteX270" fmla="*/ 9029069 w 11064076"/>
              <a:gd name="connsiteY270" fmla="*/ 3423920 h 6858000"/>
              <a:gd name="connsiteX271" fmla="*/ 8360534 w 11064076"/>
              <a:gd name="connsiteY271" fmla="*/ 2756218 h 6858000"/>
              <a:gd name="connsiteX272" fmla="*/ 8357193 w 11064076"/>
              <a:gd name="connsiteY272" fmla="*/ 2753043 h 6858000"/>
              <a:gd name="connsiteX273" fmla="*/ 8353852 w 11064076"/>
              <a:gd name="connsiteY273" fmla="*/ 2749233 h 6858000"/>
              <a:gd name="connsiteX274" fmla="*/ 8347504 w 11064076"/>
              <a:gd name="connsiteY274" fmla="*/ 2741295 h 6858000"/>
              <a:gd name="connsiteX275" fmla="*/ 8342492 w 11064076"/>
              <a:gd name="connsiteY275" fmla="*/ 2733040 h 6858000"/>
              <a:gd name="connsiteX276" fmla="*/ 8337815 w 11064076"/>
              <a:gd name="connsiteY276" fmla="*/ 2724468 h 6858000"/>
              <a:gd name="connsiteX277" fmla="*/ 8333471 w 11064076"/>
              <a:gd name="connsiteY277" fmla="*/ 2715895 h 6858000"/>
              <a:gd name="connsiteX278" fmla="*/ 8330465 w 11064076"/>
              <a:gd name="connsiteY278" fmla="*/ 2707005 h 6858000"/>
              <a:gd name="connsiteX279" fmla="*/ 8328126 w 11064076"/>
              <a:gd name="connsiteY279" fmla="*/ 2697798 h 6858000"/>
              <a:gd name="connsiteX280" fmla="*/ 8326121 w 11064076"/>
              <a:gd name="connsiteY280" fmla="*/ 2688590 h 6858000"/>
              <a:gd name="connsiteX281" fmla="*/ 5629596 w 11064076"/>
              <a:gd name="connsiteY281" fmla="*/ 0 h 6858000"/>
              <a:gd name="connsiteX0" fmla="*/ 5629596 w 11064076"/>
              <a:gd name="connsiteY0" fmla="*/ 0 h 6858000"/>
              <a:gd name="connsiteX1" fmla="*/ 0 w 11064076"/>
              <a:gd name="connsiteY1" fmla="*/ 0 h 6858000"/>
              <a:gd name="connsiteX2" fmla="*/ 0 w 11064076"/>
              <a:gd name="connsiteY2" fmla="*/ 6858000 h 6858000"/>
              <a:gd name="connsiteX3" fmla="*/ 11064076 w 11064076"/>
              <a:gd name="connsiteY3" fmla="*/ 6858000 h 6858000"/>
              <a:gd name="connsiteX4" fmla="*/ 9033747 w 11064076"/>
              <a:gd name="connsiteY4" fmla="*/ 4816793 h 6858000"/>
              <a:gd name="connsiteX5" fmla="*/ 9018378 w 11064076"/>
              <a:gd name="connsiteY5" fmla="*/ 4803458 h 6858000"/>
              <a:gd name="connsiteX6" fmla="*/ 9003009 w 11064076"/>
              <a:gd name="connsiteY6" fmla="*/ 4789488 h 6858000"/>
              <a:gd name="connsiteX7" fmla="*/ 8987975 w 11064076"/>
              <a:gd name="connsiteY7" fmla="*/ 4775518 h 6858000"/>
              <a:gd name="connsiteX8" fmla="*/ 8973274 w 11064076"/>
              <a:gd name="connsiteY8" fmla="*/ 4760913 h 6858000"/>
              <a:gd name="connsiteX9" fmla="*/ 8039129 w 11064076"/>
              <a:gd name="connsiteY9" fmla="*/ 3828098 h 6858000"/>
              <a:gd name="connsiteX10" fmla="*/ 8034451 w 11064076"/>
              <a:gd name="connsiteY10" fmla="*/ 3823335 h 6858000"/>
              <a:gd name="connsiteX11" fmla="*/ 8030443 w 11064076"/>
              <a:gd name="connsiteY11" fmla="*/ 3818573 h 6858000"/>
              <a:gd name="connsiteX12" fmla="*/ 8026767 w 11064076"/>
              <a:gd name="connsiteY12" fmla="*/ 3813493 h 6858000"/>
              <a:gd name="connsiteX13" fmla="*/ 8023426 w 11064076"/>
              <a:gd name="connsiteY13" fmla="*/ 3808413 h 6858000"/>
              <a:gd name="connsiteX14" fmla="*/ 8020086 w 11064076"/>
              <a:gd name="connsiteY14" fmla="*/ 3803333 h 6858000"/>
              <a:gd name="connsiteX15" fmla="*/ 8017079 w 11064076"/>
              <a:gd name="connsiteY15" fmla="*/ 3798253 h 6858000"/>
              <a:gd name="connsiteX16" fmla="*/ 8014406 w 11064076"/>
              <a:gd name="connsiteY16" fmla="*/ 3792855 h 6858000"/>
              <a:gd name="connsiteX17" fmla="*/ 8012067 w 11064076"/>
              <a:gd name="connsiteY17" fmla="*/ 3787458 h 6858000"/>
              <a:gd name="connsiteX18" fmla="*/ 8010062 w 11064076"/>
              <a:gd name="connsiteY18" fmla="*/ 3781425 h 6858000"/>
              <a:gd name="connsiteX19" fmla="*/ 8008392 w 11064076"/>
              <a:gd name="connsiteY19" fmla="*/ 3776028 h 6858000"/>
              <a:gd name="connsiteX20" fmla="*/ 8006387 w 11064076"/>
              <a:gd name="connsiteY20" fmla="*/ 3770313 h 6858000"/>
              <a:gd name="connsiteX21" fmla="*/ 8005051 w 11064076"/>
              <a:gd name="connsiteY21" fmla="*/ 3764280 h 6858000"/>
              <a:gd name="connsiteX22" fmla="*/ 8004049 w 11064076"/>
              <a:gd name="connsiteY22" fmla="*/ 3758565 h 6858000"/>
              <a:gd name="connsiteX23" fmla="*/ 8003380 w 11064076"/>
              <a:gd name="connsiteY23" fmla="*/ 3752850 h 6858000"/>
              <a:gd name="connsiteX24" fmla="*/ 8003046 w 11064076"/>
              <a:gd name="connsiteY24" fmla="*/ 3746818 h 6858000"/>
              <a:gd name="connsiteX25" fmla="*/ 8003046 w 11064076"/>
              <a:gd name="connsiteY25" fmla="*/ 3740785 h 6858000"/>
              <a:gd name="connsiteX26" fmla="*/ 8003046 w 11064076"/>
              <a:gd name="connsiteY26" fmla="*/ 3735070 h 6858000"/>
              <a:gd name="connsiteX27" fmla="*/ 8003380 w 11064076"/>
              <a:gd name="connsiteY27" fmla="*/ 3729038 h 6858000"/>
              <a:gd name="connsiteX28" fmla="*/ 8004049 w 11064076"/>
              <a:gd name="connsiteY28" fmla="*/ 3723323 h 6858000"/>
              <a:gd name="connsiteX29" fmla="*/ 8005051 w 11064076"/>
              <a:gd name="connsiteY29" fmla="*/ 3717608 h 6858000"/>
              <a:gd name="connsiteX30" fmla="*/ 8006387 w 11064076"/>
              <a:gd name="connsiteY30" fmla="*/ 3711575 h 6858000"/>
              <a:gd name="connsiteX31" fmla="*/ 8008392 w 11064076"/>
              <a:gd name="connsiteY31" fmla="*/ 3705860 h 6858000"/>
              <a:gd name="connsiteX32" fmla="*/ 8010062 w 11064076"/>
              <a:gd name="connsiteY32" fmla="*/ 3700145 h 6858000"/>
              <a:gd name="connsiteX33" fmla="*/ 8012067 w 11064076"/>
              <a:gd name="connsiteY33" fmla="*/ 3694748 h 6858000"/>
              <a:gd name="connsiteX34" fmla="*/ 8014406 w 11064076"/>
              <a:gd name="connsiteY34" fmla="*/ 3689033 h 6858000"/>
              <a:gd name="connsiteX35" fmla="*/ 8017079 w 11064076"/>
              <a:gd name="connsiteY35" fmla="*/ 3683635 h 6858000"/>
              <a:gd name="connsiteX36" fmla="*/ 8020086 w 11064076"/>
              <a:gd name="connsiteY36" fmla="*/ 3678238 h 6858000"/>
              <a:gd name="connsiteX37" fmla="*/ 8023426 w 11064076"/>
              <a:gd name="connsiteY37" fmla="*/ 3673158 h 6858000"/>
              <a:gd name="connsiteX38" fmla="*/ 8026767 w 11064076"/>
              <a:gd name="connsiteY38" fmla="*/ 3668078 h 6858000"/>
              <a:gd name="connsiteX39" fmla="*/ 8030443 w 11064076"/>
              <a:gd name="connsiteY39" fmla="*/ 3662998 h 6858000"/>
              <a:gd name="connsiteX40" fmla="*/ 8034451 w 11064076"/>
              <a:gd name="connsiteY40" fmla="*/ 3658235 h 6858000"/>
              <a:gd name="connsiteX41" fmla="*/ 8039129 w 11064076"/>
              <a:gd name="connsiteY41" fmla="*/ 3653790 h 6858000"/>
              <a:gd name="connsiteX42" fmla="*/ 8043807 w 11064076"/>
              <a:gd name="connsiteY42" fmla="*/ 3649345 h 6858000"/>
              <a:gd name="connsiteX43" fmla="*/ 8048149 w 11064076"/>
              <a:gd name="connsiteY43" fmla="*/ 3645218 h 6858000"/>
              <a:gd name="connsiteX44" fmla="*/ 8053495 w 11064076"/>
              <a:gd name="connsiteY44" fmla="*/ 3641725 h 6858000"/>
              <a:gd name="connsiteX45" fmla="*/ 8058507 w 11064076"/>
              <a:gd name="connsiteY45" fmla="*/ 3638233 h 6858000"/>
              <a:gd name="connsiteX46" fmla="*/ 8063852 w 11064076"/>
              <a:gd name="connsiteY46" fmla="*/ 3634740 h 6858000"/>
              <a:gd name="connsiteX47" fmla="*/ 8068864 w 11064076"/>
              <a:gd name="connsiteY47" fmla="*/ 3631883 h 6858000"/>
              <a:gd name="connsiteX48" fmla="*/ 8074209 w 11064076"/>
              <a:gd name="connsiteY48" fmla="*/ 3629343 h 6858000"/>
              <a:gd name="connsiteX49" fmla="*/ 8079889 w 11064076"/>
              <a:gd name="connsiteY49" fmla="*/ 3626803 h 6858000"/>
              <a:gd name="connsiteX50" fmla="*/ 8085569 w 11064076"/>
              <a:gd name="connsiteY50" fmla="*/ 3624898 h 6858000"/>
              <a:gd name="connsiteX51" fmla="*/ 8091248 w 11064076"/>
              <a:gd name="connsiteY51" fmla="*/ 3622675 h 6858000"/>
              <a:gd name="connsiteX52" fmla="*/ 8096928 w 11064076"/>
              <a:gd name="connsiteY52" fmla="*/ 3621405 h 6858000"/>
              <a:gd name="connsiteX53" fmla="*/ 8102608 w 11064076"/>
              <a:gd name="connsiteY53" fmla="*/ 3620135 h 6858000"/>
              <a:gd name="connsiteX54" fmla="*/ 8108622 w 11064076"/>
              <a:gd name="connsiteY54" fmla="*/ 3618865 h 6858000"/>
              <a:gd name="connsiteX55" fmla="*/ 8114301 w 11064076"/>
              <a:gd name="connsiteY55" fmla="*/ 3618230 h 6858000"/>
              <a:gd name="connsiteX56" fmla="*/ 8120315 w 11064076"/>
              <a:gd name="connsiteY56" fmla="*/ 3617913 h 6858000"/>
              <a:gd name="connsiteX57" fmla="*/ 8126329 w 11064076"/>
              <a:gd name="connsiteY57" fmla="*/ 3617595 h 6858000"/>
              <a:gd name="connsiteX58" fmla="*/ 8132343 w 11064076"/>
              <a:gd name="connsiteY58" fmla="*/ 3617913 h 6858000"/>
              <a:gd name="connsiteX59" fmla="*/ 8138023 w 11064076"/>
              <a:gd name="connsiteY59" fmla="*/ 3618230 h 6858000"/>
              <a:gd name="connsiteX60" fmla="*/ 8143702 w 11064076"/>
              <a:gd name="connsiteY60" fmla="*/ 3618865 h 6858000"/>
              <a:gd name="connsiteX61" fmla="*/ 8149716 w 11064076"/>
              <a:gd name="connsiteY61" fmla="*/ 3620135 h 6858000"/>
              <a:gd name="connsiteX62" fmla="*/ 8155396 w 11064076"/>
              <a:gd name="connsiteY62" fmla="*/ 3621405 h 6858000"/>
              <a:gd name="connsiteX63" fmla="*/ 8161410 w 11064076"/>
              <a:gd name="connsiteY63" fmla="*/ 3622675 h 6858000"/>
              <a:gd name="connsiteX64" fmla="*/ 8167089 w 11064076"/>
              <a:gd name="connsiteY64" fmla="*/ 3624898 h 6858000"/>
              <a:gd name="connsiteX65" fmla="*/ 8172769 w 11064076"/>
              <a:gd name="connsiteY65" fmla="*/ 3626803 h 6858000"/>
              <a:gd name="connsiteX66" fmla="*/ 8178115 w 11064076"/>
              <a:gd name="connsiteY66" fmla="*/ 3629343 h 6858000"/>
              <a:gd name="connsiteX67" fmla="*/ 8183460 w 11064076"/>
              <a:gd name="connsiteY67" fmla="*/ 3631883 h 6858000"/>
              <a:gd name="connsiteX68" fmla="*/ 8188806 w 11064076"/>
              <a:gd name="connsiteY68" fmla="*/ 3634740 h 6858000"/>
              <a:gd name="connsiteX69" fmla="*/ 8194151 w 11064076"/>
              <a:gd name="connsiteY69" fmla="*/ 3638233 h 6858000"/>
              <a:gd name="connsiteX70" fmla="*/ 8199163 w 11064076"/>
              <a:gd name="connsiteY70" fmla="*/ 3641725 h 6858000"/>
              <a:gd name="connsiteX71" fmla="*/ 8204175 w 11064076"/>
              <a:gd name="connsiteY71" fmla="*/ 3645218 h 6858000"/>
              <a:gd name="connsiteX72" fmla="*/ 8208852 w 11064076"/>
              <a:gd name="connsiteY72" fmla="*/ 3649345 h 6858000"/>
              <a:gd name="connsiteX73" fmla="*/ 8213529 w 11064076"/>
              <a:gd name="connsiteY73" fmla="*/ 3653790 h 6858000"/>
              <a:gd name="connsiteX74" fmla="*/ 8882399 w 11064076"/>
              <a:gd name="connsiteY74" fmla="*/ 4321810 h 6858000"/>
              <a:gd name="connsiteX75" fmla="*/ 8886742 w 11064076"/>
              <a:gd name="connsiteY75" fmla="*/ 4325938 h 6858000"/>
              <a:gd name="connsiteX76" fmla="*/ 8891420 w 11064076"/>
              <a:gd name="connsiteY76" fmla="*/ 4330065 h 6858000"/>
              <a:gd name="connsiteX77" fmla="*/ 8896765 w 11064076"/>
              <a:gd name="connsiteY77" fmla="*/ 4334193 h 6858000"/>
              <a:gd name="connsiteX78" fmla="*/ 8901443 w 11064076"/>
              <a:gd name="connsiteY78" fmla="*/ 4337685 h 6858000"/>
              <a:gd name="connsiteX79" fmla="*/ 8906788 w 11064076"/>
              <a:gd name="connsiteY79" fmla="*/ 4340860 h 6858000"/>
              <a:gd name="connsiteX80" fmla="*/ 8912134 w 11064076"/>
              <a:gd name="connsiteY80" fmla="*/ 4343718 h 6858000"/>
              <a:gd name="connsiteX81" fmla="*/ 8917480 w 11064076"/>
              <a:gd name="connsiteY81" fmla="*/ 4346575 h 6858000"/>
              <a:gd name="connsiteX82" fmla="*/ 8923159 w 11064076"/>
              <a:gd name="connsiteY82" fmla="*/ 4349115 h 6858000"/>
              <a:gd name="connsiteX83" fmla="*/ 8928505 w 11064076"/>
              <a:gd name="connsiteY83" fmla="*/ 4351020 h 6858000"/>
              <a:gd name="connsiteX84" fmla="*/ 8934185 w 11064076"/>
              <a:gd name="connsiteY84" fmla="*/ 4352608 h 6858000"/>
              <a:gd name="connsiteX85" fmla="*/ 8940198 w 11064076"/>
              <a:gd name="connsiteY85" fmla="*/ 4354513 h 6858000"/>
              <a:gd name="connsiteX86" fmla="*/ 8945878 w 11064076"/>
              <a:gd name="connsiteY86" fmla="*/ 4355465 h 6858000"/>
              <a:gd name="connsiteX87" fmla="*/ 8951892 w 11064076"/>
              <a:gd name="connsiteY87" fmla="*/ 4356418 h 6858000"/>
              <a:gd name="connsiteX88" fmla="*/ 8957572 w 11064076"/>
              <a:gd name="connsiteY88" fmla="*/ 4357053 h 6858000"/>
              <a:gd name="connsiteX89" fmla="*/ 8963585 w 11064076"/>
              <a:gd name="connsiteY89" fmla="*/ 4358005 h 6858000"/>
              <a:gd name="connsiteX90" fmla="*/ 8969265 w 11064076"/>
              <a:gd name="connsiteY90" fmla="*/ 4358005 h 6858000"/>
              <a:gd name="connsiteX91" fmla="*/ 8975279 w 11064076"/>
              <a:gd name="connsiteY91" fmla="*/ 4358005 h 6858000"/>
              <a:gd name="connsiteX92" fmla="*/ 8981293 w 11064076"/>
              <a:gd name="connsiteY92" fmla="*/ 4357053 h 6858000"/>
              <a:gd name="connsiteX93" fmla="*/ 8986972 w 11064076"/>
              <a:gd name="connsiteY93" fmla="*/ 4356418 h 6858000"/>
              <a:gd name="connsiteX94" fmla="*/ 8992986 w 11064076"/>
              <a:gd name="connsiteY94" fmla="*/ 4355465 h 6858000"/>
              <a:gd name="connsiteX95" fmla="*/ 8998666 w 11064076"/>
              <a:gd name="connsiteY95" fmla="*/ 4354513 h 6858000"/>
              <a:gd name="connsiteX96" fmla="*/ 9004680 w 11064076"/>
              <a:gd name="connsiteY96" fmla="*/ 4352608 h 6858000"/>
              <a:gd name="connsiteX97" fmla="*/ 9010025 w 11064076"/>
              <a:gd name="connsiteY97" fmla="*/ 4351020 h 6858000"/>
              <a:gd name="connsiteX98" fmla="*/ 9015705 w 11064076"/>
              <a:gd name="connsiteY98" fmla="*/ 4349115 h 6858000"/>
              <a:gd name="connsiteX99" fmla="*/ 9021385 w 11064076"/>
              <a:gd name="connsiteY99" fmla="*/ 4346575 h 6858000"/>
              <a:gd name="connsiteX100" fmla="*/ 9026730 w 11064076"/>
              <a:gd name="connsiteY100" fmla="*/ 4343718 h 6858000"/>
              <a:gd name="connsiteX101" fmla="*/ 9032076 w 11064076"/>
              <a:gd name="connsiteY101" fmla="*/ 4340860 h 6858000"/>
              <a:gd name="connsiteX102" fmla="*/ 9037088 w 11064076"/>
              <a:gd name="connsiteY102" fmla="*/ 4337685 h 6858000"/>
              <a:gd name="connsiteX103" fmla="*/ 9042099 w 11064076"/>
              <a:gd name="connsiteY103" fmla="*/ 4334193 h 6858000"/>
              <a:gd name="connsiteX104" fmla="*/ 9047445 w 11064076"/>
              <a:gd name="connsiteY104" fmla="*/ 4330065 h 6858000"/>
              <a:gd name="connsiteX105" fmla="*/ 9051788 w 11064076"/>
              <a:gd name="connsiteY105" fmla="*/ 4325938 h 6858000"/>
              <a:gd name="connsiteX106" fmla="*/ 9056465 w 11064076"/>
              <a:gd name="connsiteY106" fmla="*/ 4321810 h 6858000"/>
              <a:gd name="connsiteX107" fmla="*/ 9061143 w 11064076"/>
              <a:gd name="connsiteY107" fmla="*/ 4317048 h 6858000"/>
              <a:gd name="connsiteX108" fmla="*/ 9065152 w 11064076"/>
              <a:gd name="connsiteY108" fmla="*/ 4312285 h 6858000"/>
              <a:gd name="connsiteX109" fmla="*/ 9068827 w 11064076"/>
              <a:gd name="connsiteY109" fmla="*/ 4307523 h 6858000"/>
              <a:gd name="connsiteX110" fmla="*/ 9072168 w 11064076"/>
              <a:gd name="connsiteY110" fmla="*/ 4302443 h 6858000"/>
              <a:gd name="connsiteX111" fmla="*/ 9075509 w 11064076"/>
              <a:gd name="connsiteY111" fmla="*/ 4297363 h 6858000"/>
              <a:gd name="connsiteX112" fmla="*/ 9078516 w 11064076"/>
              <a:gd name="connsiteY112" fmla="*/ 4292283 h 6858000"/>
              <a:gd name="connsiteX113" fmla="*/ 9081189 w 11064076"/>
              <a:gd name="connsiteY113" fmla="*/ 4286568 h 6858000"/>
              <a:gd name="connsiteX114" fmla="*/ 9083528 w 11064076"/>
              <a:gd name="connsiteY114" fmla="*/ 4281170 h 6858000"/>
              <a:gd name="connsiteX115" fmla="*/ 9085532 w 11064076"/>
              <a:gd name="connsiteY115" fmla="*/ 4275455 h 6858000"/>
              <a:gd name="connsiteX116" fmla="*/ 9087537 w 11064076"/>
              <a:gd name="connsiteY116" fmla="*/ 4270058 h 6858000"/>
              <a:gd name="connsiteX117" fmla="*/ 9089207 w 11064076"/>
              <a:gd name="connsiteY117" fmla="*/ 4264025 h 6858000"/>
              <a:gd name="connsiteX118" fmla="*/ 9090544 w 11064076"/>
              <a:gd name="connsiteY118" fmla="*/ 4258310 h 6858000"/>
              <a:gd name="connsiteX119" fmla="*/ 9091546 w 11064076"/>
              <a:gd name="connsiteY119" fmla="*/ 4252595 h 6858000"/>
              <a:gd name="connsiteX120" fmla="*/ 9092214 w 11064076"/>
              <a:gd name="connsiteY120" fmla="*/ 4246563 h 6858000"/>
              <a:gd name="connsiteX121" fmla="*/ 9092548 w 11064076"/>
              <a:gd name="connsiteY121" fmla="*/ 4240848 h 6858000"/>
              <a:gd name="connsiteX122" fmla="*/ 9092548 w 11064076"/>
              <a:gd name="connsiteY122" fmla="*/ 4234815 h 6858000"/>
              <a:gd name="connsiteX123" fmla="*/ 9092548 w 11064076"/>
              <a:gd name="connsiteY123" fmla="*/ 4228783 h 6858000"/>
              <a:gd name="connsiteX124" fmla="*/ 9092214 w 11064076"/>
              <a:gd name="connsiteY124" fmla="*/ 4223068 h 6858000"/>
              <a:gd name="connsiteX125" fmla="*/ 9091546 w 11064076"/>
              <a:gd name="connsiteY125" fmla="*/ 4217353 h 6858000"/>
              <a:gd name="connsiteX126" fmla="*/ 9090544 w 11064076"/>
              <a:gd name="connsiteY126" fmla="*/ 4211320 h 6858000"/>
              <a:gd name="connsiteX127" fmla="*/ 9089207 w 11064076"/>
              <a:gd name="connsiteY127" fmla="*/ 4205605 h 6858000"/>
              <a:gd name="connsiteX128" fmla="*/ 9087537 w 11064076"/>
              <a:gd name="connsiteY128" fmla="*/ 4199890 h 6858000"/>
              <a:gd name="connsiteX129" fmla="*/ 9085532 w 11064076"/>
              <a:gd name="connsiteY129" fmla="*/ 4194175 h 6858000"/>
              <a:gd name="connsiteX130" fmla="*/ 9083528 w 11064076"/>
              <a:gd name="connsiteY130" fmla="*/ 4188460 h 6858000"/>
              <a:gd name="connsiteX131" fmla="*/ 9081189 w 11064076"/>
              <a:gd name="connsiteY131" fmla="*/ 4183063 h 6858000"/>
              <a:gd name="connsiteX132" fmla="*/ 9078516 w 11064076"/>
              <a:gd name="connsiteY132" fmla="*/ 4177665 h 6858000"/>
              <a:gd name="connsiteX133" fmla="*/ 9075509 w 11064076"/>
              <a:gd name="connsiteY133" fmla="*/ 4172268 h 6858000"/>
              <a:gd name="connsiteX134" fmla="*/ 9072168 w 11064076"/>
              <a:gd name="connsiteY134" fmla="*/ 4166870 h 6858000"/>
              <a:gd name="connsiteX135" fmla="*/ 9068827 w 11064076"/>
              <a:gd name="connsiteY135" fmla="*/ 4161790 h 6858000"/>
              <a:gd name="connsiteX136" fmla="*/ 9065152 w 11064076"/>
              <a:gd name="connsiteY136" fmla="*/ 4157028 h 6858000"/>
              <a:gd name="connsiteX137" fmla="*/ 9061143 w 11064076"/>
              <a:gd name="connsiteY137" fmla="*/ 4152265 h 6858000"/>
              <a:gd name="connsiteX138" fmla="*/ 9056465 w 11064076"/>
              <a:gd name="connsiteY138" fmla="*/ 4147820 h 6858000"/>
              <a:gd name="connsiteX139" fmla="*/ 8669577 w 11064076"/>
              <a:gd name="connsiteY139" fmla="*/ 3761423 h 6858000"/>
              <a:gd name="connsiteX140" fmla="*/ 8473460 w 11064076"/>
              <a:gd name="connsiteY140" fmla="*/ 3565208 h 6858000"/>
              <a:gd name="connsiteX141" fmla="*/ 8468782 w 11064076"/>
              <a:gd name="connsiteY141" fmla="*/ 3560445 h 6858000"/>
              <a:gd name="connsiteX142" fmla="*/ 8464773 w 11064076"/>
              <a:gd name="connsiteY142" fmla="*/ 3555683 h 6858000"/>
              <a:gd name="connsiteX143" fmla="*/ 8461098 w 11064076"/>
              <a:gd name="connsiteY143" fmla="*/ 3550920 h 6858000"/>
              <a:gd name="connsiteX144" fmla="*/ 8457423 w 11064076"/>
              <a:gd name="connsiteY144" fmla="*/ 3545840 h 6858000"/>
              <a:gd name="connsiteX145" fmla="*/ 8454082 w 11064076"/>
              <a:gd name="connsiteY145" fmla="*/ 3540760 h 6858000"/>
              <a:gd name="connsiteX146" fmla="*/ 8451409 w 11064076"/>
              <a:gd name="connsiteY146" fmla="*/ 3535680 h 6858000"/>
              <a:gd name="connsiteX147" fmla="*/ 8448736 w 11064076"/>
              <a:gd name="connsiteY147" fmla="*/ 3529965 h 6858000"/>
              <a:gd name="connsiteX148" fmla="*/ 8446398 w 11064076"/>
              <a:gd name="connsiteY148" fmla="*/ 3524568 h 6858000"/>
              <a:gd name="connsiteX149" fmla="*/ 8444059 w 11064076"/>
              <a:gd name="connsiteY149" fmla="*/ 3518853 h 6858000"/>
              <a:gd name="connsiteX150" fmla="*/ 8442054 w 11064076"/>
              <a:gd name="connsiteY150" fmla="*/ 3513455 h 6858000"/>
              <a:gd name="connsiteX151" fmla="*/ 8440718 w 11064076"/>
              <a:gd name="connsiteY151" fmla="*/ 3507423 h 6858000"/>
              <a:gd name="connsiteX152" fmla="*/ 8439382 w 11064076"/>
              <a:gd name="connsiteY152" fmla="*/ 3501708 h 6858000"/>
              <a:gd name="connsiteX153" fmla="*/ 8438379 w 11064076"/>
              <a:gd name="connsiteY153" fmla="*/ 3495993 h 6858000"/>
              <a:gd name="connsiteX154" fmla="*/ 8437711 w 11064076"/>
              <a:gd name="connsiteY154" fmla="*/ 3489960 h 6858000"/>
              <a:gd name="connsiteX155" fmla="*/ 8437377 w 11064076"/>
              <a:gd name="connsiteY155" fmla="*/ 3484245 h 6858000"/>
              <a:gd name="connsiteX156" fmla="*/ 8437043 w 11064076"/>
              <a:gd name="connsiteY156" fmla="*/ 3478213 h 6858000"/>
              <a:gd name="connsiteX157" fmla="*/ 8437377 w 11064076"/>
              <a:gd name="connsiteY157" fmla="*/ 3472180 h 6858000"/>
              <a:gd name="connsiteX158" fmla="*/ 8437711 w 11064076"/>
              <a:gd name="connsiteY158" fmla="*/ 3466465 h 6858000"/>
              <a:gd name="connsiteX159" fmla="*/ 8438379 w 11064076"/>
              <a:gd name="connsiteY159" fmla="*/ 3460750 h 6858000"/>
              <a:gd name="connsiteX160" fmla="*/ 8439382 w 11064076"/>
              <a:gd name="connsiteY160" fmla="*/ 3454718 h 6858000"/>
              <a:gd name="connsiteX161" fmla="*/ 8440718 w 11064076"/>
              <a:gd name="connsiteY161" fmla="*/ 3449003 h 6858000"/>
              <a:gd name="connsiteX162" fmla="*/ 8442054 w 11064076"/>
              <a:gd name="connsiteY162" fmla="*/ 3443288 h 6858000"/>
              <a:gd name="connsiteX163" fmla="*/ 8444059 w 11064076"/>
              <a:gd name="connsiteY163" fmla="*/ 3437255 h 6858000"/>
              <a:gd name="connsiteX164" fmla="*/ 8446398 w 11064076"/>
              <a:gd name="connsiteY164" fmla="*/ 3431858 h 6858000"/>
              <a:gd name="connsiteX165" fmla="*/ 8448736 w 11064076"/>
              <a:gd name="connsiteY165" fmla="*/ 3426460 h 6858000"/>
              <a:gd name="connsiteX166" fmla="*/ 8451409 w 11064076"/>
              <a:gd name="connsiteY166" fmla="*/ 3421063 h 6858000"/>
              <a:gd name="connsiteX167" fmla="*/ 8454082 w 11064076"/>
              <a:gd name="connsiteY167" fmla="*/ 3415348 h 6858000"/>
              <a:gd name="connsiteX168" fmla="*/ 8457423 w 11064076"/>
              <a:gd name="connsiteY168" fmla="*/ 3410268 h 6858000"/>
              <a:gd name="connsiteX169" fmla="*/ 8461098 w 11064076"/>
              <a:gd name="connsiteY169" fmla="*/ 3405505 h 6858000"/>
              <a:gd name="connsiteX170" fmla="*/ 8464773 w 11064076"/>
              <a:gd name="connsiteY170" fmla="*/ 3400425 h 6858000"/>
              <a:gd name="connsiteX171" fmla="*/ 8468782 w 11064076"/>
              <a:gd name="connsiteY171" fmla="*/ 3395663 h 6858000"/>
              <a:gd name="connsiteX172" fmla="*/ 8473460 w 11064076"/>
              <a:gd name="connsiteY172" fmla="*/ 3391218 h 6858000"/>
              <a:gd name="connsiteX173" fmla="*/ 8477803 w 11064076"/>
              <a:gd name="connsiteY173" fmla="*/ 3386773 h 6858000"/>
              <a:gd name="connsiteX174" fmla="*/ 8482481 w 11064076"/>
              <a:gd name="connsiteY174" fmla="*/ 3382645 h 6858000"/>
              <a:gd name="connsiteX175" fmla="*/ 8487826 w 11064076"/>
              <a:gd name="connsiteY175" fmla="*/ 3378835 h 6858000"/>
              <a:gd name="connsiteX176" fmla="*/ 8492504 w 11064076"/>
              <a:gd name="connsiteY176" fmla="*/ 3375343 h 6858000"/>
              <a:gd name="connsiteX177" fmla="*/ 8497515 w 11064076"/>
              <a:gd name="connsiteY177" fmla="*/ 3372168 h 6858000"/>
              <a:gd name="connsiteX178" fmla="*/ 8503195 w 11064076"/>
              <a:gd name="connsiteY178" fmla="*/ 3369310 h 6858000"/>
              <a:gd name="connsiteX179" fmla="*/ 8508540 w 11064076"/>
              <a:gd name="connsiteY179" fmla="*/ 3366453 h 6858000"/>
              <a:gd name="connsiteX180" fmla="*/ 8514220 w 11064076"/>
              <a:gd name="connsiteY180" fmla="*/ 3364230 h 6858000"/>
              <a:gd name="connsiteX181" fmla="*/ 8519566 w 11064076"/>
              <a:gd name="connsiteY181" fmla="*/ 3362008 h 6858000"/>
              <a:gd name="connsiteX182" fmla="*/ 8525245 w 11064076"/>
              <a:gd name="connsiteY182" fmla="*/ 3360103 h 6858000"/>
              <a:gd name="connsiteX183" fmla="*/ 8531259 w 11064076"/>
              <a:gd name="connsiteY183" fmla="*/ 3358833 h 6858000"/>
              <a:gd name="connsiteX184" fmla="*/ 8536939 w 11064076"/>
              <a:gd name="connsiteY184" fmla="*/ 3357245 h 6858000"/>
              <a:gd name="connsiteX185" fmla="*/ 8542953 w 11064076"/>
              <a:gd name="connsiteY185" fmla="*/ 3356293 h 6858000"/>
              <a:gd name="connsiteX186" fmla="*/ 8548632 w 11064076"/>
              <a:gd name="connsiteY186" fmla="*/ 3355658 h 6858000"/>
              <a:gd name="connsiteX187" fmla="*/ 8554646 w 11064076"/>
              <a:gd name="connsiteY187" fmla="*/ 3355340 h 6858000"/>
              <a:gd name="connsiteX188" fmla="*/ 8560326 w 11064076"/>
              <a:gd name="connsiteY188" fmla="*/ 3355023 h 6858000"/>
              <a:gd name="connsiteX189" fmla="*/ 8566340 w 11064076"/>
              <a:gd name="connsiteY189" fmla="*/ 3355340 h 6858000"/>
              <a:gd name="connsiteX190" fmla="*/ 8572354 w 11064076"/>
              <a:gd name="connsiteY190" fmla="*/ 3355658 h 6858000"/>
              <a:gd name="connsiteX191" fmla="*/ 8578033 w 11064076"/>
              <a:gd name="connsiteY191" fmla="*/ 3356293 h 6858000"/>
              <a:gd name="connsiteX192" fmla="*/ 8584047 w 11064076"/>
              <a:gd name="connsiteY192" fmla="*/ 3357245 h 6858000"/>
              <a:gd name="connsiteX193" fmla="*/ 8589727 w 11064076"/>
              <a:gd name="connsiteY193" fmla="*/ 3358833 h 6858000"/>
              <a:gd name="connsiteX194" fmla="*/ 8595741 w 11064076"/>
              <a:gd name="connsiteY194" fmla="*/ 3360103 h 6858000"/>
              <a:gd name="connsiteX195" fmla="*/ 8601086 w 11064076"/>
              <a:gd name="connsiteY195" fmla="*/ 3362008 h 6858000"/>
              <a:gd name="connsiteX196" fmla="*/ 8606766 w 11064076"/>
              <a:gd name="connsiteY196" fmla="*/ 3364230 h 6858000"/>
              <a:gd name="connsiteX197" fmla="*/ 8612446 w 11064076"/>
              <a:gd name="connsiteY197" fmla="*/ 3366453 h 6858000"/>
              <a:gd name="connsiteX198" fmla="*/ 8617791 w 11064076"/>
              <a:gd name="connsiteY198" fmla="*/ 3369310 h 6858000"/>
              <a:gd name="connsiteX199" fmla="*/ 8623137 w 11064076"/>
              <a:gd name="connsiteY199" fmla="*/ 3372168 h 6858000"/>
              <a:gd name="connsiteX200" fmla="*/ 8628148 w 11064076"/>
              <a:gd name="connsiteY200" fmla="*/ 3375343 h 6858000"/>
              <a:gd name="connsiteX201" fmla="*/ 8633160 w 11064076"/>
              <a:gd name="connsiteY201" fmla="*/ 3378835 h 6858000"/>
              <a:gd name="connsiteX202" fmla="*/ 8638171 w 11064076"/>
              <a:gd name="connsiteY202" fmla="*/ 3382645 h 6858000"/>
              <a:gd name="connsiteX203" fmla="*/ 8642849 w 11064076"/>
              <a:gd name="connsiteY203" fmla="*/ 3386773 h 6858000"/>
              <a:gd name="connsiteX204" fmla="*/ 8647526 w 11064076"/>
              <a:gd name="connsiteY204" fmla="*/ 3391218 h 6858000"/>
              <a:gd name="connsiteX205" fmla="*/ 8855003 w 11064076"/>
              <a:gd name="connsiteY205" fmla="*/ 3598228 h 6858000"/>
              <a:gd name="connsiteX206" fmla="*/ 8859346 w 11064076"/>
              <a:gd name="connsiteY206" fmla="*/ 3602673 h 6858000"/>
              <a:gd name="connsiteX207" fmla="*/ 8864023 w 11064076"/>
              <a:gd name="connsiteY207" fmla="*/ 3606800 h 6858000"/>
              <a:gd name="connsiteX208" fmla="*/ 8869369 w 11064076"/>
              <a:gd name="connsiteY208" fmla="*/ 3610610 h 6858000"/>
              <a:gd name="connsiteX209" fmla="*/ 8874046 w 11064076"/>
              <a:gd name="connsiteY209" fmla="*/ 3613785 h 6858000"/>
              <a:gd name="connsiteX210" fmla="*/ 8879392 w 11064076"/>
              <a:gd name="connsiteY210" fmla="*/ 3617278 h 6858000"/>
              <a:gd name="connsiteX211" fmla="*/ 8884738 w 11064076"/>
              <a:gd name="connsiteY211" fmla="*/ 3620135 h 6858000"/>
              <a:gd name="connsiteX212" fmla="*/ 8890083 w 11064076"/>
              <a:gd name="connsiteY212" fmla="*/ 3622675 h 6858000"/>
              <a:gd name="connsiteX213" fmla="*/ 8895763 w 11064076"/>
              <a:gd name="connsiteY213" fmla="*/ 3625215 h 6858000"/>
              <a:gd name="connsiteX214" fmla="*/ 8901109 w 11064076"/>
              <a:gd name="connsiteY214" fmla="*/ 3627120 h 6858000"/>
              <a:gd name="connsiteX215" fmla="*/ 8906788 w 11064076"/>
              <a:gd name="connsiteY215" fmla="*/ 3629343 h 6858000"/>
              <a:gd name="connsiteX216" fmla="*/ 8912802 w 11064076"/>
              <a:gd name="connsiteY216" fmla="*/ 3630613 h 6858000"/>
              <a:gd name="connsiteX217" fmla="*/ 8918482 w 11064076"/>
              <a:gd name="connsiteY217" fmla="*/ 3631883 h 6858000"/>
              <a:gd name="connsiteX218" fmla="*/ 8924496 w 11064076"/>
              <a:gd name="connsiteY218" fmla="*/ 3633153 h 6858000"/>
              <a:gd name="connsiteX219" fmla="*/ 8930175 w 11064076"/>
              <a:gd name="connsiteY219" fmla="*/ 3633788 h 6858000"/>
              <a:gd name="connsiteX220" fmla="*/ 8936189 w 11064076"/>
              <a:gd name="connsiteY220" fmla="*/ 3634105 h 6858000"/>
              <a:gd name="connsiteX221" fmla="*/ 8941869 w 11064076"/>
              <a:gd name="connsiteY221" fmla="*/ 3634105 h 6858000"/>
              <a:gd name="connsiteX222" fmla="*/ 8947883 w 11064076"/>
              <a:gd name="connsiteY222" fmla="*/ 3634105 h 6858000"/>
              <a:gd name="connsiteX223" fmla="*/ 8953897 w 11064076"/>
              <a:gd name="connsiteY223" fmla="*/ 3633788 h 6858000"/>
              <a:gd name="connsiteX224" fmla="*/ 8959576 w 11064076"/>
              <a:gd name="connsiteY224" fmla="*/ 3633153 h 6858000"/>
              <a:gd name="connsiteX225" fmla="*/ 8965590 w 11064076"/>
              <a:gd name="connsiteY225" fmla="*/ 3631883 h 6858000"/>
              <a:gd name="connsiteX226" fmla="*/ 8971270 w 11064076"/>
              <a:gd name="connsiteY226" fmla="*/ 3630613 h 6858000"/>
              <a:gd name="connsiteX227" fmla="*/ 8977284 w 11064076"/>
              <a:gd name="connsiteY227" fmla="*/ 3629343 h 6858000"/>
              <a:gd name="connsiteX228" fmla="*/ 8982629 w 11064076"/>
              <a:gd name="connsiteY228" fmla="*/ 3627120 h 6858000"/>
              <a:gd name="connsiteX229" fmla="*/ 8988309 w 11064076"/>
              <a:gd name="connsiteY229" fmla="*/ 3625215 h 6858000"/>
              <a:gd name="connsiteX230" fmla="*/ 8993989 w 11064076"/>
              <a:gd name="connsiteY230" fmla="*/ 3622675 h 6858000"/>
              <a:gd name="connsiteX231" fmla="*/ 8999334 w 11064076"/>
              <a:gd name="connsiteY231" fmla="*/ 3620135 h 6858000"/>
              <a:gd name="connsiteX232" fmla="*/ 9004680 w 11064076"/>
              <a:gd name="connsiteY232" fmla="*/ 3617278 h 6858000"/>
              <a:gd name="connsiteX233" fmla="*/ 9009691 w 11064076"/>
              <a:gd name="connsiteY233" fmla="*/ 3613785 h 6858000"/>
              <a:gd name="connsiteX234" fmla="*/ 9014703 w 11064076"/>
              <a:gd name="connsiteY234" fmla="*/ 3610610 h 6858000"/>
              <a:gd name="connsiteX235" fmla="*/ 9020048 w 11064076"/>
              <a:gd name="connsiteY235" fmla="*/ 3606800 h 6858000"/>
              <a:gd name="connsiteX236" fmla="*/ 9024392 w 11064076"/>
              <a:gd name="connsiteY236" fmla="*/ 3602673 h 6858000"/>
              <a:gd name="connsiteX237" fmla="*/ 9029069 w 11064076"/>
              <a:gd name="connsiteY237" fmla="*/ 3598228 h 6858000"/>
              <a:gd name="connsiteX238" fmla="*/ 9033747 w 11064076"/>
              <a:gd name="connsiteY238" fmla="*/ 3593783 h 6858000"/>
              <a:gd name="connsiteX239" fmla="*/ 9037756 w 11064076"/>
              <a:gd name="connsiteY239" fmla="*/ 3589020 h 6858000"/>
              <a:gd name="connsiteX240" fmla="*/ 9041431 w 11064076"/>
              <a:gd name="connsiteY240" fmla="*/ 3583940 h 6858000"/>
              <a:gd name="connsiteX241" fmla="*/ 9044772 w 11064076"/>
              <a:gd name="connsiteY241" fmla="*/ 3578860 h 6858000"/>
              <a:gd name="connsiteX242" fmla="*/ 9048113 w 11064076"/>
              <a:gd name="connsiteY242" fmla="*/ 3573463 h 6858000"/>
              <a:gd name="connsiteX243" fmla="*/ 9051120 w 11064076"/>
              <a:gd name="connsiteY243" fmla="*/ 3568383 h 6858000"/>
              <a:gd name="connsiteX244" fmla="*/ 9053793 w 11064076"/>
              <a:gd name="connsiteY244" fmla="*/ 3562985 h 6858000"/>
              <a:gd name="connsiteX245" fmla="*/ 9056131 w 11064076"/>
              <a:gd name="connsiteY245" fmla="*/ 3557588 h 6858000"/>
              <a:gd name="connsiteX246" fmla="*/ 9058136 w 11064076"/>
              <a:gd name="connsiteY246" fmla="*/ 3551873 h 6858000"/>
              <a:gd name="connsiteX247" fmla="*/ 9060141 w 11064076"/>
              <a:gd name="connsiteY247" fmla="*/ 3546158 h 6858000"/>
              <a:gd name="connsiteX248" fmla="*/ 9061811 w 11064076"/>
              <a:gd name="connsiteY248" fmla="*/ 3540443 h 6858000"/>
              <a:gd name="connsiteX249" fmla="*/ 9063147 w 11064076"/>
              <a:gd name="connsiteY249" fmla="*/ 3534410 h 6858000"/>
              <a:gd name="connsiteX250" fmla="*/ 9064150 w 11064076"/>
              <a:gd name="connsiteY250" fmla="*/ 3528695 h 6858000"/>
              <a:gd name="connsiteX251" fmla="*/ 9064818 w 11064076"/>
              <a:gd name="connsiteY251" fmla="*/ 3522980 h 6858000"/>
              <a:gd name="connsiteX252" fmla="*/ 9065152 w 11064076"/>
              <a:gd name="connsiteY252" fmla="*/ 3516948 h 6858000"/>
              <a:gd name="connsiteX253" fmla="*/ 9065152 w 11064076"/>
              <a:gd name="connsiteY253" fmla="*/ 3511233 h 6858000"/>
              <a:gd name="connsiteX254" fmla="*/ 9065152 w 11064076"/>
              <a:gd name="connsiteY254" fmla="*/ 3505200 h 6858000"/>
              <a:gd name="connsiteX255" fmla="*/ 9064818 w 11064076"/>
              <a:gd name="connsiteY255" fmla="*/ 3499168 h 6858000"/>
              <a:gd name="connsiteX256" fmla="*/ 9064150 w 11064076"/>
              <a:gd name="connsiteY256" fmla="*/ 3493453 h 6858000"/>
              <a:gd name="connsiteX257" fmla="*/ 9063147 w 11064076"/>
              <a:gd name="connsiteY257" fmla="*/ 3487738 h 6858000"/>
              <a:gd name="connsiteX258" fmla="*/ 9061811 w 11064076"/>
              <a:gd name="connsiteY258" fmla="*/ 3481705 h 6858000"/>
              <a:gd name="connsiteX259" fmla="*/ 9060141 w 11064076"/>
              <a:gd name="connsiteY259" fmla="*/ 3475990 h 6858000"/>
              <a:gd name="connsiteX260" fmla="*/ 9058136 w 11064076"/>
              <a:gd name="connsiteY260" fmla="*/ 3470593 h 6858000"/>
              <a:gd name="connsiteX261" fmla="*/ 9056131 w 11064076"/>
              <a:gd name="connsiteY261" fmla="*/ 3464878 h 6858000"/>
              <a:gd name="connsiteX262" fmla="*/ 9053793 w 11064076"/>
              <a:gd name="connsiteY262" fmla="*/ 3459163 h 6858000"/>
              <a:gd name="connsiteX263" fmla="*/ 9051120 w 11064076"/>
              <a:gd name="connsiteY263" fmla="*/ 3453765 h 6858000"/>
              <a:gd name="connsiteX264" fmla="*/ 9048113 w 11064076"/>
              <a:gd name="connsiteY264" fmla="*/ 3448685 h 6858000"/>
              <a:gd name="connsiteX265" fmla="*/ 9044772 w 11064076"/>
              <a:gd name="connsiteY265" fmla="*/ 3443605 h 6858000"/>
              <a:gd name="connsiteX266" fmla="*/ 9041431 w 11064076"/>
              <a:gd name="connsiteY266" fmla="*/ 3438525 h 6858000"/>
              <a:gd name="connsiteX267" fmla="*/ 9037756 w 11064076"/>
              <a:gd name="connsiteY267" fmla="*/ 3433763 h 6858000"/>
              <a:gd name="connsiteX268" fmla="*/ 9033747 w 11064076"/>
              <a:gd name="connsiteY268" fmla="*/ 3428683 h 6858000"/>
              <a:gd name="connsiteX269" fmla="*/ 9029069 w 11064076"/>
              <a:gd name="connsiteY269" fmla="*/ 3423920 h 6858000"/>
              <a:gd name="connsiteX270" fmla="*/ 8360534 w 11064076"/>
              <a:gd name="connsiteY270" fmla="*/ 2756218 h 6858000"/>
              <a:gd name="connsiteX271" fmla="*/ 8357193 w 11064076"/>
              <a:gd name="connsiteY271" fmla="*/ 2753043 h 6858000"/>
              <a:gd name="connsiteX272" fmla="*/ 8353852 w 11064076"/>
              <a:gd name="connsiteY272" fmla="*/ 2749233 h 6858000"/>
              <a:gd name="connsiteX273" fmla="*/ 8347504 w 11064076"/>
              <a:gd name="connsiteY273" fmla="*/ 2741295 h 6858000"/>
              <a:gd name="connsiteX274" fmla="*/ 8342492 w 11064076"/>
              <a:gd name="connsiteY274" fmla="*/ 2733040 h 6858000"/>
              <a:gd name="connsiteX275" fmla="*/ 8337815 w 11064076"/>
              <a:gd name="connsiteY275" fmla="*/ 2724468 h 6858000"/>
              <a:gd name="connsiteX276" fmla="*/ 8333471 w 11064076"/>
              <a:gd name="connsiteY276" fmla="*/ 2715895 h 6858000"/>
              <a:gd name="connsiteX277" fmla="*/ 8330465 w 11064076"/>
              <a:gd name="connsiteY277" fmla="*/ 2707005 h 6858000"/>
              <a:gd name="connsiteX278" fmla="*/ 8328126 w 11064076"/>
              <a:gd name="connsiteY278" fmla="*/ 2697798 h 6858000"/>
              <a:gd name="connsiteX279" fmla="*/ 8326121 w 11064076"/>
              <a:gd name="connsiteY279" fmla="*/ 2688590 h 6858000"/>
              <a:gd name="connsiteX280" fmla="*/ 5629596 w 11064076"/>
              <a:gd name="connsiteY280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</a:cxnLst>
            <a:rect l="l" t="t" r="r" b="b"/>
            <a:pathLst>
              <a:path w="11064076" h="6858000">
                <a:moveTo>
                  <a:pt x="5629596" y="0"/>
                </a:moveTo>
                <a:lnTo>
                  <a:pt x="0" y="0"/>
                </a:lnTo>
                <a:lnTo>
                  <a:pt x="0" y="6858000"/>
                </a:lnTo>
                <a:lnTo>
                  <a:pt x="11064076" y="6858000"/>
                </a:lnTo>
                <a:lnTo>
                  <a:pt x="9033747" y="4816793"/>
                </a:lnTo>
                <a:lnTo>
                  <a:pt x="9018378" y="4803458"/>
                </a:lnTo>
                <a:lnTo>
                  <a:pt x="9003009" y="4789488"/>
                </a:lnTo>
                <a:lnTo>
                  <a:pt x="8987975" y="4775518"/>
                </a:lnTo>
                <a:lnTo>
                  <a:pt x="8973274" y="4760913"/>
                </a:lnTo>
                <a:lnTo>
                  <a:pt x="8039129" y="3828098"/>
                </a:lnTo>
                <a:lnTo>
                  <a:pt x="8034451" y="3823335"/>
                </a:lnTo>
                <a:lnTo>
                  <a:pt x="8030443" y="3818573"/>
                </a:lnTo>
                <a:lnTo>
                  <a:pt x="8026767" y="3813493"/>
                </a:lnTo>
                <a:lnTo>
                  <a:pt x="8023426" y="3808413"/>
                </a:lnTo>
                <a:lnTo>
                  <a:pt x="8020086" y="3803333"/>
                </a:lnTo>
                <a:lnTo>
                  <a:pt x="8017079" y="3798253"/>
                </a:lnTo>
                <a:lnTo>
                  <a:pt x="8014406" y="3792855"/>
                </a:lnTo>
                <a:lnTo>
                  <a:pt x="8012067" y="3787458"/>
                </a:lnTo>
                <a:lnTo>
                  <a:pt x="8010062" y="3781425"/>
                </a:lnTo>
                <a:lnTo>
                  <a:pt x="8008392" y="3776028"/>
                </a:lnTo>
                <a:lnTo>
                  <a:pt x="8006387" y="3770313"/>
                </a:lnTo>
                <a:lnTo>
                  <a:pt x="8005051" y="3764280"/>
                </a:lnTo>
                <a:lnTo>
                  <a:pt x="8004049" y="3758565"/>
                </a:lnTo>
                <a:lnTo>
                  <a:pt x="8003380" y="3752850"/>
                </a:lnTo>
                <a:cubicBezTo>
                  <a:pt x="8003269" y="3750839"/>
                  <a:pt x="8003157" y="3748829"/>
                  <a:pt x="8003046" y="3746818"/>
                </a:cubicBezTo>
                <a:lnTo>
                  <a:pt x="8003046" y="3740785"/>
                </a:lnTo>
                <a:lnTo>
                  <a:pt x="8003046" y="3735070"/>
                </a:lnTo>
                <a:cubicBezTo>
                  <a:pt x="8003157" y="3733059"/>
                  <a:pt x="8003269" y="3731049"/>
                  <a:pt x="8003380" y="3729038"/>
                </a:cubicBezTo>
                <a:lnTo>
                  <a:pt x="8004049" y="3723323"/>
                </a:lnTo>
                <a:lnTo>
                  <a:pt x="8005051" y="3717608"/>
                </a:lnTo>
                <a:lnTo>
                  <a:pt x="8006387" y="3711575"/>
                </a:lnTo>
                <a:lnTo>
                  <a:pt x="8008392" y="3705860"/>
                </a:lnTo>
                <a:lnTo>
                  <a:pt x="8010062" y="3700145"/>
                </a:lnTo>
                <a:lnTo>
                  <a:pt x="8012067" y="3694748"/>
                </a:lnTo>
                <a:lnTo>
                  <a:pt x="8014406" y="3689033"/>
                </a:lnTo>
                <a:lnTo>
                  <a:pt x="8017079" y="3683635"/>
                </a:lnTo>
                <a:lnTo>
                  <a:pt x="8020086" y="3678238"/>
                </a:lnTo>
                <a:lnTo>
                  <a:pt x="8023426" y="3673158"/>
                </a:lnTo>
                <a:lnTo>
                  <a:pt x="8026767" y="3668078"/>
                </a:lnTo>
                <a:lnTo>
                  <a:pt x="8030443" y="3662998"/>
                </a:lnTo>
                <a:lnTo>
                  <a:pt x="8034451" y="3658235"/>
                </a:lnTo>
                <a:lnTo>
                  <a:pt x="8039129" y="3653790"/>
                </a:lnTo>
                <a:lnTo>
                  <a:pt x="8043807" y="3649345"/>
                </a:lnTo>
                <a:lnTo>
                  <a:pt x="8048149" y="3645218"/>
                </a:lnTo>
                <a:lnTo>
                  <a:pt x="8053495" y="3641725"/>
                </a:lnTo>
                <a:lnTo>
                  <a:pt x="8058507" y="3638233"/>
                </a:lnTo>
                <a:lnTo>
                  <a:pt x="8063852" y="3634740"/>
                </a:lnTo>
                <a:lnTo>
                  <a:pt x="8068864" y="3631883"/>
                </a:lnTo>
                <a:lnTo>
                  <a:pt x="8074209" y="3629343"/>
                </a:lnTo>
                <a:lnTo>
                  <a:pt x="8079889" y="3626803"/>
                </a:lnTo>
                <a:lnTo>
                  <a:pt x="8085569" y="3624898"/>
                </a:lnTo>
                <a:lnTo>
                  <a:pt x="8091248" y="3622675"/>
                </a:lnTo>
                <a:lnTo>
                  <a:pt x="8096928" y="3621405"/>
                </a:lnTo>
                <a:lnTo>
                  <a:pt x="8102608" y="3620135"/>
                </a:lnTo>
                <a:lnTo>
                  <a:pt x="8108622" y="3618865"/>
                </a:lnTo>
                <a:lnTo>
                  <a:pt x="8114301" y="3618230"/>
                </a:lnTo>
                <a:lnTo>
                  <a:pt x="8120315" y="3617913"/>
                </a:lnTo>
                <a:lnTo>
                  <a:pt x="8126329" y="3617595"/>
                </a:lnTo>
                <a:lnTo>
                  <a:pt x="8132343" y="3617913"/>
                </a:lnTo>
                <a:lnTo>
                  <a:pt x="8138023" y="3618230"/>
                </a:lnTo>
                <a:lnTo>
                  <a:pt x="8143702" y="3618865"/>
                </a:lnTo>
                <a:lnTo>
                  <a:pt x="8149716" y="3620135"/>
                </a:lnTo>
                <a:lnTo>
                  <a:pt x="8155396" y="3621405"/>
                </a:lnTo>
                <a:lnTo>
                  <a:pt x="8161410" y="3622675"/>
                </a:lnTo>
                <a:lnTo>
                  <a:pt x="8167089" y="3624898"/>
                </a:lnTo>
                <a:lnTo>
                  <a:pt x="8172769" y="3626803"/>
                </a:lnTo>
                <a:lnTo>
                  <a:pt x="8178115" y="3629343"/>
                </a:lnTo>
                <a:lnTo>
                  <a:pt x="8183460" y="3631883"/>
                </a:lnTo>
                <a:lnTo>
                  <a:pt x="8188806" y="3634740"/>
                </a:lnTo>
                <a:lnTo>
                  <a:pt x="8194151" y="3638233"/>
                </a:lnTo>
                <a:lnTo>
                  <a:pt x="8199163" y="3641725"/>
                </a:lnTo>
                <a:lnTo>
                  <a:pt x="8204175" y="3645218"/>
                </a:lnTo>
                <a:lnTo>
                  <a:pt x="8208852" y="3649345"/>
                </a:lnTo>
                <a:lnTo>
                  <a:pt x="8213529" y="3653790"/>
                </a:lnTo>
                <a:lnTo>
                  <a:pt x="8882399" y="4321810"/>
                </a:lnTo>
                <a:lnTo>
                  <a:pt x="8886742" y="4325938"/>
                </a:lnTo>
                <a:lnTo>
                  <a:pt x="8891420" y="4330065"/>
                </a:lnTo>
                <a:lnTo>
                  <a:pt x="8896765" y="4334193"/>
                </a:lnTo>
                <a:lnTo>
                  <a:pt x="8901443" y="4337685"/>
                </a:lnTo>
                <a:lnTo>
                  <a:pt x="8906788" y="4340860"/>
                </a:lnTo>
                <a:lnTo>
                  <a:pt x="8912134" y="4343718"/>
                </a:lnTo>
                <a:lnTo>
                  <a:pt x="8917480" y="4346575"/>
                </a:lnTo>
                <a:lnTo>
                  <a:pt x="8923159" y="4349115"/>
                </a:lnTo>
                <a:lnTo>
                  <a:pt x="8928505" y="4351020"/>
                </a:lnTo>
                <a:lnTo>
                  <a:pt x="8934185" y="4352608"/>
                </a:lnTo>
                <a:lnTo>
                  <a:pt x="8940198" y="4354513"/>
                </a:lnTo>
                <a:lnTo>
                  <a:pt x="8945878" y="4355465"/>
                </a:lnTo>
                <a:lnTo>
                  <a:pt x="8951892" y="4356418"/>
                </a:lnTo>
                <a:lnTo>
                  <a:pt x="8957572" y="4357053"/>
                </a:lnTo>
                <a:lnTo>
                  <a:pt x="8963585" y="4358005"/>
                </a:lnTo>
                <a:lnTo>
                  <a:pt x="8969265" y="4358005"/>
                </a:lnTo>
                <a:lnTo>
                  <a:pt x="8975279" y="4358005"/>
                </a:lnTo>
                <a:lnTo>
                  <a:pt x="8981293" y="4357053"/>
                </a:lnTo>
                <a:lnTo>
                  <a:pt x="8986972" y="4356418"/>
                </a:lnTo>
                <a:lnTo>
                  <a:pt x="8992986" y="4355465"/>
                </a:lnTo>
                <a:lnTo>
                  <a:pt x="8998666" y="4354513"/>
                </a:lnTo>
                <a:lnTo>
                  <a:pt x="9004680" y="4352608"/>
                </a:lnTo>
                <a:lnTo>
                  <a:pt x="9010025" y="4351020"/>
                </a:lnTo>
                <a:lnTo>
                  <a:pt x="9015705" y="4349115"/>
                </a:lnTo>
                <a:lnTo>
                  <a:pt x="9021385" y="4346575"/>
                </a:lnTo>
                <a:lnTo>
                  <a:pt x="9026730" y="4343718"/>
                </a:lnTo>
                <a:lnTo>
                  <a:pt x="9032076" y="4340860"/>
                </a:lnTo>
                <a:lnTo>
                  <a:pt x="9037088" y="4337685"/>
                </a:lnTo>
                <a:lnTo>
                  <a:pt x="9042099" y="4334193"/>
                </a:lnTo>
                <a:lnTo>
                  <a:pt x="9047445" y="4330065"/>
                </a:lnTo>
                <a:lnTo>
                  <a:pt x="9051788" y="4325938"/>
                </a:lnTo>
                <a:lnTo>
                  <a:pt x="9056465" y="4321810"/>
                </a:lnTo>
                <a:lnTo>
                  <a:pt x="9061143" y="4317048"/>
                </a:lnTo>
                <a:lnTo>
                  <a:pt x="9065152" y="4312285"/>
                </a:lnTo>
                <a:lnTo>
                  <a:pt x="9068827" y="4307523"/>
                </a:lnTo>
                <a:lnTo>
                  <a:pt x="9072168" y="4302443"/>
                </a:lnTo>
                <a:lnTo>
                  <a:pt x="9075509" y="4297363"/>
                </a:lnTo>
                <a:lnTo>
                  <a:pt x="9078516" y="4292283"/>
                </a:lnTo>
                <a:lnTo>
                  <a:pt x="9081189" y="4286568"/>
                </a:lnTo>
                <a:lnTo>
                  <a:pt x="9083528" y="4281170"/>
                </a:lnTo>
                <a:lnTo>
                  <a:pt x="9085532" y="4275455"/>
                </a:lnTo>
                <a:lnTo>
                  <a:pt x="9087537" y="4270058"/>
                </a:lnTo>
                <a:lnTo>
                  <a:pt x="9089207" y="4264025"/>
                </a:lnTo>
                <a:lnTo>
                  <a:pt x="9090544" y="4258310"/>
                </a:lnTo>
                <a:lnTo>
                  <a:pt x="9091546" y="4252595"/>
                </a:lnTo>
                <a:cubicBezTo>
                  <a:pt x="9091769" y="4250584"/>
                  <a:pt x="9091991" y="4248574"/>
                  <a:pt x="9092214" y="4246563"/>
                </a:cubicBezTo>
                <a:cubicBezTo>
                  <a:pt x="9092325" y="4244658"/>
                  <a:pt x="9092437" y="4242753"/>
                  <a:pt x="9092548" y="4240848"/>
                </a:cubicBezTo>
                <a:lnTo>
                  <a:pt x="9092548" y="4234815"/>
                </a:lnTo>
                <a:lnTo>
                  <a:pt x="9092548" y="4228783"/>
                </a:lnTo>
                <a:cubicBezTo>
                  <a:pt x="9092437" y="4226878"/>
                  <a:pt x="9092325" y="4224973"/>
                  <a:pt x="9092214" y="4223068"/>
                </a:cubicBezTo>
                <a:cubicBezTo>
                  <a:pt x="9091991" y="4221163"/>
                  <a:pt x="9091769" y="4219258"/>
                  <a:pt x="9091546" y="4217353"/>
                </a:cubicBezTo>
                <a:lnTo>
                  <a:pt x="9090544" y="4211320"/>
                </a:lnTo>
                <a:lnTo>
                  <a:pt x="9089207" y="4205605"/>
                </a:lnTo>
                <a:lnTo>
                  <a:pt x="9087537" y="4199890"/>
                </a:lnTo>
                <a:lnTo>
                  <a:pt x="9085532" y="4194175"/>
                </a:lnTo>
                <a:lnTo>
                  <a:pt x="9083528" y="4188460"/>
                </a:lnTo>
                <a:lnTo>
                  <a:pt x="9081189" y="4183063"/>
                </a:lnTo>
                <a:lnTo>
                  <a:pt x="9078516" y="4177665"/>
                </a:lnTo>
                <a:lnTo>
                  <a:pt x="9075509" y="4172268"/>
                </a:lnTo>
                <a:lnTo>
                  <a:pt x="9072168" y="4166870"/>
                </a:lnTo>
                <a:lnTo>
                  <a:pt x="9068827" y="4161790"/>
                </a:lnTo>
                <a:lnTo>
                  <a:pt x="9065152" y="4157028"/>
                </a:lnTo>
                <a:lnTo>
                  <a:pt x="9061143" y="4152265"/>
                </a:lnTo>
                <a:lnTo>
                  <a:pt x="9056465" y="4147820"/>
                </a:lnTo>
                <a:lnTo>
                  <a:pt x="8669577" y="3761423"/>
                </a:lnTo>
                <a:lnTo>
                  <a:pt x="8473460" y="3565208"/>
                </a:lnTo>
                <a:lnTo>
                  <a:pt x="8468782" y="3560445"/>
                </a:lnTo>
                <a:lnTo>
                  <a:pt x="8464773" y="3555683"/>
                </a:lnTo>
                <a:lnTo>
                  <a:pt x="8461098" y="3550920"/>
                </a:lnTo>
                <a:lnTo>
                  <a:pt x="8457423" y="3545840"/>
                </a:lnTo>
                <a:lnTo>
                  <a:pt x="8454082" y="3540760"/>
                </a:lnTo>
                <a:lnTo>
                  <a:pt x="8451409" y="3535680"/>
                </a:lnTo>
                <a:lnTo>
                  <a:pt x="8448736" y="3529965"/>
                </a:lnTo>
                <a:lnTo>
                  <a:pt x="8446398" y="3524568"/>
                </a:lnTo>
                <a:lnTo>
                  <a:pt x="8444059" y="3518853"/>
                </a:lnTo>
                <a:lnTo>
                  <a:pt x="8442054" y="3513455"/>
                </a:lnTo>
                <a:lnTo>
                  <a:pt x="8440718" y="3507423"/>
                </a:lnTo>
                <a:lnTo>
                  <a:pt x="8439382" y="3501708"/>
                </a:lnTo>
                <a:lnTo>
                  <a:pt x="8438379" y="3495993"/>
                </a:lnTo>
                <a:cubicBezTo>
                  <a:pt x="8438156" y="3493982"/>
                  <a:pt x="8437934" y="3491971"/>
                  <a:pt x="8437711" y="3489960"/>
                </a:cubicBezTo>
                <a:cubicBezTo>
                  <a:pt x="8437600" y="3488055"/>
                  <a:pt x="8437488" y="3486150"/>
                  <a:pt x="8437377" y="3484245"/>
                </a:cubicBezTo>
                <a:cubicBezTo>
                  <a:pt x="8437266" y="3482234"/>
                  <a:pt x="8437154" y="3480224"/>
                  <a:pt x="8437043" y="3478213"/>
                </a:cubicBezTo>
                <a:cubicBezTo>
                  <a:pt x="8437154" y="3476202"/>
                  <a:pt x="8437266" y="3474191"/>
                  <a:pt x="8437377" y="3472180"/>
                </a:cubicBezTo>
                <a:cubicBezTo>
                  <a:pt x="8437488" y="3470275"/>
                  <a:pt x="8437600" y="3468370"/>
                  <a:pt x="8437711" y="3466465"/>
                </a:cubicBezTo>
                <a:cubicBezTo>
                  <a:pt x="8437934" y="3464560"/>
                  <a:pt x="8438156" y="3462655"/>
                  <a:pt x="8438379" y="3460750"/>
                </a:cubicBezTo>
                <a:lnTo>
                  <a:pt x="8439382" y="3454718"/>
                </a:lnTo>
                <a:lnTo>
                  <a:pt x="8440718" y="3449003"/>
                </a:lnTo>
                <a:lnTo>
                  <a:pt x="8442054" y="3443288"/>
                </a:lnTo>
                <a:lnTo>
                  <a:pt x="8444059" y="3437255"/>
                </a:lnTo>
                <a:lnTo>
                  <a:pt x="8446398" y="3431858"/>
                </a:lnTo>
                <a:lnTo>
                  <a:pt x="8448736" y="3426460"/>
                </a:lnTo>
                <a:lnTo>
                  <a:pt x="8451409" y="3421063"/>
                </a:lnTo>
                <a:lnTo>
                  <a:pt x="8454082" y="3415348"/>
                </a:lnTo>
                <a:lnTo>
                  <a:pt x="8457423" y="3410268"/>
                </a:lnTo>
                <a:lnTo>
                  <a:pt x="8461098" y="3405505"/>
                </a:lnTo>
                <a:lnTo>
                  <a:pt x="8464773" y="3400425"/>
                </a:lnTo>
                <a:lnTo>
                  <a:pt x="8468782" y="3395663"/>
                </a:lnTo>
                <a:lnTo>
                  <a:pt x="8473460" y="3391218"/>
                </a:lnTo>
                <a:lnTo>
                  <a:pt x="8477803" y="3386773"/>
                </a:lnTo>
                <a:lnTo>
                  <a:pt x="8482481" y="3382645"/>
                </a:lnTo>
                <a:lnTo>
                  <a:pt x="8487826" y="3378835"/>
                </a:lnTo>
                <a:lnTo>
                  <a:pt x="8492504" y="3375343"/>
                </a:lnTo>
                <a:lnTo>
                  <a:pt x="8497515" y="3372168"/>
                </a:lnTo>
                <a:lnTo>
                  <a:pt x="8503195" y="3369310"/>
                </a:lnTo>
                <a:lnTo>
                  <a:pt x="8508540" y="3366453"/>
                </a:lnTo>
                <a:lnTo>
                  <a:pt x="8514220" y="3364230"/>
                </a:lnTo>
                <a:lnTo>
                  <a:pt x="8519566" y="3362008"/>
                </a:lnTo>
                <a:lnTo>
                  <a:pt x="8525245" y="3360103"/>
                </a:lnTo>
                <a:lnTo>
                  <a:pt x="8531259" y="3358833"/>
                </a:lnTo>
                <a:lnTo>
                  <a:pt x="8536939" y="3357245"/>
                </a:lnTo>
                <a:lnTo>
                  <a:pt x="8542953" y="3356293"/>
                </a:lnTo>
                <a:lnTo>
                  <a:pt x="8548632" y="3355658"/>
                </a:lnTo>
                <a:lnTo>
                  <a:pt x="8554646" y="3355340"/>
                </a:lnTo>
                <a:lnTo>
                  <a:pt x="8560326" y="3355023"/>
                </a:lnTo>
                <a:lnTo>
                  <a:pt x="8566340" y="3355340"/>
                </a:lnTo>
                <a:lnTo>
                  <a:pt x="8572354" y="3355658"/>
                </a:lnTo>
                <a:lnTo>
                  <a:pt x="8578033" y="3356293"/>
                </a:lnTo>
                <a:lnTo>
                  <a:pt x="8584047" y="3357245"/>
                </a:lnTo>
                <a:lnTo>
                  <a:pt x="8589727" y="3358833"/>
                </a:lnTo>
                <a:lnTo>
                  <a:pt x="8595741" y="3360103"/>
                </a:lnTo>
                <a:lnTo>
                  <a:pt x="8601086" y="3362008"/>
                </a:lnTo>
                <a:lnTo>
                  <a:pt x="8606766" y="3364230"/>
                </a:lnTo>
                <a:lnTo>
                  <a:pt x="8612446" y="3366453"/>
                </a:lnTo>
                <a:lnTo>
                  <a:pt x="8617791" y="3369310"/>
                </a:lnTo>
                <a:lnTo>
                  <a:pt x="8623137" y="3372168"/>
                </a:lnTo>
                <a:lnTo>
                  <a:pt x="8628148" y="3375343"/>
                </a:lnTo>
                <a:lnTo>
                  <a:pt x="8633160" y="3378835"/>
                </a:lnTo>
                <a:lnTo>
                  <a:pt x="8638171" y="3382645"/>
                </a:lnTo>
                <a:lnTo>
                  <a:pt x="8642849" y="3386773"/>
                </a:lnTo>
                <a:lnTo>
                  <a:pt x="8647526" y="3391218"/>
                </a:lnTo>
                <a:lnTo>
                  <a:pt x="8855003" y="3598228"/>
                </a:lnTo>
                <a:lnTo>
                  <a:pt x="8859346" y="3602673"/>
                </a:lnTo>
                <a:lnTo>
                  <a:pt x="8864023" y="3606800"/>
                </a:lnTo>
                <a:lnTo>
                  <a:pt x="8869369" y="3610610"/>
                </a:lnTo>
                <a:lnTo>
                  <a:pt x="8874046" y="3613785"/>
                </a:lnTo>
                <a:lnTo>
                  <a:pt x="8879392" y="3617278"/>
                </a:lnTo>
                <a:lnTo>
                  <a:pt x="8884738" y="3620135"/>
                </a:lnTo>
                <a:lnTo>
                  <a:pt x="8890083" y="3622675"/>
                </a:lnTo>
                <a:lnTo>
                  <a:pt x="8895763" y="3625215"/>
                </a:lnTo>
                <a:lnTo>
                  <a:pt x="8901109" y="3627120"/>
                </a:lnTo>
                <a:lnTo>
                  <a:pt x="8906788" y="3629343"/>
                </a:lnTo>
                <a:lnTo>
                  <a:pt x="8912802" y="3630613"/>
                </a:lnTo>
                <a:lnTo>
                  <a:pt x="8918482" y="3631883"/>
                </a:lnTo>
                <a:lnTo>
                  <a:pt x="8924496" y="3633153"/>
                </a:lnTo>
                <a:lnTo>
                  <a:pt x="8930175" y="3633788"/>
                </a:lnTo>
                <a:lnTo>
                  <a:pt x="8936189" y="3634105"/>
                </a:lnTo>
                <a:lnTo>
                  <a:pt x="8941869" y="3634105"/>
                </a:lnTo>
                <a:lnTo>
                  <a:pt x="8947883" y="3634105"/>
                </a:lnTo>
                <a:lnTo>
                  <a:pt x="8953897" y="3633788"/>
                </a:lnTo>
                <a:lnTo>
                  <a:pt x="8959576" y="3633153"/>
                </a:lnTo>
                <a:lnTo>
                  <a:pt x="8965590" y="3631883"/>
                </a:lnTo>
                <a:lnTo>
                  <a:pt x="8971270" y="3630613"/>
                </a:lnTo>
                <a:lnTo>
                  <a:pt x="8977284" y="3629343"/>
                </a:lnTo>
                <a:lnTo>
                  <a:pt x="8982629" y="3627120"/>
                </a:lnTo>
                <a:lnTo>
                  <a:pt x="8988309" y="3625215"/>
                </a:lnTo>
                <a:lnTo>
                  <a:pt x="8993989" y="3622675"/>
                </a:lnTo>
                <a:lnTo>
                  <a:pt x="8999334" y="3620135"/>
                </a:lnTo>
                <a:lnTo>
                  <a:pt x="9004680" y="3617278"/>
                </a:lnTo>
                <a:lnTo>
                  <a:pt x="9009691" y="3613785"/>
                </a:lnTo>
                <a:lnTo>
                  <a:pt x="9014703" y="3610610"/>
                </a:lnTo>
                <a:lnTo>
                  <a:pt x="9020048" y="3606800"/>
                </a:lnTo>
                <a:lnTo>
                  <a:pt x="9024392" y="3602673"/>
                </a:lnTo>
                <a:lnTo>
                  <a:pt x="9029069" y="3598228"/>
                </a:lnTo>
                <a:lnTo>
                  <a:pt x="9033747" y="3593783"/>
                </a:lnTo>
                <a:lnTo>
                  <a:pt x="9037756" y="3589020"/>
                </a:lnTo>
                <a:lnTo>
                  <a:pt x="9041431" y="3583940"/>
                </a:lnTo>
                <a:lnTo>
                  <a:pt x="9044772" y="3578860"/>
                </a:lnTo>
                <a:lnTo>
                  <a:pt x="9048113" y="3573463"/>
                </a:lnTo>
                <a:lnTo>
                  <a:pt x="9051120" y="3568383"/>
                </a:lnTo>
                <a:lnTo>
                  <a:pt x="9053793" y="3562985"/>
                </a:lnTo>
                <a:lnTo>
                  <a:pt x="9056131" y="3557588"/>
                </a:lnTo>
                <a:lnTo>
                  <a:pt x="9058136" y="3551873"/>
                </a:lnTo>
                <a:lnTo>
                  <a:pt x="9060141" y="3546158"/>
                </a:lnTo>
                <a:lnTo>
                  <a:pt x="9061811" y="3540443"/>
                </a:lnTo>
                <a:lnTo>
                  <a:pt x="9063147" y="3534410"/>
                </a:lnTo>
                <a:lnTo>
                  <a:pt x="9064150" y="3528695"/>
                </a:lnTo>
                <a:cubicBezTo>
                  <a:pt x="9064373" y="3526790"/>
                  <a:pt x="9064595" y="3524885"/>
                  <a:pt x="9064818" y="3522980"/>
                </a:cubicBezTo>
                <a:cubicBezTo>
                  <a:pt x="9064929" y="3520969"/>
                  <a:pt x="9065041" y="3518959"/>
                  <a:pt x="9065152" y="3516948"/>
                </a:cubicBezTo>
                <a:lnTo>
                  <a:pt x="9065152" y="3511233"/>
                </a:lnTo>
                <a:lnTo>
                  <a:pt x="9065152" y="3505200"/>
                </a:lnTo>
                <a:cubicBezTo>
                  <a:pt x="9065041" y="3503189"/>
                  <a:pt x="9064929" y="3501179"/>
                  <a:pt x="9064818" y="3499168"/>
                </a:cubicBezTo>
                <a:cubicBezTo>
                  <a:pt x="9064595" y="3497263"/>
                  <a:pt x="9064373" y="3495358"/>
                  <a:pt x="9064150" y="3493453"/>
                </a:cubicBezTo>
                <a:lnTo>
                  <a:pt x="9063147" y="3487738"/>
                </a:lnTo>
                <a:lnTo>
                  <a:pt x="9061811" y="3481705"/>
                </a:lnTo>
                <a:lnTo>
                  <a:pt x="9060141" y="3475990"/>
                </a:lnTo>
                <a:lnTo>
                  <a:pt x="9058136" y="3470593"/>
                </a:lnTo>
                <a:lnTo>
                  <a:pt x="9056131" y="3464878"/>
                </a:lnTo>
                <a:lnTo>
                  <a:pt x="9053793" y="3459163"/>
                </a:lnTo>
                <a:lnTo>
                  <a:pt x="9051120" y="3453765"/>
                </a:lnTo>
                <a:lnTo>
                  <a:pt x="9048113" y="3448685"/>
                </a:lnTo>
                <a:lnTo>
                  <a:pt x="9044772" y="3443605"/>
                </a:lnTo>
                <a:lnTo>
                  <a:pt x="9041431" y="3438525"/>
                </a:lnTo>
                <a:lnTo>
                  <a:pt x="9037756" y="3433763"/>
                </a:lnTo>
                <a:lnTo>
                  <a:pt x="9033747" y="3428683"/>
                </a:lnTo>
                <a:lnTo>
                  <a:pt x="9029069" y="3423920"/>
                </a:lnTo>
                <a:lnTo>
                  <a:pt x="8360534" y="2756218"/>
                </a:lnTo>
                <a:lnTo>
                  <a:pt x="8357193" y="2753043"/>
                </a:lnTo>
                <a:lnTo>
                  <a:pt x="8353852" y="2749233"/>
                </a:lnTo>
                <a:lnTo>
                  <a:pt x="8347504" y="2741295"/>
                </a:lnTo>
                <a:lnTo>
                  <a:pt x="8342492" y="2733040"/>
                </a:lnTo>
                <a:lnTo>
                  <a:pt x="8337815" y="2724468"/>
                </a:lnTo>
                <a:lnTo>
                  <a:pt x="8333471" y="2715895"/>
                </a:lnTo>
                <a:lnTo>
                  <a:pt x="8330465" y="2707005"/>
                </a:lnTo>
                <a:lnTo>
                  <a:pt x="8328126" y="2697798"/>
                </a:lnTo>
                <a:lnTo>
                  <a:pt x="8326121" y="2688590"/>
                </a:lnTo>
                <a:lnTo>
                  <a:pt x="5629596" y="0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0">
                <a:schemeClr val="tx2"/>
              </a:gs>
            </a:gsLst>
            <a:lin ang="13500000" scaled="1"/>
            <a:tileRect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  <a:noAutofit/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1E5ED99-8DAF-4368-BC68-3A94DF88148E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1"/>
            <a:ext cx="9186430" cy="6778625"/>
          </a:xfrm>
          <a:custGeom>
            <a:avLst/>
            <a:gdLst>
              <a:gd name="connsiteX0" fmla="*/ 6561736 w 6561737"/>
              <a:gd name="connsiteY0" fmla="*/ 0 h 4841875"/>
              <a:gd name="connsiteX1" fmla="*/ 0 w 6561737"/>
              <a:gd name="connsiteY1" fmla="*/ 0 h 4841875"/>
              <a:gd name="connsiteX2" fmla="*/ 2696252 w 6561737"/>
              <a:gd name="connsiteY2" fmla="*/ 2688414 h 4841875"/>
              <a:gd name="connsiteX3" fmla="*/ 2695583 w 6561737"/>
              <a:gd name="connsiteY3" fmla="*/ 2681112 h 4841875"/>
              <a:gd name="connsiteX4" fmla="*/ 2694915 w 6561737"/>
              <a:gd name="connsiteY4" fmla="*/ 2674127 h 4841875"/>
              <a:gd name="connsiteX5" fmla="*/ 2694915 w 6561737"/>
              <a:gd name="connsiteY5" fmla="*/ 2667143 h 4841875"/>
              <a:gd name="connsiteX6" fmla="*/ 2695249 w 6561737"/>
              <a:gd name="connsiteY6" fmla="*/ 2660158 h 4841875"/>
              <a:gd name="connsiteX7" fmla="*/ 2695918 w 6561737"/>
              <a:gd name="connsiteY7" fmla="*/ 2652856 h 4841875"/>
              <a:gd name="connsiteX8" fmla="*/ 2696920 w 6561737"/>
              <a:gd name="connsiteY8" fmla="*/ 2645872 h 4841875"/>
              <a:gd name="connsiteX9" fmla="*/ 2698590 w 6561737"/>
              <a:gd name="connsiteY9" fmla="*/ 2638887 h 4841875"/>
              <a:gd name="connsiteX10" fmla="*/ 2700260 w 6561737"/>
              <a:gd name="connsiteY10" fmla="*/ 2631903 h 4841875"/>
              <a:gd name="connsiteX11" fmla="*/ 2702599 w 6561737"/>
              <a:gd name="connsiteY11" fmla="*/ 2625235 h 4841875"/>
              <a:gd name="connsiteX12" fmla="*/ 2705605 w 6561737"/>
              <a:gd name="connsiteY12" fmla="*/ 2618568 h 4841875"/>
              <a:gd name="connsiteX13" fmla="*/ 2708946 w 6561737"/>
              <a:gd name="connsiteY13" fmla="*/ 2612219 h 4841875"/>
              <a:gd name="connsiteX14" fmla="*/ 2712287 w 6561737"/>
              <a:gd name="connsiteY14" fmla="*/ 2605552 h 4841875"/>
              <a:gd name="connsiteX15" fmla="*/ 2716296 w 6561737"/>
              <a:gd name="connsiteY15" fmla="*/ 2599520 h 4841875"/>
              <a:gd name="connsiteX16" fmla="*/ 2720973 w 6561737"/>
              <a:gd name="connsiteY16" fmla="*/ 2593488 h 4841875"/>
              <a:gd name="connsiteX17" fmla="*/ 2725649 w 6561737"/>
              <a:gd name="connsiteY17" fmla="*/ 2587773 h 4841875"/>
              <a:gd name="connsiteX18" fmla="*/ 2730660 w 6561737"/>
              <a:gd name="connsiteY18" fmla="*/ 2582058 h 4841875"/>
              <a:gd name="connsiteX19" fmla="*/ 2735337 w 6561737"/>
              <a:gd name="connsiteY19" fmla="*/ 2577931 h 4841875"/>
              <a:gd name="connsiteX20" fmla="*/ 2740014 w 6561737"/>
              <a:gd name="connsiteY20" fmla="*/ 2573804 h 4841875"/>
              <a:gd name="connsiteX21" fmla="*/ 2745025 w 6561737"/>
              <a:gd name="connsiteY21" fmla="*/ 2569994 h 4841875"/>
              <a:gd name="connsiteX22" fmla="*/ 2750036 w 6561737"/>
              <a:gd name="connsiteY22" fmla="*/ 2566184 h 4841875"/>
              <a:gd name="connsiteX23" fmla="*/ 2755381 w 6561737"/>
              <a:gd name="connsiteY23" fmla="*/ 2563327 h 4841875"/>
              <a:gd name="connsiteX24" fmla="*/ 2760726 w 6561737"/>
              <a:gd name="connsiteY24" fmla="*/ 2560152 h 4841875"/>
              <a:gd name="connsiteX25" fmla="*/ 2766072 w 6561737"/>
              <a:gd name="connsiteY25" fmla="*/ 2557295 h 4841875"/>
              <a:gd name="connsiteX26" fmla="*/ 2771417 w 6561737"/>
              <a:gd name="connsiteY26" fmla="*/ 2555073 h 4841875"/>
              <a:gd name="connsiteX27" fmla="*/ 2777096 w 6561737"/>
              <a:gd name="connsiteY27" fmla="*/ 2552850 h 4841875"/>
              <a:gd name="connsiteX28" fmla="*/ 2782775 w 6561737"/>
              <a:gd name="connsiteY28" fmla="*/ 2551263 h 4841875"/>
              <a:gd name="connsiteX29" fmla="*/ 2788788 w 6561737"/>
              <a:gd name="connsiteY29" fmla="*/ 2549675 h 4841875"/>
              <a:gd name="connsiteX30" fmla="*/ 2794467 w 6561737"/>
              <a:gd name="connsiteY30" fmla="*/ 2548406 h 4841875"/>
              <a:gd name="connsiteX31" fmla="*/ 2800146 w 6561737"/>
              <a:gd name="connsiteY31" fmla="*/ 2547453 h 4841875"/>
              <a:gd name="connsiteX32" fmla="*/ 2806159 w 6561737"/>
              <a:gd name="connsiteY32" fmla="*/ 2546818 h 4841875"/>
              <a:gd name="connsiteX33" fmla="*/ 2811839 w 6561737"/>
              <a:gd name="connsiteY33" fmla="*/ 2546183 h 4841875"/>
              <a:gd name="connsiteX34" fmla="*/ 2817852 w 6561737"/>
              <a:gd name="connsiteY34" fmla="*/ 2546183 h 4841875"/>
              <a:gd name="connsiteX35" fmla="*/ 2823865 w 6561737"/>
              <a:gd name="connsiteY35" fmla="*/ 2546183 h 4841875"/>
              <a:gd name="connsiteX36" fmla="*/ 2829878 w 6561737"/>
              <a:gd name="connsiteY36" fmla="*/ 2546818 h 4841875"/>
              <a:gd name="connsiteX37" fmla="*/ 2835557 w 6561737"/>
              <a:gd name="connsiteY37" fmla="*/ 2547453 h 4841875"/>
              <a:gd name="connsiteX38" fmla="*/ 2841236 w 6561737"/>
              <a:gd name="connsiteY38" fmla="*/ 2548406 h 4841875"/>
              <a:gd name="connsiteX39" fmla="*/ 2847250 w 6561737"/>
              <a:gd name="connsiteY39" fmla="*/ 2549675 h 4841875"/>
              <a:gd name="connsiteX40" fmla="*/ 2852929 w 6561737"/>
              <a:gd name="connsiteY40" fmla="*/ 2551263 h 4841875"/>
              <a:gd name="connsiteX41" fmla="*/ 2858608 w 6561737"/>
              <a:gd name="connsiteY41" fmla="*/ 2552850 h 4841875"/>
              <a:gd name="connsiteX42" fmla="*/ 2864287 w 6561737"/>
              <a:gd name="connsiteY42" fmla="*/ 2555073 h 4841875"/>
              <a:gd name="connsiteX43" fmla="*/ 2869966 w 6561737"/>
              <a:gd name="connsiteY43" fmla="*/ 2557295 h 4841875"/>
              <a:gd name="connsiteX44" fmla="*/ 2875311 w 6561737"/>
              <a:gd name="connsiteY44" fmla="*/ 2560152 h 4841875"/>
              <a:gd name="connsiteX45" fmla="*/ 2880322 w 6561737"/>
              <a:gd name="connsiteY45" fmla="*/ 2563327 h 4841875"/>
              <a:gd name="connsiteX46" fmla="*/ 2885667 w 6561737"/>
              <a:gd name="connsiteY46" fmla="*/ 2566184 h 4841875"/>
              <a:gd name="connsiteX47" fmla="*/ 2890678 w 6561737"/>
              <a:gd name="connsiteY47" fmla="*/ 2569994 h 4841875"/>
              <a:gd name="connsiteX48" fmla="*/ 2895689 w 6561737"/>
              <a:gd name="connsiteY48" fmla="*/ 2573804 h 4841875"/>
              <a:gd name="connsiteX49" fmla="*/ 2900366 w 6561737"/>
              <a:gd name="connsiteY49" fmla="*/ 2577931 h 4841875"/>
              <a:gd name="connsiteX50" fmla="*/ 2905043 w 6561737"/>
              <a:gd name="connsiteY50" fmla="*/ 2582058 h 4841875"/>
              <a:gd name="connsiteX51" fmla="*/ 4398989 w 6561737"/>
              <a:gd name="connsiteY51" fmla="*/ 4073893 h 4841875"/>
              <a:gd name="connsiteX52" fmla="*/ 4403332 w 6561737"/>
              <a:gd name="connsiteY52" fmla="*/ 4078338 h 4841875"/>
              <a:gd name="connsiteX53" fmla="*/ 4408009 w 6561737"/>
              <a:gd name="connsiteY53" fmla="*/ 4082465 h 4841875"/>
              <a:gd name="connsiteX54" fmla="*/ 4413020 w 6561737"/>
              <a:gd name="connsiteY54" fmla="*/ 4086275 h 4841875"/>
              <a:gd name="connsiteX55" fmla="*/ 4418031 w 6561737"/>
              <a:gd name="connsiteY55" fmla="*/ 4089767 h 4841875"/>
              <a:gd name="connsiteX56" fmla="*/ 4423042 w 6561737"/>
              <a:gd name="connsiteY56" fmla="*/ 4093259 h 4841875"/>
              <a:gd name="connsiteX57" fmla="*/ 4428721 w 6561737"/>
              <a:gd name="connsiteY57" fmla="*/ 4095799 h 4841875"/>
              <a:gd name="connsiteX58" fmla="*/ 4433732 w 6561737"/>
              <a:gd name="connsiteY58" fmla="*/ 4098656 h 4841875"/>
              <a:gd name="connsiteX59" fmla="*/ 4439745 w 6561737"/>
              <a:gd name="connsiteY59" fmla="*/ 4101196 h 4841875"/>
              <a:gd name="connsiteX60" fmla="*/ 4445090 w 6561737"/>
              <a:gd name="connsiteY60" fmla="*/ 4103101 h 4841875"/>
              <a:gd name="connsiteX61" fmla="*/ 4450769 w 6561737"/>
              <a:gd name="connsiteY61" fmla="*/ 4105006 h 4841875"/>
              <a:gd name="connsiteX62" fmla="*/ 4456449 w 6561737"/>
              <a:gd name="connsiteY62" fmla="*/ 4106593 h 4841875"/>
              <a:gd name="connsiteX63" fmla="*/ 4462127 w 6561737"/>
              <a:gd name="connsiteY63" fmla="*/ 4107863 h 4841875"/>
              <a:gd name="connsiteX64" fmla="*/ 4468140 w 6561737"/>
              <a:gd name="connsiteY64" fmla="*/ 4108816 h 4841875"/>
              <a:gd name="connsiteX65" fmla="*/ 4474154 w 6561737"/>
              <a:gd name="connsiteY65" fmla="*/ 4109451 h 4841875"/>
              <a:gd name="connsiteX66" fmla="*/ 4480167 w 6561737"/>
              <a:gd name="connsiteY66" fmla="*/ 4110086 h 4841875"/>
              <a:gd name="connsiteX67" fmla="*/ 4485846 w 6561737"/>
              <a:gd name="connsiteY67" fmla="*/ 4110086 h 4841875"/>
              <a:gd name="connsiteX68" fmla="*/ 4491526 w 6561737"/>
              <a:gd name="connsiteY68" fmla="*/ 4110086 h 4841875"/>
              <a:gd name="connsiteX69" fmla="*/ 4497538 w 6561737"/>
              <a:gd name="connsiteY69" fmla="*/ 4109451 h 4841875"/>
              <a:gd name="connsiteX70" fmla="*/ 4503551 w 6561737"/>
              <a:gd name="connsiteY70" fmla="*/ 4108816 h 4841875"/>
              <a:gd name="connsiteX71" fmla="*/ 4509565 w 6561737"/>
              <a:gd name="connsiteY71" fmla="*/ 4107863 h 4841875"/>
              <a:gd name="connsiteX72" fmla="*/ 4515244 w 6561737"/>
              <a:gd name="connsiteY72" fmla="*/ 4106593 h 4841875"/>
              <a:gd name="connsiteX73" fmla="*/ 4520589 w 6561737"/>
              <a:gd name="connsiteY73" fmla="*/ 4105006 h 4841875"/>
              <a:gd name="connsiteX74" fmla="*/ 4526602 w 6561737"/>
              <a:gd name="connsiteY74" fmla="*/ 4103101 h 4841875"/>
              <a:gd name="connsiteX75" fmla="*/ 4531948 w 6561737"/>
              <a:gd name="connsiteY75" fmla="*/ 4101196 h 4841875"/>
              <a:gd name="connsiteX76" fmla="*/ 4537960 w 6561737"/>
              <a:gd name="connsiteY76" fmla="*/ 4098656 h 4841875"/>
              <a:gd name="connsiteX77" fmla="*/ 4542971 w 6561737"/>
              <a:gd name="connsiteY77" fmla="*/ 4095799 h 4841875"/>
              <a:gd name="connsiteX78" fmla="*/ 4548650 w 6561737"/>
              <a:gd name="connsiteY78" fmla="*/ 4093259 h 4841875"/>
              <a:gd name="connsiteX79" fmla="*/ 4553661 w 6561737"/>
              <a:gd name="connsiteY79" fmla="*/ 4089767 h 4841875"/>
              <a:gd name="connsiteX80" fmla="*/ 4558672 w 6561737"/>
              <a:gd name="connsiteY80" fmla="*/ 4086275 h 4841875"/>
              <a:gd name="connsiteX81" fmla="*/ 4563683 w 6561737"/>
              <a:gd name="connsiteY81" fmla="*/ 4082465 h 4841875"/>
              <a:gd name="connsiteX82" fmla="*/ 4568360 w 6561737"/>
              <a:gd name="connsiteY82" fmla="*/ 4078338 h 4841875"/>
              <a:gd name="connsiteX83" fmla="*/ 4572704 w 6561737"/>
              <a:gd name="connsiteY83" fmla="*/ 4073893 h 4841875"/>
              <a:gd name="connsiteX84" fmla="*/ 4577381 w 6561737"/>
              <a:gd name="connsiteY84" fmla="*/ 4069448 h 4841875"/>
              <a:gd name="connsiteX85" fmla="*/ 4581389 w 6561737"/>
              <a:gd name="connsiteY85" fmla="*/ 4064686 h 4841875"/>
              <a:gd name="connsiteX86" fmla="*/ 4585064 w 6561737"/>
              <a:gd name="connsiteY86" fmla="*/ 4059606 h 4841875"/>
              <a:gd name="connsiteX87" fmla="*/ 4588738 w 6561737"/>
              <a:gd name="connsiteY87" fmla="*/ 4054844 h 4841875"/>
              <a:gd name="connsiteX88" fmla="*/ 4592079 w 6561737"/>
              <a:gd name="connsiteY88" fmla="*/ 4049447 h 4841875"/>
              <a:gd name="connsiteX89" fmla="*/ 4595086 w 6561737"/>
              <a:gd name="connsiteY89" fmla="*/ 4044367 h 4841875"/>
              <a:gd name="connsiteX90" fmla="*/ 4597424 w 6561737"/>
              <a:gd name="connsiteY90" fmla="*/ 4038653 h 4841875"/>
              <a:gd name="connsiteX91" fmla="*/ 4599763 w 6561737"/>
              <a:gd name="connsiteY91" fmla="*/ 4033256 h 4841875"/>
              <a:gd name="connsiteX92" fmla="*/ 4602101 w 6561737"/>
              <a:gd name="connsiteY92" fmla="*/ 4027859 h 4841875"/>
              <a:gd name="connsiteX93" fmla="*/ 4604106 w 6561737"/>
              <a:gd name="connsiteY93" fmla="*/ 4022144 h 4841875"/>
              <a:gd name="connsiteX94" fmla="*/ 4605776 w 6561737"/>
              <a:gd name="connsiteY94" fmla="*/ 4016112 h 4841875"/>
              <a:gd name="connsiteX95" fmla="*/ 4606778 w 6561737"/>
              <a:gd name="connsiteY95" fmla="*/ 4010397 h 4841875"/>
              <a:gd name="connsiteX96" fmla="*/ 4607781 w 6561737"/>
              <a:gd name="connsiteY96" fmla="*/ 4004683 h 4841875"/>
              <a:gd name="connsiteX97" fmla="*/ 4608448 w 6561737"/>
              <a:gd name="connsiteY97" fmla="*/ 3998650 h 4841875"/>
              <a:gd name="connsiteX98" fmla="*/ 4608782 w 6561737"/>
              <a:gd name="connsiteY98" fmla="*/ 3992936 h 4841875"/>
              <a:gd name="connsiteX99" fmla="*/ 4609117 w 6561737"/>
              <a:gd name="connsiteY99" fmla="*/ 3987221 h 4841875"/>
              <a:gd name="connsiteX100" fmla="*/ 4608782 w 6561737"/>
              <a:gd name="connsiteY100" fmla="*/ 3980872 h 4841875"/>
              <a:gd name="connsiteX101" fmla="*/ 4608448 w 6561737"/>
              <a:gd name="connsiteY101" fmla="*/ 3975157 h 4841875"/>
              <a:gd name="connsiteX102" fmla="*/ 4607781 w 6561737"/>
              <a:gd name="connsiteY102" fmla="*/ 3969442 h 4841875"/>
              <a:gd name="connsiteX103" fmla="*/ 4606778 w 6561737"/>
              <a:gd name="connsiteY103" fmla="*/ 3963410 h 4841875"/>
              <a:gd name="connsiteX104" fmla="*/ 4605776 w 6561737"/>
              <a:gd name="connsiteY104" fmla="*/ 3957696 h 4841875"/>
              <a:gd name="connsiteX105" fmla="*/ 4604106 w 6561737"/>
              <a:gd name="connsiteY105" fmla="*/ 3951981 h 4841875"/>
              <a:gd name="connsiteX106" fmla="*/ 4602101 w 6561737"/>
              <a:gd name="connsiteY106" fmla="*/ 3946584 h 4841875"/>
              <a:gd name="connsiteX107" fmla="*/ 4599763 w 6561737"/>
              <a:gd name="connsiteY107" fmla="*/ 3940552 h 4841875"/>
              <a:gd name="connsiteX108" fmla="*/ 4597424 w 6561737"/>
              <a:gd name="connsiteY108" fmla="*/ 3935155 h 4841875"/>
              <a:gd name="connsiteX109" fmla="*/ 4595086 w 6561737"/>
              <a:gd name="connsiteY109" fmla="*/ 3929757 h 4841875"/>
              <a:gd name="connsiteX110" fmla="*/ 4592079 w 6561737"/>
              <a:gd name="connsiteY110" fmla="*/ 3924678 h 4841875"/>
              <a:gd name="connsiteX111" fmla="*/ 4588738 w 6561737"/>
              <a:gd name="connsiteY111" fmla="*/ 3919281 h 4841875"/>
              <a:gd name="connsiteX112" fmla="*/ 4585064 w 6561737"/>
              <a:gd name="connsiteY112" fmla="*/ 3914201 h 4841875"/>
              <a:gd name="connsiteX113" fmla="*/ 4581389 w 6561737"/>
              <a:gd name="connsiteY113" fmla="*/ 3909121 h 4841875"/>
              <a:gd name="connsiteX114" fmla="*/ 4577381 w 6561737"/>
              <a:gd name="connsiteY114" fmla="*/ 3904677 h 4841875"/>
              <a:gd name="connsiteX115" fmla="*/ 4572704 w 6561737"/>
              <a:gd name="connsiteY115" fmla="*/ 3899914 h 4841875"/>
              <a:gd name="connsiteX116" fmla="*/ 3276525 w 6561737"/>
              <a:gd name="connsiteY116" fmla="*/ 2605234 h 4841875"/>
              <a:gd name="connsiteX117" fmla="*/ 3272182 w 6561737"/>
              <a:gd name="connsiteY117" fmla="*/ 2600472 h 4841875"/>
              <a:gd name="connsiteX118" fmla="*/ 3268174 w 6561737"/>
              <a:gd name="connsiteY118" fmla="*/ 2596027 h 4841875"/>
              <a:gd name="connsiteX119" fmla="*/ 3264165 w 6561737"/>
              <a:gd name="connsiteY119" fmla="*/ 2590948 h 4841875"/>
              <a:gd name="connsiteX120" fmla="*/ 3260824 w 6561737"/>
              <a:gd name="connsiteY120" fmla="*/ 2585868 h 4841875"/>
              <a:gd name="connsiteX121" fmla="*/ 3257818 w 6561737"/>
              <a:gd name="connsiteY121" fmla="*/ 2580788 h 4841875"/>
              <a:gd name="connsiteX122" fmla="*/ 3254811 w 6561737"/>
              <a:gd name="connsiteY122" fmla="*/ 2575709 h 4841875"/>
              <a:gd name="connsiteX123" fmla="*/ 3252138 w 6561737"/>
              <a:gd name="connsiteY123" fmla="*/ 2569994 h 4841875"/>
              <a:gd name="connsiteX124" fmla="*/ 3249466 w 6561737"/>
              <a:gd name="connsiteY124" fmla="*/ 2564597 h 4841875"/>
              <a:gd name="connsiteX125" fmla="*/ 3247461 w 6561737"/>
              <a:gd name="connsiteY125" fmla="*/ 2558882 h 4841875"/>
              <a:gd name="connsiteX126" fmla="*/ 3245791 w 6561737"/>
              <a:gd name="connsiteY126" fmla="*/ 2553168 h 4841875"/>
              <a:gd name="connsiteX127" fmla="*/ 3244121 w 6561737"/>
              <a:gd name="connsiteY127" fmla="*/ 2547453 h 4841875"/>
              <a:gd name="connsiteX128" fmla="*/ 3242785 w 6561737"/>
              <a:gd name="connsiteY128" fmla="*/ 2541738 h 4841875"/>
              <a:gd name="connsiteX129" fmla="*/ 3241782 w 6561737"/>
              <a:gd name="connsiteY129" fmla="*/ 2536024 h 4841875"/>
              <a:gd name="connsiteX130" fmla="*/ 3241114 w 6561737"/>
              <a:gd name="connsiteY130" fmla="*/ 2529992 h 4841875"/>
              <a:gd name="connsiteX131" fmla="*/ 3240780 w 6561737"/>
              <a:gd name="connsiteY131" fmla="*/ 2524277 h 4841875"/>
              <a:gd name="connsiteX132" fmla="*/ 3240780 w 6561737"/>
              <a:gd name="connsiteY132" fmla="*/ 2518245 h 4841875"/>
              <a:gd name="connsiteX133" fmla="*/ 3240780 w 6561737"/>
              <a:gd name="connsiteY133" fmla="*/ 2512213 h 4841875"/>
              <a:gd name="connsiteX134" fmla="*/ 3241114 w 6561737"/>
              <a:gd name="connsiteY134" fmla="*/ 2506498 h 4841875"/>
              <a:gd name="connsiteX135" fmla="*/ 3241782 w 6561737"/>
              <a:gd name="connsiteY135" fmla="*/ 2500784 h 4841875"/>
              <a:gd name="connsiteX136" fmla="*/ 3242785 w 6561737"/>
              <a:gd name="connsiteY136" fmla="*/ 2494752 h 4841875"/>
              <a:gd name="connsiteX137" fmla="*/ 3244121 w 6561737"/>
              <a:gd name="connsiteY137" fmla="*/ 2489037 h 4841875"/>
              <a:gd name="connsiteX138" fmla="*/ 3245791 w 6561737"/>
              <a:gd name="connsiteY138" fmla="*/ 2483322 h 4841875"/>
              <a:gd name="connsiteX139" fmla="*/ 3247461 w 6561737"/>
              <a:gd name="connsiteY139" fmla="*/ 2477290 h 4841875"/>
              <a:gd name="connsiteX140" fmla="*/ 3249466 w 6561737"/>
              <a:gd name="connsiteY140" fmla="*/ 2471893 h 4841875"/>
              <a:gd name="connsiteX141" fmla="*/ 3252138 w 6561737"/>
              <a:gd name="connsiteY141" fmla="*/ 2466496 h 4841875"/>
              <a:gd name="connsiteX142" fmla="*/ 3254811 w 6561737"/>
              <a:gd name="connsiteY142" fmla="*/ 2461099 h 4841875"/>
              <a:gd name="connsiteX143" fmla="*/ 3257818 w 6561737"/>
              <a:gd name="connsiteY143" fmla="*/ 2455702 h 4841875"/>
              <a:gd name="connsiteX144" fmla="*/ 3260824 w 6561737"/>
              <a:gd name="connsiteY144" fmla="*/ 2450304 h 4841875"/>
              <a:gd name="connsiteX145" fmla="*/ 3264165 w 6561737"/>
              <a:gd name="connsiteY145" fmla="*/ 2445542 h 4841875"/>
              <a:gd name="connsiteX146" fmla="*/ 3268174 w 6561737"/>
              <a:gd name="connsiteY146" fmla="*/ 2440463 h 4841875"/>
              <a:gd name="connsiteX147" fmla="*/ 3272182 w 6561737"/>
              <a:gd name="connsiteY147" fmla="*/ 2435700 h 4841875"/>
              <a:gd name="connsiteX148" fmla="*/ 3276525 w 6561737"/>
              <a:gd name="connsiteY148" fmla="*/ 2431256 h 4841875"/>
              <a:gd name="connsiteX149" fmla="*/ 3281536 w 6561737"/>
              <a:gd name="connsiteY149" fmla="*/ 2426811 h 4841875"/>
              <a:gd name="connsiteX150" fmla="*/ 3285879 w 6561737"/>
              <a:gd name="connsiteY150" fmla="*/ 2422684 h 4841875"/>
              <a:gd name="connsiteX151" fmla="*/ 3290890 w 6561737"/>
              <a:gd name="connsiteY151" fmla="*/ 2418874 h 4841875"/>
              <a:gd name="connsiteX152" fmla="*/ 3296235 w 6561737"/>
              <a:gd name="connsiteY152" fmla="*/ 2415382 h 4841875"/>
              <a:gd name="connsiteX153" fmla="*/ 3301246 w 6561737"/>
              <a:gd name="connsiteY153" fmla="*/ 2412207 h 4841875"/>
              <a:gd name="connsiteX154" fmla="*/ 3306591 w 6561737"/>
              <a:gd name="connsiteY154" fmla="*/ 2409350 h 4841875"/>
              <a:gd name="connsiteX155" fmla="*/ 3311936 w 6561737"/>
              <a:gd name="connsiteY155" fmla="*/ 2406492 h 4841875"/>
              <a:gd name="connsiteX156" fmla="*/ 3317281 w 6561737"/>
              <a:gd name="connsiteY156" fmla="*/ 2404270 h 4841875"/>
              <a:gd name="connsiteX157" fmla="*/ 3323295 w 6561737"/>
              <a:gd name="connsiteY157" fmla="*/ 2402048 h 4841875"/>
              <a:gd name="connsiteX158" fmla="*/ 3328640 w 6561737"/>
              <a:gd name="connsiteY158" fmla="*/ 2400143 h 4841875"/>
              <a:gd name="connsiteX159" fmla="*/ 3334653 w 6561737"/>
              <a:gd name="connsiteY159" fmla="*/ 2398873 h 4841875"/>
              <a:gd name="connsiteX160" fmla="*/ 3340332 w 6561737"/>
              <a:gd name="connsiteY160" fmla="*/ 2397285 h 4841875"/>
              <a:gd name="connsiteX161" fmla="*/ 3346011 w 6561737"/>
              <a:gd name="connsiteY161" fmla="*/ 2396333 h 4841875"/>
              <a:gd name="connsiteX162" fmla="*/ 3352024 w 6561737"/>
              <a:gd name="connsiteY162" fmla="*/ 2395698 h 4841875"/>
              <a:gd name="connsiteX163" fmla="*/ 3357703 w 6561737"/>
              <a:gd name="connsiteY163" fmla="*/ 2395381 h 4841875"/>
              <a:gd name="connsiteX164" fmla="*/ 3364051 w 6561737"/>
              <a:gd name="connsiteY164" fmla="*/ 2395381 h 4841875"/>
              <a:gd name="connsiteX165" fmla="*/ 3369730 w 6561737"/>
              <a:gd name="connsiteY165" fmla="*/ 2395381 h 4841875"/>
              <a:gd name="connsiteX166" fmla="*/ 3375743 w 6561737"/>
              <a:gd name="connsiteY166" fmla="*/ 2395698 h 4841875"/>
              <a:gd name="connsiteX167" fmla="*/ 3381422 w 6561737"/>
              <a:gd name="connsiteY167" fmla="*/ 2396333 h 4841875"/>
              <a:gd name="connsiteX168" fmla="*/ 3387101 w 6561737"/>
              <a:gd name="connsiteY168" fmla="*/ 2397285 h 4841875"/>
              <a:gd name="connsiteX169" fmla="*/ 3393114 w 6561737"/>
              <a:gd name="connsiteY169" fmla="*/ 2398873 h 4841875"/>
              <a:gd name="connsiteX170" fmla="*/ 3398794 w 6561737"/>
              <a:gd name="connsiteY170" fmla="*/ 2400143 h 4841875"/>
              <a:gd name="connsiteX171" fmla="*/ 3404807 w 6561737"/>
              <a:gd name="connsiteY171" fmla="*/ 2402048 h 4841875"/>
              <a:gd name="connsiteX172" fmla="*/ 3410152 w 6561737"/>
              <a:gd name="connsiteY172" fmla="*/ 2404270 h 4841875"/>
              <a:gd name="connsiteX173" fmla="*/ 3415831 w 6561737"/>
              <a:gd name="connsiteY173" fmla="*/ 2406492 h 4841875"/>
              <a:gd name="connsiteX174" fmla="*/ 3421176 w 6561737"/>
              <a:gd name="connsiteY174" fmla="*/ 2409350 h 4841875"/>
              <a:gd name="connsiteX175" fmla="*/ 3426187 w 6561737"/>
              <a:gd name="connsiteY175" fmla="*/ 2412207 h 4841875"/>
              <a:gd name="connsiteX176" fmla="*/ 3431866 w 6561737"/>
              <a:gd name="connsiteY176" fmla="*/ 2415382 h 4841875"/>
              <a:gd name="connsiteX177" fmla="*/ 3436543 w 6561737"/>
              <a:gd name="connsiteY177" fmla="*/ 2418874 h 4841875"/>
              <a:gd name="connsiteX178" fmla="*/ 3441554 w 6561737"/>
              <a:gd name="connsiteY178" fmla="*/ 2422684 h 4841875"/>
              <a:gd name="connsiteX179" fmla="*/ 3446565 w 6561737"/>
              <a:gd name="connsiteY179" fmla="*/ 2426811 h 4841875"/>
              <a:gd name="connsiteX180" fmla="*/ 3450908 w 6561737"/>
              <a:gd name="connsiteY180" fmla="*/ 2431256 h 4841875"/>
              <a:gd name="connsiteX181" fmla="*/ 4169819 w 6561737"/>
              <a:gd name="connsiteY181" fmla="*/ 3149076 h 4841875"/>
              <a:gd name="connsiteX182" fmla="*/ 4174496 w 6561737"/>
              <a:gd name="connsiteY182" fmla="*/ 3153521 h 4841875"/>
              <a:gd name="connsiteX183" fmla="*/ 4179173 w 6561737"/>
              <a:gd name="connsiteY183" fmla="*/ 3157648 h 4841875"/>
              <a:gd name="connsiteX184" fmla="*/ 4184184 w 6561737"/>
              <a:gd name="connsiteY184" fmla="*/ 3161458 h 4841875"/>
              <a:gd name="connsiteX185" fmla="*/ 4189195 w 6561737"/>
              <a:gd name="connsiteY185" fmla="*/ 3164950 h 4841875"/>
              <a:gd name="connsiteX186" fmla="*/ 4194540 w 6561737"/>
              <a:gd name="connsiteY186" fmla="*/ 3168442 h 4841875"/>
              <a:gd name="connsiteX187" fmla="*/ 4199551 w 6561737"/>
              <a:gd name="connsiteY187" fmla="*/ 3170982 h 4841875"/>
              <a:gd name="connsiteX188" fmla="*/ 4204896 w 6561737"/>
              <a:gd name="connsiteY188" fmla="*/ 3173840 h 4841875"/>
              <a:gd name="connsiteX189" fmla="*/ 4210576 w 6561737"/>
              <a:gd name="connsiteY189" fmla="*/ 3176062 h 4841875"/>
              <a:gd name="connsiteX190" fmla="*/ 4216255 w 6561737"/>
              <a:gd name="connsiteY190" fmla="*/ 3178284 h 4841875"/>
              <a:gd name="connsiteX191" fmla="*/ 4221934 w 6561737"/>
              <a:gd name="connsiteY191" fmla="*/ 3180189 h 4841875"/>
              <a:gd name="connsiteX192" fmla="*/ 4227613 w 6561737"/>
              <a:gd name="connsiteY192" fmla="*/ 3181776 h 4841875"/>
              <a:gd name="connsiteX193" fmla="*/ 4233292 w 6561737"/>
              <a:gd name="connsiteY193" fmla="*/ 3183046 h 4841875"/>
              <a:gd name="connsiteX194" fmla="*/ 4239305 w 6561737"/>
              <a:gd name="connsiteY194" fmla="*/ 3183999 h 4841875"/>
              <a:gd name="connsiteX195" fmla="*/ 4244984 w 6561737"/>
              <a:gd name="connsiteY195" fmla="*/ 3184634 h 4841875"/>
              <a:gd name="connsiteX196" fmla="*/ 4250998 w 6561737"/>
              <a:gd name="connsiteY196" fmla="*/ 3184951 h 4841875"/>
              <a:gd name="connsiteX197" fmla="*/ 4257011 w 6561737"/>
              <a:gd name="connsiteY197" fmla="*/ 3185269 h 4841875"/>
              <a:gd name="connsiteX198" fmla="*/ 4263024 w 6561737"/>
              <a:gd name="connsiteY198" fmla="*/ 3184951 h 4841875"/>
              <a:gd name="connsiteX199" fmla="*/ 4268703 w 6561737"/>
              <a:gd name="connsiteY199" fmla="*/ 3184634 h 4841875"/>
              <a:gd name="connsiteX200" fmla="*/ 4274382 w 6561737"/>
              <a:gd name="connsiteY200" fmla="*/ 3183999 h 4841875"/>
              <a:gd name="connsiteX201" fmla="*/ 4280395 w 6561737"/>
              <a:gd name="connsiteY201" fmla="*/ 3183046 h 4841875"/>
              <a:gd name="connsiteX202" fmla="*/ 4286075 w 6561737"/>
              <a:gd name="connsiteY202" fmla="*/ 3181776 h 4841875"/>
              <a:gd name="connsiteX203" fmla="*/ 4292088 w 6561737"/>
              <a:gd name="connsiteY203" fmla="*/ 3180189 h 4841875"/>
              <a:gd name="connsiteX204" fmla="*/ 4297767 w 6561737"/>
              <a:gd name="connsiteY204" fmla="*/ 3178284 h 4841875"/>
              <a:gd name="connsiteX205" fmla="*/ 4303446 w 6561737"/>
              <a:gd name="connsiteY205" fmla="*/ 3176062 h 4841875"/>
              <a:gd name="connsiteX206" fmla="*/ 4308791 w 6561737"/>
              <a:gd name="connsiteY206" fmla="*/ 3173840 h 4841875"/>
              <a:gd name="connsiteX207" fmla="*/ 4314136 w 6561737"/>
              <a:gd name="connsiteY207" fmla="*/ 3170982 h 4841875"/>
              <a:gd name="connsiteX208" fmla="*/ 4319815 w 6561737"/>
              <a:gd name="connsiteY208" fmla="*/ 3168442 h 4841875"/>
              <a:gd name="connsiteX209" fmla="*/ 4324826 w 6561737"/>
              <a:gd name="connsiteY209" fmla="*/ 3164950 h 4841875"/>
              <a:gd name="connsiteX210" fmla="*/ 4329503 w 6561737"/>
              <a:gd name="connsiteY210" fmla="*/ 3161458 h 4841875"/>
              <a:gd name="connsiteX211" fmla="*/ 4334848 w 6561737"/>
              <a:gd name="connsiteY211" fmla="*/ 3157648 h 4841875"/>
              <a:gd name="connsiteX212" fmla="*/ 4339525 w 6561737"/>
              <a:gd name="connsiteY212" fmla="*/ 3153521 h 4841875"/>
              <a:gd name="connsiteX213" fmla="*/ 4344202 w 6561737"/>
              <a:gd name="connsiteY213" fmla="*/ 3149076 h 4841875"/>
              <a:gd name="connsiteX214" fmla="*/ 4348545 w 6561737"/>
              <a:gd name="connsiteY214" fmla="*/ 3144631 h 4841875"/>
              <a:gd name="connsiteX215" fmla="*/ 4352554 w 6561737"/>
              <a:gd name="connsiteY215" fmla="*/ 3139869 h 4841875"/>
              <a:gd name="connsiteX216" fmla="*/ 4356228 w 6561737"/>
              <a:gd name="connsiteY216" fmla="*/ 3134790 h 4841875"/>
              <a:gd name="connsiteX217" fmla="*/ 4359903 w 6561737"/>
              <a:gd name="connsiteY217" fmla="*/ 3130027 h 4841875"/>
              <a:gd name="connsiteX218" fmla="*/ 4363244 w 6561737"/>
              <a:gd name="connsiteY218" fmla="*/ 3124948 h 4841875"/>
              <a:gd name="connsiteX219" fmla="*/ 4365916 w 6561737"/>
              <a:gd name="connsiteY219" fmla="*/ 3119551 h 4841875"/>
              <a:gd name="connsiteX220" fmla="*/ 4368589 w 6561737"/>
              <a:gd name="connsiteY220" fmla="*/ 3113836 h 4841875"/>
              <a:gd name="connsiteX221" fmla="*/ 4371261 w 6561737"/>
              <a:gd name="connsiteY221" fmla="*/ 3108439 h 4841875"/>
              <a:gd name="connsiteX222" fmla="*/ 4373266 w 6561737"/>
              <a:gd name="connsiteY222" fmla="*/ 3103042 h 4841875"/>
              <a:gd name="connsiteX223" fmla="*/ 4375270 w 6561737"/>
              <a:gd name="connsiteY223" fmla="*/ 3097010 h 4841875"/>
              <a:gd name="connsiteX224" fmla="*/ 4376606 w 6561737"/>
              <a:gd name="connsiteY224" fmla="*/ 3091295 h 4841875"/>
              <a:gd name="connsiteX225" fmla="*/ 4377943 w 6561737"/>
              <a:gd name="connsiteY225" fmla="*/ 3085580 h 4841875"/>
              <a:gd name="connsiteX226" fmla="*/ 4378945 w 6561737"/>
              <a:gd name="connsiteY226" fmla="*/ 3079866 h 4841875"/>
              <a:gd name="connsiteX227" fmla="*/ 4379613 w 6561737"/>
              <a:gd name="connsiteY227" fmla="*/ 3073834 h 4841875"/>
              <a:gd name="connsiteX228" fmla="*/ 4379947 w 6561737"/>
              <a:gd name="connsiteY228" fmla="*/ 3068119 h 4841875"/>
              <a:gd name="connsiteX229" fmla="*/ 4380281 w 6561737"/>
              <a:gd name="connsiteY229" fmla="*/ 3062404 h 4841875"/>
              <a:gd name="connsiteX230" fmla="*/ 4379947 w 6561737"/>
              <a:gd name="connsiteY230" fmla="*/ 3056055 h 4841875"/>
              <a:gd name="connsiteX231" fmla="*/ 4379613 w 6561737"/>
              <a:gd name="connsiteY231" fmla="*/ 3050340 h 4841875"/>
              <a:gd name="connsiteX232" fmla="*/ 4378945 w 6561737"/>
              <a:gd name="connsiteY232" fmla="*/ 3044625 h 4841875"/>
              <a:gd name="connsiteX233" fmla="*/ 4377943 w 6561737"/>
              <a:gd name="connsiteY233" fmla="*/ 3038593 h 4841875"/>
              <a:gd name="connsiteX234" fmla="*/ 4376606 w 6561737"/>
              <a:gd name="connsiteY234" fmla="*/ 3032879 h 4841875"/>
              <a:gd name="connsiteX235" fmla="*/ 4375270 w 6561737"/>
              <a:gd name="connsiteY235" fmla="*/ 3027164 h 4841875"/>
              <a:gd name="connsiteX236" fmla="*/ 4373266 w 6561737"/>
              <a:gd name="connsiteY236" fmla="*/ 3021449 h 4841875"/>
              <a:gd name="connsiteX237" fmla="*/ 4371261 w 6561737"/>
              <a:gd name="connsiteY237" fmla="*/ 3015735 h 4841875"/>
              <a:gd name="connsiteX238" fmla="*/ 4368589 w 6561737"/>
              <a:gd name="connsiteY238" fmla="*/ 3010338 h 4841875"/>
              <a:gd name="connsiteX239" fmla="*/ 4365916 w 6561737"/>
              <a:gd name="connsiteY239" fmla="*/ 3004941 h 4841875"/>
              <a:gd name="connsiteX240" fmla="*/ 4363244 w 6561737"/>
              <a:gd name="connsiteY240" fmla="*/ 2999543 h 4841875"/>
              <a:gd name="connsiteX241" fmla="*/ 4359903 w 6561737"/>
              <a:gd name="connsiteY241" fmla="*/ 2994464 h 4841875"/>
              <a:gd name="connsiteX242" fmla="*/ 4356228 w 6561737"/>
              <a:gd name="connsiteY242" fmla="*/ 2989384 h 4841875"/>
              <a:gd name="connsiteX243" fmla="*/ 4352554 w 6561737"/>
              <a:gd name="connsiteY243" fmla="*/ 2984622 h 4841875"/>
              <a:gd name="connsiteX244" fmla="*/ 4348545 w 6561737"/>
              <a:gd name="connsiteY244" fmla="*/ 2979860 h 4841875"/>
              <a:gd name="connsiteX245" fmla="*/ 4344202 w 6561737"/>
              <a:gd name="connsiteY245" fmla="*/ 2975098 h 4841875"/>
              <a:gd name="connsiteX246" fmla="*/ 4244650 w 6561737"/>
              <a:gd name="connsiteY246" fmla="*/ 2875727 h 4841875"/>
              <a:gd name="connsiteX247" fmla="*/ 3995771 w 6561737"/>
              <a:gd name="connsiteY247" fmla="*/ 2627140 h 4841875"/>
              <a:gd name="connsiteX248" fmla="*/ 3991428 w 6561737"/>
              <a:gd name="connsiteY248" fmla="*/ 2622696 h 4841875"/>
              <a:gd name="connsiteX249" fmla="*/ 3987419 w 6561737"/>
              <a:gd name="connsiteY249" fmla="*/ 2617933 h 4841875"/>
              <a:gd name="connsiteX250" fmla="*/ 3983410 w 6561737"/>
              <a:gd name="connsiteY250" fmla="*/ 2613171 h 4841875"/>
              <a:gd name="connsiteX251" fmla="*/ 3980070 w 6561737"/>
              <a:gd name="connsiteY251" fmla="*/ 2608092 h 4841875"/>
              <a:gd name="connsiteX252" fmla="*/ 3977063 w 6561737"/>
              <a:gd name="connsiteY252" fmla="*/ 2603012 h 4841875"/>
              <a:gd name="connsiteX253" fmla="*/ 3973722 w 6561737"/>
              <a:gd name="connsiteY253" fmla="*/ 2597297 h 4841875"/>
              <a:gd name="connsiteX254" fmla="*/ 3971050 w 6561737"/>
              <a:gd name="connsiteY254" fmla="*/ 2591900 h 4841875"/>
              <a:gd name="connsiteX255" fmla="*/ 3968711 w 6561737"/>
              <a:gd name="connsiteY255" fmla="*/ 2586503 h 4841875"/>
              <a:gd name="connsiteX256" fmla="*/ 3966707 w 6561737"/>
              <a:gd name="connsiteY256" fmla="*/ 2581106 h 4841875"/>
              <a:gd name="connsiteX257" fmla="*/ 3965037 w 6561737"/>
              <a:gd name="connsiteY257" fmla="*/ 2575074 h 4841875"/>
              <a:gd name="connsiteX258" fmla="*/ 3963366 w 6561737"/>
              <a:gd name="connsiteY258" fmla="*/ 2569677 h 4841875"/>
              <a:gd name="connsiteX259" fmla="*/ 3962030 w 6561737"/>
              <a:gd name="connsiteY259" fmla="*/ 2563962 h 4841875"/>
              <a:gd name="connsiteX260" fmla="*/ 3961028 w 6561737"/>
              <a:gd name="connsiteY260" fmla="*/ 2558247 h 4841875"/>
              <a:gd name="connsiteX261" fmla="*/ 3960026 w 6561737"/>
              <a:gd name="connsiteY261" fmla="*/ 2551898 h 4841875"/>
              <a:gd name="connsiteX262" fmla="*/ 3959691 w 6561737"/>
              <a:gd name="connsiteY262" fmla="*/ 2546183 h 4841875"/>
              <a:gd name="connsiteX263" fmla="*/ 3959691 w 6561737"/>
              <a:gd name="connsiteY263" fmla="*/ 2540469 h 4841875"/>
              <a:gd name="connsiteX264" fmla="*/ 3959691 w 6561737"/>
              <a:gd name="connsiteY264" fmla="*/ 2534436 h 4841875"/>
              <a:gd name="connsiteX265" fmla="*/ 3960026 w 6561737"/>
              <a:gd name="connsiteY265" fmla="*/ 2528404 h 4841875"/>
              <a:gd name="connsiteX266" fmla="*/ 3961028 w 6561737"/>
              <a:gd name="connsiteY266" fmla="*/ 2522690 h 4841875"/>
              <a:gd name="connsiteX267" fmla="*/ 3962030 w 6561737"/>
              <a:gd name="connsiteY267" fmla="*/ 2516658 h 4841875"/>
              <a:gd name="connsiteX268" fmla="*/ 3963366 w 6561737"/>
              <a:gd name="connsiteY268" fmla="*/ 2510943 h 4841875"/>
              <a:gd name="connsiteX269" fmla="*/ 3965037 w 6561737"/>
              <a:gd name="connsiteY269" fmla="*/ 2505228 h 4841875"/>
              <a:gd name="connsiteX270" fmla="*/ 3966707 w 6561737"/>
              <a:gd name="connsiteY270" fmla="*/ 2499514 h 4841875"/>
              <a:gd name="connsiteX271" fmla="*/ 3968711 w 6561737"/>
              <a:gd name="connsiteY271" fmla="*/ 2494117 h 4841875"/>
              <a:gd name="connsiteX272" fmla="*/ 3971050 w 6561737"/>
              <a:gd name="connsiteY272" fmla="*/ 2488402 h 4841875"/>
              <a:gd name="connsiteX273" fmla="*/ 3973722 w 6561737"/>
              <a:gd name="connsiteY273" fmla="*/ 2483322 h 4841875"/>
              <a:gd name="connsiteX274" fmla="*/ 3977063 w 6561737"/>
              <a:gd name="connsiteY274" fmla="*/ 2477608 h 4841875"/>
              <a:gd name="connsiteX275" fmla="*/ 3980070 w 6561737"/>
              <a:gd name="connsiteY275" fmla="*/ 2472528 h 4841875"/>
              <a:gd name="connsiteX276" fmla="*/ 3983410 w 6561737"/>
              <a:gd name="connsiteY276" fmla="*/ 2467448 h 4841875"/>
              <a:gd name="connsiteX277" fmla="*/ 3987419 w 6561737"/>
              <a:gd name="connsiteY277" fmla="*/ 2462686 h 4841875"/>
              <a:gd name="connsiteX278" fmla="*/ 3991428 w 6561737"/>
              <a:gd name="connsiteY278" fmla="*/ 2457924 h 4841875"/>
              <a:gd name="connsiteX279" fmla="*/ 3995771 w 6561737"/>
              <a:gd name="connsiteY279" fmla="*/ 2453162 h 4841875"/>
              <a:gd name="connsiteX280" fmla="*/ 4000448 w 6561737"/>
              <a:gd name="connsiteY280" fmla="*/ 2449035 h 4841875"/>
              <a:gd name="connsiteX281" fmla="*/ 4005459 w 6561737"/>
              <a:gd name="connsiteY281" fmla="*/ 2444907 h 4841875"/>
              <a:gd name="connsiteX282" fmla="*/ 4010135 w 6561737"/>
              <a:gd name="connsiteY282" fmla="*/ 2441098 h 4841875"/>
              <a:gd name="connsiteX283" fmla="*/ 4015146 w 6561737"/>
              <a:gd name="connsiteY283" fmla="*/ 2437288 h 4841875"/>
              <a:gd name="connsiteX284" fmla="*/ 4020492 w 6561737"/>
              <a:gd name="connsiteY284" fmla="*/ 2434430 h 4841875"/>
              <a:gd name="connsiteX285" fmla="*/ 4025503 w 6561737"/>
              <a:gd name="connsiteY285" fmla="*/ 2431256 h 4841875"/>
              <a:gd name="connsiteX286" fmla="*/ 4031182 w 6561737"/>
              <a:gd name="connsiteY286" fmla="*/ 2428398 h 4841875"/>
              <a:gd name="connsiteX287" fmla="*/ 4036527 w 6561737"/>
              <a:gd name="connsiteY287" fmla="*/ 2426176 h 4841875"/>
              <a:gd name="connsiteX288" fmla="*/ 4042206 w 6561737"/>
              <a:gd name="connsiteY288" fmla="*/ 2423954 h 4841875"/>
              <a:gd name="connsiteX289" fmla="*/ 4047885 w 6561737"/>
              <a:gd name="connsiteY289" fmla="*/ 2422366 h 4841875"/>
              <a:gd name="connsiteX290" fmla="*/ 4053564 w 6561737"/>
              <a:gd name="connsiteY290" fmla="*/ 2420461 h 4841875"/>
              <a:gd name="connsiteX291" fmla="*/ 4059577 w 6561737"/>
              <a:gd name="connsiteY291" fmla="*/ 2419509 h 4841875"/>
              <a:gd name="connsiteX292" fmla="*/ 4065256 w 6561737"/>
              <a:gd name="connsiteY292" fmla="*/ 2418557 h 4841875"/>
              <a:gd name="connsiteX293" fmla="*/ 4071270 w 6561737"/>
              <a:gd name="connsiteY293" fmla="*/ 2417922 h 4841875"/>
              <a:gd name="connsiteX294" fmla="*/ 4076949 w 6561737"/>
              <a:gd name="connsiteY294" fmla="*/ 2417287 h 4841875"/>
              <a:gd name="connsiteX295" fmla="*/ 4082962 w 6561737"/>
              <a:gd name="connsiteY295" fmla="*/ 2417287 h 4841875"/>
              <a:gd name="connsiteX296" fmla="*/ 4088975 w 6561737"/>
              <a:gd name="connsiteY296" fmla="*/ 2417287 h 4841875"/>
              <a:gd name="connsiteX297" fmla="*/ 4094654 w 6561737"/>
              <a:gd name="connsiteY297" fmla="*/ 2417922 h 4841875"/>
              <a:gd name="connsiteX298" fmla="*/ 4100668 w 6561737"/>
              <a:gd name="connsiteY298" fmla="*/ 2418557 h 4841875"/>
              <a:gd name="connsiteX299" fmla="*/ 4106347 w 6561737"/>
              <a:gd name="connsiteY299" fmla="*/ 2419509 h 4841875"/>
              <a:gd name="connsiteX300" fmla="*/ 4112360 w 6561737"/>
              <a:gd name="connsiteY300" fmla="*/ 2420461 h 4841875"/>
              <a:gd name="connsiteX301" fmla="*/ 4118039 w 6561737"/>
              <a:gd name="connsiteY301" fmla="*/ 2422366 h 4841875"/>
              <a:gd name="connsiteX302" fmla="*/ 4123718 w 6561737"/>
              <a:gd name="connsiteY302" fmla="*/ 2423954 h 4841875"/>
              <a:gd name="connsiteX303" fmla="*/ 4129397 w 6561737"/>
              <a:gd name="connsiteY303" fmla="*/ 2426176 h 4841875"/>
              <a:gd name="connsiteX304" fmla="*/ 4134742 w 6561737"/>
              <a:gd name="connsiteY304" fmla="*/ 2428398 h 4841875"/>
              <a:gd name="connsiteX305" fmla="*/ 4140421 w 6561737"/>
              <a:gd name="connsiteY305" fmla="*/ 2431256 h 4841875"/>
              <a:gd name="connsiteX306" fmla="*/ 4145767 w 6561737"/>
              <a:gd name="connsiteY306" fmla="*/ 2434430 h 4841875"/>
              <a:gd name="connsiteX307" fmla="*/ 4150778 w 6561737"/>
              <a:gd name="connsiteY307" fmla="*/ 2437288 h 4841875"/>
              <a:gd name="connsiteX308" fmla="*/ 4155789 w 6561737"/>
              <a:gd name="connsiteY308" fmla="*/ 2441098 h 4841875"/>
              <a:gd name="connsiteX309" fmla="*/ 4160800 w 6561737"/>
              <a:gd name="connsiteY309" fmla="*/ 2444907 h 4841875"/>
              <a:gd name="connsiteX310" fmla="*/ 4165476 w 6561737"/>
              <a:gd name="connsiteY310" fmla="*/ 2449035 h 4841875"/>
              <a:gd name="connsiteX311" fmla="*/ 4170153 w 6561737"/>
              <a:gd name="connsiteY311" fmla="*/ 2453162 h 4841875"/>
              <a:gd name="connsiteX312" fmla="*/ 4969908 w 6561737"/>
              <a:gd name="connsiteY312" fmla="*/ 3252257 h 4841875"/>
              <a:gd name="connsiteX313" fmla="*/ 6561736 w 6561737"/>
              <a:gd name="connsiteY313" fmla="*/ 4841875 h 4841875"/>
              <a:gd name="connsiteX314" fmla="*/ 6561736 w 6561737"/>
              <a:gd name="connsiteY314" fmla="*/ 4559209 h 4841875"/>
              <a:gd name="connsiteX315" fmla="*/ 6561737 w 6561737"/>
              <a:gd name="connsiteY315" fmla="*/ 4559210 h 4841875"/>
              <a:gd name="connsiteX316" fmla="*/ 6561737 w 6561737"/>
              <a:gd name="connsiteY316" fmla="*/ 4059791 h 4841875"/>
              <a:gd name="connsiteX317" fmla="*/ 6561736 w 6561737"/>
              <a:gd name="connsiteY317" fmla="*/ 4059790 h 4841875"/>
              <a:gd name="connsiteX0" fmla="*/ 6561736 w 6561737"/>
              <a:gd name="connsiteY0" fmla="*/ 0 h 4841875"/>
              <a:gd name="connsiteX1" fmla="*/ 0 w 6561737"/>
              <a:gd name="connsiteY1" fmla="*/ 0 h 4841875"/>
              <a:gd name="connsiteX2" fmla="*/ 2696252 w 6561737"/>
              <a:gd name="connsiteY2" fmla="*/ 2688414 h 4841875"/>
              <a:gd name="connsiteX3" fmla="*/ 2695583 w 6561737"/>
              <a:gd name="connsiteY3" fmla="*/ 2681112 h 4841875"/>
              <a:gd name="connsiteX4" fmla="*/ 2694915 w 6561737"/>
              <a:gd name="connsiteY4" fmla="*/ 2674127 h 4841875"/>
              <a:gd name="connsiteX5" fmla="*/ 2694915 w 6561737"/>
              <a:gd name="connsiteY5" fmla="*/ 2667143 h 4841875"/>
              <a:gd name="connsiteX6" fmla="*/ 2695249 w 6561737"/>
              <a:gd name="connsiteY6" fmla="*/ 2660158 h 4841875"/>
              <a:gd name="connsiteX7" fmla="*/ 2695918 w 6561737"/>
              <a:gd name="connsiteY7" fmla="*/ 2652856 h 4841875"/>
              <a:gd name="connsiteX8" fmla="*/ 2696920 w 6561737"/>
              <a:gd name="connsiteY8" fmla="*/ 2645872 h 4841875"/>
              <a:gd name="connsiteX9" fmla="*/ 2698590 w 6561737"/>
              <a:gd name="connsiteY9" fmla="*/ 2638887 h 4841875"/>
              <a:gd name="connsiteX10" fmla="*/ 2700260 w 6561737"/>
              <a:gd name="connsiteY10" fmla="*/ 2631903 h 4841875"/>
              <a:gd name="connsiteX11" fmla="*/ 2702599 w 6561737"/>
              <a:gd name="connsiteY11" fmla="*/ 2625235 h 4841875"/>
              <a:gd name="connsiteX12" fmla="*/ 2705605 w 6561737"/>
              <a:gd name="connsiteY12" fmla="*/ 2618568 h 4841875"/>
              <a:gd name="connsiteX13" fmla="*/ 2708946 w 6561737"/>
              <a:gd name="connsiteY13" fmla="*/ 2612219 h 4841875"/>
              <a:gd name="connsiteX14" fmla="*/ 2712287 w 6561737"/>
              <a:gd name="connsiteY14" fmla="*/ 2605552 h 4841875"/>
              <a:gd name="connsiteX15" fmla="*/ 2716296 w 6561737"/>
              <a:gd name="connsiteY15" fmla="*/ 2599520 h 4841875"/>
              <a:gd name="connsiteX16" fmla="*/ 2720973 w 6561737"/>
              <a:gd name="connsiteY16" fmla="*/ 2593488 h 4841875"/>
              <a:gd name="connsiteX17" fmla="*/ 2725649 w 6561737"/>
              <a:gd name="connsiteY17" fmla="*/ 2587773 h 4841875"/>
              <a:gd name="connsiteX18" fmla="*/ 2730660 w 6561737"/>
              <a:gd name="connsiteY18" fmla="*/ 2582058 h 4841875"/>
              <a:gd name="connsiteX19" fmla="*/ 2735337 w 6561737"/>
              <a:gd name="connsiteY19" fmla="*/ 2577931 h 4841875"/>
              <a:gd name="connsiteX20" fmla="*/ 2740014 w 6561737"/>
              <a:gd name="connsiteY20" fmla="*/ 2573804 h 4841875"/>
              <a:gd name="connsiteX21" fmla="*/ 2745025 w 6561737"/>
              <a:gd name="connsiteY21" fmla="*/ 2569994 h 4841875"/>
              <a:gd name="connsiteX22" fmla="*/ 2750036 w 6561737"/>
              <a:gd name="connsiteY22" fmla="*/ 2566184 h 4841875"/>
              <a:gd name="connsiteX23" fmla="*/ 2755381 w 6561737"/>
              <a:gd name="connsiteY23" fmla="*/ 2563327 h 4841875"/>
              <a:gd name="connsiteX24" fmla="*/ 2760726 w 6561737"/>
              <a:gd name="connsiteY24" fmla="*/ 2560152 h 4841875"/>
              <a:gd name="connsiteX25" fmla="*/ 2766072 w 6561737"/>
              <a:gd name="connsiteY25" fmla="*/ 2557295 h 4841875"/>
              <a:gd name="connsiteX26" fmla="*/ 2771417 w 6561737"/>
              <a:gd name="connsiteY26" fmla="*/ 2555073 h 4841875"/>
              <a:gd name="connsiteX27" fmla="*/ 2777096 w 6561737"/>
              <a:gd name="connsiteY27" fmla="*/ 2552850 h 4841875"/>
              <a:gd name="connsiteX28" fmla="*/ 2782775 w 6561737"/>
              <a:gd name="connsiteY28" fmla="*/ 2551263 h 4841875"/>
              <a:gd name="connsiteX29" fmla="*/ 2788788 w 6561737"/>
              <a:gd name="connsiteY29" fmla="*/ 2549675 h 4841875"/>
              <a:gd name="connsiteX30" fmla="*/ 2794467 w 6561737"/>
              <a:gd name="connsiteY30" fmla="*/ 2548406 h 4841875"/>
              <a:gd name="connsiteX31" fmla="*/ 2800146 w 6561737"/>
              <a:gd name="connsiteY31" fmla="*/ 2547453 h 4841875"/>
              <a:gd name="connsiteX32" fmla="*/ 2806159 w 6561737"/>
              <a:gd name="connsiteY32" fmla="*/ 2546818 h 4841875"/>
              <a:gd name="connsiteX33" fmla="*/ 2811839 w 6561737"/>
              <a:gd name="connsiteY33" fmla="*/ 2546183 h 4841875"/>
              <a:gd name="connsiteX34" fmla="*/ 2817852 w 6561737"/>
              <a:gd name="connsiteY34" fmla="*/ 2546183 h 4841875"/>
              <a:gd name="connsiteX35" fmla="*/ 2823865 w 6561737"/>
              <a:gd name="connsiteY35" fmla="*/ 2546183 h 4841875"/>
              <a:gd name="connsiteX36" fmla="*/ 2829878 w 6561737"/>
              <a:gd name="connsiteY36" fmla="*/ 2546818 h 4841875"/>
              <a:gd name="connsiteX37" fmla="*/ 2835557 w 6561737"/>
              <a:gd name="connsiteY37" fmla="*/ 2547453 h 4841875"/>
              <a:gd name="connsiteX38" fmla="*/ 2841236 w 6561737"/>
              <a:gd name="connsiteY38" fmla="*/ 2548406 h 4841875"/>
              <a:gd name="connsiteX39" fmla="*/ 2847250 w 6561737"/>
              <a:gd name="connsiteY39" fmla="*/ 2549675 h 4841875"/>
              <a:gd name="connsiteX40" fmla="*/ 2852929 w 6561737"/>
              <a:gd name="connsiteY40" fmla="*/ 2551263 h 4841875"/>
              <a:gd name="connsiteX41" fmla="*/ 2858608 w 6561737"/>
              <a:gd name="connsiteY41" fmla="*/ 2552850 h 4841875"/>
              <a:gd name="connsiteX42" fmla="*/ 2864287 w 6561737"/>
              <a:gd name="connsiteY42" fmla="*/ 2555073 h 4841875"/>
              <a:gd name="connsiteX43" fmla="*/ 2869966 w 6561737"/>
              <a:gd name="connsiteY43" fmla="*/ 2557295 h 4841875"/>
              <a:gd name="connsiteX44" fmla="*/ 2875311 w 6561737"/>
              <a:gd name="connsiteY44" fmla="*/ 2560152 h 4841875"/>
              <a:gd name="connsiteX45" fmla="*/ 2880322 w 6561737"/>
              <a:gd name="connsiteY45" fmla="*/ 2563327 h 4841875"/>
              <a:gd name="connsiteX46" fmla="*/ 2885667 w 6561737"/>
              <a:gd name="connsiteY46" fmla="*/ 2566184 h 4841875"/>
              <a:gd name="connsiteX47" fmla="*/ 2890678 w 6561737"/>
              <a:gd name="connsiteY47" fmla="*/ 2569994 h 4841875"/>
              <a:gd name="connsiteX48" fmla="*/ 2895689 w 6561737"/>
              <a:gd name="connsiteY48" fmla="*/ 2573804 h 4841875"/>
              <a:gd name="connsiteX49" fmla="*/ 2900366 w 6561737"/>
              <a:gd name="connsiteY49" fmla="*/ 2577931 h 4841875"/>
              <a:gd name="connsiteX50" fmla="*/ 2905043 w 6561737"/>
              <a:gd name="connsiteY50" fmla="*/ 2582058 h 4841875"/>
              <a:gd name="connsiteX51" fmla="*/ 4398989 w 6561737"/>
              <a:gd name="connsiteY51" fmla="*/ 4073893 h 4841875"/>
              <a:gd name="connsiteX52" fmla="*/ 4403332 w 6561737"/>
              <a:gd name="connsiteY52" fmla="*/ 4078338 h 4841875"/>
              <a:gd name="connsiteX53" fmla="*/ 4408009 w 6561737"/>
              <a:gd name="connsiteY53" fmla="*/ 4082465 h 4841875"/>
              <a:gd name="connsiteX54" fmla="*/ 4413020 w 6561737"/>
              <a:gd name="connsiteY54" fmla="*/ 4086275 h 4841875"/>
              <a:gd name="connsiteX55" fmla="*/ 4418031 w 6561737"/>
              <a:gd name="connsiteY55" fmla="*/ 4089767 h 4841875"/>
              <a:gd name="connsiteX56" fmla="*/ 4423042 w 6561737"/>
              <a:gd name="connsiteY56" fmla="*/ 4093259 h 4841875"/>
              <a:gd name="connsiteX57" fmla="*/ 4428721 w 6561737"/>
              <a:gd name="connsiteY57" fmla="*/ 4095799 h 4841875"/>
              <a:gd name="connsiteX58" fmla="*/ 4433732 w 6561737"/>
              <a:gd name="connsiteY58" fmla="*/ 4098656 h 4841875"/>
              <a:gd name="connsiteX59" fmla="*/ 4439745 w 6561737"/>
              <a:gd name="connsiteY59" fmla="*/ 4101196 h 4841875"/>
              <a:gd name="connsiteX60" fmla="*/ 4445090 w 6561737"/>
              <a:gd name="connsiteY60" fmla="*/ 4103101 h 4841875"/>
              <a:gd name="connsiteX61" fmla="*/ 4450769 w 6561737"/>
              <a:gd name="connsiteY61" fmla="*/ 4105006 h 4841875"/>
              <a:gd name="connsiteX62" fmla="*/ 4456449 w 6561737"/>
              <a:gd name="connsiteY62" fmla="*/ 4106593 h 4841875"/>
              <a:gd name="connsiteX63" fmla="*/ 4462127 w 6561737"/>
              <a:gd name="connsiteY63" fmla="*/ 4107863 h 4841875"/>
              <a:gd name="connsiteX64" fmla="*/ 4468140 w 6561737"/>
              <a:gd name="connsiteY64" fmla="*/ 4108816 h 4841875"/>
              <a:gd name="connsiteX65" fmla="*/ 4474154 w 6561737"/>
              <a:gd name="connsiteY65" fmla="*/ 4109451 h 4841875"/>
              <a:gd name="connsiteX66" fmla="*/ 4480167 w 6561737"/>
              <a:gd name="connsiteY66" fmla="*/ 4110086 h 4841875"/>
              <a:gd name="connsiteX67" fmla="*/ 4485846 w 6561737"/>
              <a:gd name="connsiteY67" fmla="*/ 4110086 h 4841875"/>
              <a:gd name="connsiteX68" fmla="*/ 4491526 w 6561737"/>
              <a:gd name="connsiteY68" fmla="*/ 4110086 h 4841875"/>
              <a:gd name="connsiteX69" fmla="*/ 4497538 w 6561737"/>
              <a:gd name="connsiteY69" fmla="*/ 4109451 h 4841875"/>
              <a:gd name="connsiteX70" fmla="*/ 4503551 w 6561737"/>
              <a:gd name="connsiteY70" fmla="*/ 4108816 h 4841875"/>
              <a:gd name="connsiteX71" fmla="*/ 4509565 w 6561737"/>
              <a:gd name="connsiteY71" fmla="*/ 4107863 h 4841875"/>
              <a:gd name="connsiteX72" fmla="*/ 4515244 w 6561737"/>
              <a:gd name="connsiteY72" fmla="*/ 4106593 h 4841875"/>
              <a:gd name="connsiteX73" fmla="*/ 4520589 w 6561737"/>
              <a:gd name="connsiteY73" fmla="*/ 4105006 h 4841875"/>
              <a:gd name="connsiteX74" fmla="*/ 4526602 w 6561737"/>
              <a:gd name="connsiteY74" fmla="*/ 4103101 h 4841875"/>
              <a:gd name="connsiteX75" fmla="*/ 4531948 w 6561737"/>
              <a:gd name="connsiteY75" fmla="*/ 4101196 h 4841875"/>
              <a:gd name="connsiteX76" fmla="*/ 4537960 w 6561737"/>
              <a:gd name="connsiteY76" fmla="*/ 4098656 h 4841875"/>
              <a:gd name="connsiteX77" fmla="*/ 4542971 w 6561737"/>
              <a:gd name="connsiteY77" fmla="*/ 4095799 h 4841875"/>
              <a:gd name="connsiteX78" fmla="*/ 4548650 w 6561737"/>
              <a:gd name="connsiteY78" fmla="*/ 4093259 h 4841875"/>
              <a:gd name="connsiteX79" fmla="*/ 4553661 w 6561737"/>
              <a:gd name="connsiteY79" fmla="*/ 4089767 h 4841875"/>
              <a:gd name="connsiteX80" fmla="*/ 4558672 w 6561737"/>
              <a:gd name="connsiteY80" fmla="*/ 4086275 h 4841875"/>
              <a:gd name="connsiteX81" fmla="*/ 4563683 w 6561737"/>
              <a:gd name="connsiteY81" fmla="*/ 4082465 h 4841875"/>
              <a:gd name="connsiteX82" fmla="*/ 4568360 w 6561737"/>
              <a:gd name="connsiteY82" fmla="*/ 4078338 h 4841875"/>
              <a:gd name="connsiteX83" fmla="*/ 4572704 w 6561737"/>
              <a:gd name="connsiteY83" fmla="*/ 4073893 h 4841875"/>
              <a:gd name="connsiteX84" fmla="*/ 4577381 w 6561737"/>
              <a:gd name="connsiteY84" fmla="*/ 4069448 h 4841875"/>
              <a:gd name="connsiteX85" fmla="*/ 4581389 w 6561737"/>
              <a:gd name="connsiteY85" fmla="*/ 4064686 h 4841875"/>
              <a:gd name="connsiteX86" fmla="*/ 4585064 w 6561737"/>
              <a:gd name="connsiteY86" fmla="*/ 4059606 h 4841875"/>
              <a:gd name="connsiteX87" fmla="*/ 4588738 w 6561737"/>
              <a:gd name="connsiteY87" fmla="*/ 4054844 h 4841875"/>
              <a:gd name="connsiteX88" fmla="*/ 4592079 w 6561737"/>
              <a:gd name="connsiteY88" fmla="*/ 4049447 h 4841875"/>
              <a:gd name="connsiteX89" fmla="*/ 4595086 w 6561737"/>
              <a:gd name="connsiteY89" fmla="*/ 4044367 h 4841875"/>
              <a:gd name="connsiteX90" fmla="*/ 4597424 w 6561737"/>
              <a:gd name="connsiteY90" fmla="*/ 4038653 h 4841875"/>
              <a:gd name="connsiteX91" fmla="*/ 4599763 w 6561737"/>
              <a:gd name="connsiteY91" fmla="*/ 4033256 h 4841875"/>
              <a:gd name="connsiteX92" fmla="*/ 4602101 w 6561737"/>
              <a:gd name="connsiteY92" fmla="*/ 4027859 h 4841875"/>
              <a:gd name="connsiteX93" fmla="*/ 4604106 w 6561737"/>
              <a:gd name="connsiteY93" fmla="*/ 4022144 h 4841875"/>
              <a:gd name="connsiteX94" fmla="*/ 4605776 w 6561737"/>
              <a:gd name="connsiteY94" fmla="*/ 4016112 h 4841875"/>
              <a:gd name="connsiteX95" fmla="*/ 4606778 w 6561737"/>
              <a:gd name="connsiteY95" fmla="*/ 4010397 h 4841875"/>
              <a:gd name="connsiteX96" fmla="*/ 4607781 w 6561737"/>
              <a:gd name="connsiteY96" fmla="*/ 4004683 h 4841875"/>
              <a:gd name="connsiteX97" fmla="*/ 4608448 w 6561737"/>
              <a:gd name="connsiteY97" fmla="*/ 3998650 h 4841875"/>
              <a:gd name="connsiteX98" fmla="*/ 4608782 w 6561737"/>
              <a:gd name="connsiteY98" fmla="*/ 3992936 h 4841875"/>
              <a:gd name="connsiteX99" fmla="*/ 4609117 w 6561737"/>
              <a:gd name="connsiteY99" fmla="*/ 3987221 h 4841875"/>
              <a:gd name="connsiteX100" fmla="*/ 4608782 w 6561737"/>
              <a:gd name="connsiteY100" fmla="*/ 3980872 h 4841875"/>
              <a:gd name="connsiteX101" fmla="*/ 4608448 w 6561737"/>
              <a:gd name="connsiteY101" fmla="*/ 3975157 h 4841875"/>
              <a:gd name="connsiteX102" fmla="*/ 4607781 w 6561737"/>
              <a:gd name="connsiteY102" fmla="*/ 3969442 h 4841875"/>
              <a:gd name="connsiteX103" fmla="*/ 4606778 w 6561737"/>
              <a:gd name="connsiteY103" fmla="*/ 3963410 h 4841875"/>
              <a:gd name="connsiteX104" fmla="*/ 4605776 w 6561737"/>
              <a:gd name="connsiteY104" fmla="*/ 3957696 h 4841875"/>
              <a:gd name="connsiteX105" fmla="*/ 4604106 w 6561737"/>
              <a:gd name="connsiteY105" fmla="*/ 3951981 h 4841875"/>
              <a:gd name="connsiteX106" fmla="*/ 4602101 w 6561737"/>
              <a:gd name="connsiteY106" fmla="*/ 3946584 h 4841875"/>
              <a:gd name="connsiteX107" fmla="*/ 4599763 w 6561737"/>
              <a:gd name="connsiteY107" fmla="*/ 3940552 h 4841875"/>
              <a:gd name="connsiteX108" fmla="*/ 4597424 w 6561737"/>
              <a:gd name="connsiteY108" fmla="*/ 3935155 h 4841875"/>
              <a:gd name="connsiteX109" fmla="*/ 4595086 w 6561737"/>
              <a:gd name="connsiteY109" fmla="*/ 3929757 h 4841875"/>
              <a:gd name="connsiteX110" fmla="*/ 4592079 w 6561737"/>
              <a:gd name="connsiteY110" fmla="*/ 3924678 h 4841875"/>
              <a:gd name="connsiteX111" fmla="*/ 4588738 w 6561737"/>
              <a:gd name="connsiteY111" fmla="*/ 3919281 h 4841875"/>
              <a:gd name="connsiteX112" fmla="*/ 4585064 w 6561737"/>
              <a:gd name="connsiteY112" fmla="*/ 3914201 h 4841875"/>
              <a:gd name="connsiteX113" fmla="*/ 4581389 w 6561737"/>
              <a:gd name="connsiteY113" fmla="*/ 3909121 h 4841875"/>
              <a:gd name="connsiteX114" fmla="*/ 4577381 w 6561737"/>
              <a:gd name="connsiteY114" fmla="*/ 3904677 h 4841875"/>
              <a:gd name="connsiteX115" fmla="*/ 4572704 w 6561737"/>
              <a:gd name="connsiteY115" fmla="*/ 3899914 h 4841875"/>
              <a:gd name="connsiteX116" fmla="*/ 3276525 w 6561737"/>
              <a:gd name="connsiteY116" fmla="*/ 2605234 h 4841875"/>
              <a:gd name="connsiteX117" fmla="*/ 3272182 w 6561737"/>
              <a:gd name="connsiteY117" fmla="*/ 2600472 h 4841875"/>
              <a:gd name="connsiteX118" fmla="*/ 3268174 w 6561737"/>
              <a:gd name="connsiteY118" fmla="*/ 2596027 h 4841875"/>
              <a:gd name="connsiteX119" fmla="*/ 3264165 w 6561737"/>
              <a:gd name="connsiteY119" fmla="*/ 2590948 h 4841875"/>
              <a:gd name="connsiteX120" fmla="*/ 3260824 w 6561737"/>
              <a:gd name="connsiteY120" fmla="*/ 2585868 h 4841875"/>
              <a:gd name="connsiteX121" fmla="*/ 3257818 w 6561737"/>
              <a:gd name="connsiteY121" fmla="*/ 2580788 h 4841875"/>
              <a:gd name="connsiteX122" fmla="*/ 3254811 w 6561737"/>
              <a:gd name="connsiteY122" fmla="*/ 2575709 h 4841875"/>
              <a:gd name="connsiteX123" fmla="*/ 3252138 w 6561737"/>
              <a:gd name="connsiteY123" fmla="*/ 2569994 h 4841875"/>
              <a:gd name="connsiteX124" fmla="*/ 3249466 w 6561737"/>
              <a:gd name="connsiteY124" fmla="*/ 2564597 h 4841875"/>
              <a:gd name="connsiteX125" fmla="*/ 3247461 w 6561737"/>
              <a:gd name="connsiteY125" fmla="*/ 2558882 h 4841875"/>
              <a:gd name="connsiteX126" fmla="*/ 3245791 w 6561737"/>
              <a:gd name="connsiteY126" fmla="*/ 2553168 h 4841875"/>
              <a:gd name="connsiteX127" fmla="*/ 3244121 w 6561737"/>
              <a:gd name="connsiteY127" fmla="*/ 2547453 h 4841875"/>
              <a:gd name="connsiteX128" fmla="*/ 3242785 w 6561737"/>
              <a:gd name="connsiteY128" fmla="*/ 2541738 h 4841875"/>
              <a:gd name="connsiteX129" fmla="*/ 3241782 w 6561737"/>
              <a:gd name="connsiteY129" fmla="*/ 2536024 h 4841875"/>
              <a:gd name="connsiteX130" fmla="*/ 3241114 w 6561737"/>
              <a:gd name="connsiteY130" fmla="*/ 2529992 h 4841875"/>
              <a:gd name="connsiteX131" fmla="*/ 3240780 w 6561737"/>
              <a:gd name="connsiteY131" fmla="*/ 2524277 h 4841875"/>
              <a:gd name="connsiteX132" fmla="*/ 3240780 w 6561737"/>
              <a:gd name="connsiteY132" fmla="*/ 2518245 h 4841875"/>
              <a:gd name="connsiteX133" fmla="*/ 3240780 w 6561737"/>
              <a:gd name="connsiteY133" fmla="*/ 2512213 h 4841875"/>
              <a:gd name="connsiteX134" fmla="*/ 3241114 w 6561737"/>
              <a:gd name="connsiteY134" fmla="*/ 2506498 h 4841875"/>
              <a:gd name="connsiteX135" fmla="*/ 3241782 w 6561737"/>
              <a:gd name="connsiteY135" fmla="*/ 2500784 h 4841875"/>
              <a:gd name="connsiteX136" fmla="*/ 3242785 w 6561737"/>
              <a:gd name="connsiteY136" fmla="*/ 2494752 h 4841875"/>
              <a:gd name="connsiteX137" fmla="*/ 3244121 w 6561737"/>
              <a:gd name="connsiteY137" fmla="*/ 2489037 h 4841875"/>
              <a:gd name="connsiteX138" fmla="*/ 3245791 w 6561737"/>
              <a:gd name="connsiteY138" fmla="*/ 2483322 h 4841875"/>
              <a:gd name="connsiteX139" fmla="*/ 3247461 w 6561737"/>
              <a:gd name="connsiteY139" fmla="*/ 2477290 h 4841875"/>
              <a:gd name="connsiteX140" fmla="*/ 3249466 w 6561737"/>
              <a:gd name="connsiteY140" fmla="*/ 2471893 h 4841875"/>
              <a:gd name="connsiteX141" fmla="*/ 3252138 w 6561737"/>
              <a:gd name="connsiteY141" fmla="*/ 2466496 h 4841875"/>
              <a:gd name="connsiteX142" fmla="*/ 3254811 w 6561737"/>
              <a:gd name="connsiteY142" fmla="*/ 2461099 h 4841875"/>
              <a:gd name="connsiteX143" fmla="*/ 3257818 w 6561737"/>
              <a:gd name="connsiteY143" fmla="*/ 2455702 h 4841875"/>
              <a:gd name="connsiteX144" fmla="*/ 3260824 w 6561737"/>
              <a:gd name="connsiteY144" fmla="*/ 2450304 h 4841875"/>
              <a:gd name="connsiteX145" fmla="*/ 3264165 w 6561737"/>
              <a:gd name="connsiteY145" fmla="*/ 2445542 h 4841875"/>
              <a:gd name="connsiteX146" fmla="*/ 3268174 w 6561737"/>
              <a:gd name="connsiteY146" fmla="*/ 2440463 h 4841875"/>
              <a:gd name="connsiteX147" fmla="*/ 3272182 w 6561737"/>
              <a:gd name="connsiteY147" fmla="*/ 2435700 h 4841875"/>
              <a:gd name="connsiteX148" fmla="*/ 3276525 w 6561737"/>
              <a:gd name="connsiteY148" fmla="*/ 2431256 h 4841875"/>
              <a:gd name="connsiteX149" fmla="*/ 3281536 w 6561737"/>
              <a:gd name="connsiteY149" fmla="*/ 2426811 h 4841875"/>
              <a:gd name="connsiteX150" fmla="*/ 3285879 w 6561737"/>
              <a:gd name="connsiteY150" fmla="*/ 2422684 h 4841875"/>
              <a:gd name="connsiteX151" fmla="*/ 3290890 w 6561737"/>
              <a:gd name="connsiteY151" fmla="*/ 2418874 h 4841875"/>
              <a:gd name="connsiteX152" fmla="*/ 3296235 w 6561737"/>
              <a:gd name="connsiteY152" fmla="*/ 2415382 h 4841875"/>
              <a:gd name="connsiteX153" fmla="*/ 3301246 w 6561737"/>
              <a:gd name="connsiteY153" fmla="*/ 2412207 h 4841875"/>
              <a:gd name="connsiteX154" fmla="*/ 3306591 w 6561737"/>
              <a:gd name="connsiteY154" fmla="*/ 2409350 h 4841875"/>
              <a:gd name="connsiteX155" fmla="*/ 3311936 w 6561737"/>
              <a:gd name="connsiteY155" fmla="*/ 2406492 h 4841875"/>
              <a:gd name="connsiteX156" fmla="*/ 3317281 w 6561737"/>
              <a:gd name="connsiteY156" fmla="*/ 2404270 h 4841875"/>
              <a:gd name="connsiteX157" fmla="*/ 3323295 w 6561737"/>
              <a:gd name="connsiteY157" fmla="*/ 2402048 h 4841875"/>
              <a:gd name="connsiteX158" fmla="*/ 3328640 w 6561737"/>
              <a:gd name="connsiteY158" fmla="*/ 2400143 h 4841875"/>
              <a:gd name="connsiteX159" fmla="*/ 3334653 w 6561737"/>
              <a:gd name="connsiteY159" fmla="*/ 2398873 h 4841875"/>
              <a:gd name="connsiteX160" fmla="*/ 3340332 w 6561737"/>
              <a:gd name="connsiteY160" fmla="*/ 2397285 h 4841875"/>
              <a:gd name="connsiteX161" fmla="*/ 3346011 w 6561737"/>
              <a:gd name="connsiteY161" fmla="*/ 2396333 h 4841875"/>
              <a:gd name="connsiteX162" fmla="*/ 3352024 w 6561737"/>
              <a:gd name="connsiteY162" fmla="*/ 2395698 h 4841875"/>
              <a:gd name="connsiteX163" fmla="*/ 3357703 w 6561737"/>
              <a:gd name="connsiteY163" fmla="*/ 2395381 h 4841875"/>
              <a:gd name="connsiteX164" fmla="*/ 3364051 w 6561737"/>
              <a:gd name="connsiteY164" fmla="*/ 2395381 h 4841875"/>
              <a:gd name="connsiteX165" fmla="*/ 3369730 w 6561737"/>
              <a:gd name="connsiteY165" fmla="*/ 2395381 h 4841875"/>
              <a:gd name="connsiteX166" fmla="*/ 3375743 w 6561737"/>
              <a:gd name="connsiteY166" fmla="*/ 2395698 h 4841875"/>
              <a:gd name="connsiteX167" fmla="*/ 3381422 w 6561737"/>
              <a:gd name="connsiteY167" fmla="*/ 2396333 h 4841875"/>
              <a:gd name="connsiteX168" fmla="*/ 3387101 w 6561737"/>
              <a:gd name="connsiteY168" fmla="*/ 2397285 h 4841875"/>
              <a:gd name="connsiteX169" fmla="*/ 3393114 w 6561737"/>
              <a:gd name="connsiteY169" fmla="*/ 2398873 h 4841875"/>
              <a:gd name="connsiteX170" fmla="*/ 3398794 w 6561737"/>
              <a:gd name="connsiteY170" fmla="*/ 2400143 h 4841875"/>
              <a:gd name="connsiteX171" fmla="*/ 3404807 w 6561737"/>
              <a:gd name="connsiteY171" fmla="*/ 2402048 h 4841875"/>
              <a:gd name="connsiteX172" fmla="*/ 3410152 w 6561737"/>
              <a:gd name="connsiteY172" fmla="*/ 2404270 h 4841875"/>
              <a:gd name="connsiteX173" fmla="*/ 3415831 w 6561737"/>
              <a:gd name="connsiteY173" fmla="*/ 2406492 h 4841875"/>
              <a:gd name="connsiteX174" fmla="*/ 3421176 w 6561737"/>
              <a:gd name="connsiteY174" fmla="*/ 2409350 h 4841875"/>
              <a:gd name="connsiteX175" fmla="*/ 3426187 w 6561737"/>
              <a:gd name="connsiteY175" fmla="*/ 2412207 h 4841875"/>
              <a:gd name="connsiteX176" fmla="*/ 3431866 w 6561737"/>
              <a:gd name="connsiteY176" fmla="*/ 2415382 h 4841875"/>
              <a:gd name="connsiteX177" fmla="*/ 3436543 w 6561737"/>
              <a:gd name="connsiteY177" fmla="*/ 2418874 h 4841875"/>
              <a:gd name="connsiteX178" fmla="*/ 3441554 w 6561737"/>
              <a:gd name="connsiteY178" fmla="*/ 2422684 h 4841875"/>
              <a:gd name="connsiteX179" fmla="*/ 3446565 w 6561737"/>
              <a:gd name="connsiteY179" fmla="*/ 2426811 h 4841875"/>
              <a:gd name="connsiteX180" fmla="*/ 3450908 w 6561737"/>
              <a:gd name="connsiteY180" fmla="*/ 2431256 h 4841875"/>
              <a:gd name="connsiteX181" fmla="*/ 4169819 w 6561737"/>
              <a:gd name="connsiteY181" fmla="*/ 3149076 h 4841875"/>
              <a:gd name="connsiteX182" fmla="*/ 4174496 w 6561737"/>
              <a:gd name="connsiteY182" fmla="*/ 3153521 h 4841875"/>
              <a:gd name="connsiteX183" fmla="*/ 4179173 w 6561737"/>
              <a:gd name="connsiteY183" fmla="*/ 3157648 h 4841875"/>
              <a:gd name="connsiteX184" fmla="*/ 4184184 w 6561737"/>
              <a:gd name="connsiteY184" fmla="*/ 3161458 h 4841875"/>
              <a:gd name="connsiteX185" fmla="*/ 4189195 w 6561737"/>
              <a:gd name="connsiteY185" fmla="*/ 3164950 h 4841875"/>
              <a:gd name="connsiteX186" fmla="*/ 4194540 w 6561737"/>
              <a:gd name="connsiteY186" fmla="*/ 3168442 h 4841875"/>
              <a:gd name="connsiteX187" fmla="*/ 4199551 w 6561737"/>
              <a:gd name="connsiteY187" fmla="*/ 3170982 h 4841875"/>
              <a:gd name="connsiteX188" fmla="*/ 4204896 w 6561737"/>
              <a:gd name="connsiteY188" fmla="*/ 3173840 h 4841875"/>
              <a:gd name="connsiteX189" fmla="*/ 4210576 w 6561737"/>
              <a:gd name="connsiteY189" fmla="*/ 3176062 h 4841875"/>
              <a:gd name="connsiteX190" fmla="*/ 4216255 w 6561737"/>
              <a:gd name="connsiteY190" fmla="*/ 3178284 h 4841875"/>
              <a:gd name="connsiteX191" fmla="*/ 4221934 w 6561737"/>
              <a:gd name="connsiteY191" fmla="*/ 3180189 h 4841875"/>
              <a:gd name="connsiteX192" fmla="*/ 4227613 w 6561737"/>
              <a:gd name="connsiteY192" fmla="*/ 3181776 h 4841875"/>
              <a:gd name="connsiteX193" fmla="*/ 4233292 w 6561737"/>
              <a:gd name="connsiteY193" fmla="*/ 3183046 h 4841875"/>
              <a:gd name="connsiteX194" fmla="*/ 4239305 w 6561737"/>
              <a:gd name="connsiteY194" fmla="*/ 3183999 h 4841875"/>
              <a:gd name="connsiteX195" fmla="*/ 4244984 w 6561737"/>
              <a:gd name="connsiteY195" fmla="*/ 3184634 h 4841875"/>
              <a:gd name="connsiteX196" fmla="*/ 4250998 w 6561737"/>
              <a:gd name="connsiteY196" fmla="*/ 3184951 h 4841875"/>
              <a:gd name="connsiteX197" fmla="*/ 4257011 w 6561737"/>
              <a:gd name="connsiteY197" fmla="*/ 3185269 h 4841875"/>
              <a:gd name="connsiteX198" fmla="*/ 4263024 w 6561737"/>
              <a:gd name="connsiteY198" fmla="*/ 3184951 h 4841875"/>
              <a:gd name="connsiteX199" fmla="*/ 4268703 w 6561737"/>
              <a:gd name="connsiteY199" fmla="*/ 3184634 h 4841875"/>
              <a:gd name="connsiteX200" fmla="*/ 4274382 w 6561737"/>
              <a:gd name="connsiteY200" fmla="*/ 3183999 h 4841875"/>
              <a:gd name="connsiteX201" fmla="*/ 4280395 w 6561737"/>
              <a:gd name="connsiteY201" fmla="*/ 3183046 h 4841875"/>
              <a:gd name="connsiteX202" fmla="*/ 4286075 w 6561737"/>
              <a:gd name="connsiteY202" fmla="*/ 3181776 h 4841875"/>
              <a:gd name="connsiteX203" fmla="*/ 4292088 w 6561737"/>
              <a:gd name="connsiteY203" fmla="*/ 3180189 h 4841875"/>
              <a:gd name="connsiteX204" fmla="*/ 4297767 w 6561737"/>
              <a:gd name="connsiteY204" fmla="*/ 3178284 h 4841875"/>
              <a:gd name="connsiteX205" fmla="*/ 4303446 w 6561737"/>
              <a:gd name="connsiteY205" fmla="*/ 3176062 h 4841875"/>
              <a:gd name="connsiteX206" fmla="*/ 4308791 w 6561737"/>
              <a:gd name="connsiteY206" fmla="*/ 3173840 h 4841875"/>
              <a:gd name="connsiteX207" fmla="*/ 4314136 w 6561737"/>
              <a:gd name="connsiteY207" fmla="*/ 3170982 h 4841875"/>
              <a:gd name="connsiteX208" fmla="*/ 4319815 w 6561737"/>
              <a:gd name="connsiteY208" fmla="*/ 3168442 h 4841875"/>
              <a:gd name="connsiteX209" fmla="*/ 4324826 w 6561737"/>
              <a:gd name="connsiteY209" fmla="*/ 3164950 h 4841875"/>
              <a:gd name="connsiteX210" fmla="*/ 4329503 w 6561737"/>
              <a:gd name="connsiteY210" fmla="*/ 3161458 h 4841875"/>
              <a:gd name="connsiteX211" fmla="*/ 4334848 w 6561737"/>
              <a:gd name="connsiteY211" fmla="*/ 3157648 h 4841875"/>
              <a:gd name="connsiteX212" fmla="*/ 4339525 w 6561737"/>
              <a:gd name="connsiteY212" fmla="*/ 3153521 h 4841875"/>
              <a:gd name="connsiteX213" fmla="*/ 4344202 w 6561737"/>
              <a:gd name="connsiteY213" fmla="*/ 3149076 h 4841875"/>
              <a:gd name="connsiteX214" fmla="*/ 4348545 w 6561737"/>
              <a:gd name="connsiteY214" fmla="*/ 3144631 h 4841875"/>
              <a:gd name="connsiteX215" fmla="*/ 4352554 w 6561737"/>
              <a:gd name="connsiteY215" fmla="*/ 3139869 h 4841875"/>
              <a:gd name="connsiteX216" fmla="*/ 4356228 w 6561737"/>
              <a:gd name="connsiteY216" fmla="*/ 3134790 h 4841875"/>
              <a:gd name="connsiteX217" fmla="*/ 4359903 w 6561737"/>
              <a:gd name="connsiteY217" fmla="*/ 3130027 h 4841875"/>
              <a:gd name="connsiteX218" fmla="*/ 4363244 w 6561737"/>
              <a:gd name="connsiteY218" fmla="*/ 3124948 h 4841875"/>
              <a:gd name="connsiteX219" fmla="*/ 4365916 w 6561737"/>
              <a:gd name="connsiteY219" fmla="*/ 3119551 h 4841875"/>
              <a:gd name="connsiteX220" fmla="*/ 4368589 w 6561737"/>
              <a:gd name="connsiteY220" fmla="*/ 3113836 h 4841875"/>
              <a:gd name="connsiteX221" fmla="*/ 4371261 w 6561737"/>
              <a:gd name="connsiteY221" fmla="*/ 3108439 h 4841875"/>
              <a:gd name="connsiteX222" fmla="*/ 4373266 w 6561737"/>
              <a:gd name="connsiteY222" fmla="*/ 3103042 h 4841875"/>
              <a:gd name="connsiteX223" fmla="*/ 4375270 w 6561737"/>
              <a:gd name="connsiteY223" fmla="*/ 3097010 h 4841875"/>
              <a:gd name="connsiteX224" fmla="*/ 4376606 w 6561737"/>
              <a:gd name="connsiteY224" fmla="*/ 3091295 h 4841875"/>
              <a:gd name="connsiteX225" fmla="*/ 4377943 w 6561737"/>
              <a:gd name="connsiteY225" fmla="*/ 3085580 h 4841875"/>
              <a:gd name="connsiteX226" fmla="*/ 4378945 w 6561737"/>
              <a:gd name="connsiteY226" fmla="*/ 3079866 h 4841875"/>
              <a:gd name="connsiteX227" fmla="*/ 4379613 w 6561737"/>
              <a:gd name="connsiteY227" fmla="*/ 3073834 h 4841875"/>
              <a:gd name="connsiteX228" fmla="*/ 4379947 w 6561737"/>
              <a:gd name="connsiteY228" fmla="*/ 3068119 h 4841875"/>
              <a:gd name="connsiteX229" fmla="*/ 4380281 w 6561737"/>
              <a:gd name="connsiteY229" fmla="*/ 3062404 h 4841875"/>
              <a:gd name="connsiteX230" fmla="*/ 4379947 w 6561737"/>
              <a:gd name="connsiteY230" fmla="*/ 3056055 h 4841875"/>
              <a:gd name="connsiteX231" fmla="*/ 4379613 w 6561737"/>
              <a:gd name="connsiteY231" fmla="*/ 3050340 h 4841875"/>
              <a:gd name="connsiteX232" fmla="*/ 4378945 w 6561737"/>
              <a:gd name="connsiteY232" fmla="*/ 3044625 h 4841875"/>
              <a:gd name="connsiteX233" fmla="*/ 4377943 w 6561737"/>
              <a:gd name="connsiteY233" fmla="*/ 3038593 h 4841875"/>
              <a:gd name="connsiteX234" fmla="*/ 4376606 w 6561737"/>
              <a:gd name="connsiteY234" fmla="*/ 3032879 h 4841875"/>
              <a:gd name="connsiteX235" fmla="*/ 4375270 w 6561737"/>
              <a:gd name="connsiteY235" fmla="*/ 3027164 h 4841875"/>
              <a:gd name="connsiteX236" fmla="*/ 4373266 w 6561737"/>
              <a:gd name="connsiteY236" fmla="*/ 3021449 h 4841875"/>
              <a:gd name="connsiteX237" fmla="*/ 4371261 w 6561737"/>
              <a:gd name="connsiteY237" fmla="*/ 3015735 h 4841875"/>
              <a:gd name="connsiteX238" fmla="*/ 4368589 w 6561737"/>
              <a:gd name="connsiteY238" fmla="*/ 3010338 h 4841875"/>
              <a:gd name="connsiteX239" fmla="*/ 4365916 w 6561737"/>
              <a:gd name="connsiteY239" fmla="*/ 3004941 h 4841875"/>
              <a:gd name="connsiteX240" fmla="*/ 4363244 w 6561737"/>
              <a:gd name="connsiteY240" fmla="*/ 2999543 h 4841875"/>
              <a:gd name="connsiteX241" fmla="*/ 4359903 w 6561737"/>
              <a:gd name="connsiteY241" fmla="*/ 2994464 h 4841875"/>
              <a:gd name="connsiteX242" fmla="*/ 4356228 w 6561737"/>
              <a:gd name="connsiteY242" fmla="*/ 2989384 h 4841875"/>
              <a:gd name="connsiteX243" fmla="*/ 4352554 w 6561737"/>
              <a:gd name="connsiteY243" fmla="*/ 2984622 h 4841875"/>
              <a:gd name="connsiteX244" fmla="*/ 4348545 w 6561737"/>
              <a:gd name="connsiteY244" fmla="*/ 2979860 h 4841875"/>
              <a:gd name="connsiteX245" fmla="*/ 4344202 w 6561737"/>
              <a:gd name="connsiteY245" fmla="*/ 2975098 h 4841875"/>
              <a:gd name="connsiteX246" fmla="*/ 4244650 w 6561737"/>
              <a:gd name="connsiteY246" fmla="*/ 2875727 h 4841875"/>
              <a:gd name="connsiteX247" fmla="*/ 3995771 w 6561737"/>
              <a:gd name="connsiteY247" fmla="*/ 2627140 h 4841875"/>
              <a:gd name="connsiteX248" fmla="*/ 3991428 w 6561737"/>
              <a:gd name="connsiteY248" fmla="*/ 2622696 h 4841875"/>
              <a:gd name="connsiteX249" fmla="*/ 3987419 w 6561737"/>
              <a:gd name="connsiteY249" fmla="*/ 2617933 h 4841875"/>
              <a:gd name="connsiteX250" fmla="*/ 3983410 w 6561737"/>
              <a:gd name="connsiteY250" fmla="*/ 2613171 h 4841875"/>
              <a:gd name="connsiteX251" fmla="*/ 3980070 w 6561737"/>
              <a:gd name="connsiteY251" fmla="*/ 2608092 h 4841875"/>
              <a:gd name="connsiteX252" fmla="*/ 3977063 w 6561737"/>
              <a:gd name="connsiteY252" fmla="*/ 2603012 h 4841875"/>
              <a:gd name="connsiteX253" fmla="*/ 3973722 w 6561737"/>
              <a:gd name="connsiteY253" fmla="*/ 2597297 h 4841875"/>
              <a:gd name="connsiteX254" fmla="*/ 3971050 w 6561737"/>
              <a:gd name="connsiteY254" fmla="*/ 2591900 h 4841875"/>
              <a:gd name="connsiteX255" fmla="*/ 3968711 w 6561737"/>
              <a:gd name="connsiteY255" fmla="*/ 2586503 h 4841875"/>
              <a:gd name="connsiteX256" fmla="*/ 3966707 w 6561737"/>
              <a:gd name="connsiteY256" fmla="*/ 2581106 h 4841875"/>
              <a:gd name="connsiteX257" fmla="*/ 3965037 w 6561737"/>
              <a:gd name="connsiteY257" fmla="*/ 2575074 h 4841875"/>
              <a:gd name="connsiteX258" fmla="*/ 3963366 w 6561737"/>
              <a:gd name="connsiteY258" fmla="*/ 2569677 h 4841875"/>
              <a:gd name="connsiteX259" fmla="*/ 3962030 w 6561737"/>
              <a:gd name="connsiteY259" fmla="*/ 2563962 h 4841875"/>
              <a:gd name="connsiteX260" fmla="*/ 3961028 w 6561737"/>
              <a:gd name="connsiteY260" fmla="*/ 2558247 h 4841875"/>
              <a:gd name="connsiteX261" fmla="*/ 3960026 w 6561737"/>
              <a:gd name="connsiteY261" fmla="*/ 2551898 h 4841875"/>
              <a:gd name="connsiteX262" fmla="*/ 3959691 w 6561737"/>
              <a:gd name="connsiteY262" fmla="*/ 2546183 h 4841875"/>
              <a:gd name="connsiteX263" fmla="*/ 3959691 w 6561737"/>
              <a:gd name="connsiteY263" fmla="*/ 2540469 h 4841875"/>
              <a:gd name="connsiteX264" fmla="*/ 3959691 w 6561737"/>
              <a:gd name="connsiteY264" fmla="*/ 2534436 h 4841875"/>
              <a:gd name="connsiteX265" fmla="*/ 3960026 w 6561737"/>
              <a:gd name="connsiteY265" fmla="*/ 2528404 h 4841875"/>
              <a:gd name="connsiteX266" fmla="*/ 3961028 w 6561737"/>
              <a:gd name="connsiteY266" fmla="*/ 2522690 h 4841875"/>
              <a:gd name="connsiteX267" fmla="*/ 3962030 w 6561737"/>
              <a:gd name="connsiteY267" fmla="*/ 2516658 h 4841875"/>
              <a:gd name="connsiteX268" fmla="*/ 3963366 w 6561737"/>
              <a:gd name="connsiteY268" fmla="*/ 2510943 h 4841875"/>
              <a:gd name="connsiteX269" fmla="*/ 3965037 w 6561737"/>
              <a:gd name="connsiteY269" fmla="*/ 2505228 h 4841875"/>
              <a:gd name="connsiteX270" fmla="*/ 3966707 w 6561737"/>
              <a:gd name="connsiteY270" fmla="*/ 2499514 h 4841875"/>
              <a:gd name="connsiteX271" fmla="*/ 3968711 w 6561737"/>
              <a:gd name="connsiteY271" fmla="*/ 2494117 h 4841875"/>
              <a:gd name="connsiteX272" fmla="*/ 3971050 w 6561737"/>
              <a:gd name="connsiteY272" fmla="*/ 2488402 h 4841875"/>
              <a:gd name="connsiteX273" fmla="*/ 3973722 w 6561737"/>
              <a:gd name="connsiteY273" fmla="*/ 2483322 h 4841875"/>
              <a:gd name="connsiteX274" fmla="*/ 3977063 w 6561737"/>
              <a:gd name="connsiteY274" fmla="*/ 2477608 h 4841875"/>
              <a:gd name="connsiteX275" fmla="*/ 3980070 w 6561737"/>
              <a:gd name="connsiteY275" fmla="*/ 2472528 h 4841875"/>
              <a:gd name="connsiteX276" fmla="*/ 3983410 w 6561737"/>
              <a:gd name="connsiteY276" fmla="*/ 2467448 h 4841875"/>
              <a:gd name="connsiteX277" fmla="*/ 3987419 w 6561737"/>
              <a:gd name="connsiteY277" fmla="*/ 2462686 h 4841875"/>
              <a:gd name="connsiteX278" fmla="*/ 3991428 w 6561737"/>
              <a:gd name="connsiteY278" fmla="*/ 2457924 h 4841875"/>
              <a:gd name="connsiteX279" fmla="*/ 3995771 w 6561737"/>
              <a:gd name="connsiteY279" fmla="*/ 2453162 h 4841875"/>
              <a:gd name="connsiteX280" fmla="*/ 4000448 w 6561737"/>
              <a:gd name="connsiteY280" fmla="*/ 2449035 h 4841875"/>
              <a:gd name="connsiteX281" fmla="*/ 4005459 w 6561737"/>
              <a:gd name="connsiteY281" fmla="*/ 2444907 h 4841875"/>
              <a:gd name="connsiteX282" fmla="*/ 4010135 w 6561737"/>
              <a:gd name="connsiteY282" fmla="*/ 2441098 h 4841875"/>
              <a:gd name="connsiteX283" fmla="*/ 4015146 w 6561737"/>
              <a:gd name="connsiteY283" fmla="*/ 2437288 h 4841875"/>
              <a:gd name="connsiteX284" fmla="*/ 4020492 w 6561737"/>
              <a:gd name="connsiteY284" fmla="*/ 2434430 h 4841875"/>
              <a:gd name="connsiteX285" fmla="*/ 4025503 w 6561737"/>
              <a:gd name="connsiteY285" fmla="*/ 2431256 h 4841875"/>
              <a:gd name="connsiteX286" fmla="*/ 4031182 w 6561737"/>
              <a:gd name="connsiteY286" fmla="*/ 2428398 h 4841875"/>
              <a:gd name="connsiteX287" fmla="*/ 4036527 w 6561737"/>
              <a:gd name="connsiteY287" fmla="*/ 2426176 h 4841875"/>
              <a:gd name="connsiteX288" fmla="*/ 4042206 w 6561737"/>
              <a:gd name="connsiteY288" fmla="*/ 2423954 h 4841875"/>
              <a:gd name="connsiteX289" fmla="*/ 4047885 w 6561737"/>
              <a:gd name="connsiteY289" fmla="*/ 2422366 h 4841875"/>
              <a:gd name="connsiteX290" fmla="*/ 4053564 w 6561737"/>
              <a:gd name="connsiteY290" fmla="*/ 2420461 h 4841875"/>
              <a:gd name="connsiteX291" fmla="*/ 4059577 w 6561737"/>
              <a:gd name="connsiteY291" fmla="*/ 2419509 h 4841875"/>
              <a:gd name="connsiteX292" fmla="*/ 4065256 w 6561737"/>
              <a:gd name="connsiteY292" fmla="*/ 2418557 h 4841875"/>
              <a:gd name="connsiteX293" fmla="*/ 4071270 w 6561737"/>
              <a:gd name="connsiteY293" fmla="*/ 2417922 h 4841875"/>
              <a:gd name="connsiteX294" fmla="*/ 4076949 w 6561737"/>
              <a:gd name="connsiteY294" fmla="*/ 2417287 h 4841875"/>
              <a:gd name="connsiteX295" fmla="*/ 4082962 w 6561737"/>
              <a:gd name="connsiteY295" fmla="*/ 2417287 h 4841875"/>
              <a:gd name="connsiteX296" fmla="*/ 4088975 w 6561737"/>
              <a:gd name="connsiteY296" fmla="*/ 2417287 h 4841875"/>
              <a:gd name="connsiteX297" fmla="*/ 4094654 w 6561737"/>
              <a:gd name="connsiteY297" fmla="*/ 2417922 h 4841875"/>
              <a:gd name="connsiteX298" fmla="*/ 4100668 w 6561737"/>
              <a:gd name="connsiteY298" fmla="*/ 2418557 h 4841875"/>
              <a:gd name="connsiteX299" fmla="*/ 4106347 w 6561737"/>
              <a:gd name="connsiteY299" fmla="*/ 2419509 h 4841875"/>
              <a:gd name="connsiteX300" fmla="*/ 4112360 w 6561737"/>
              <a:gd name="connsiteY300" fmla="*/ 2420461 h 4841875"/>
              <a:gd name="connsiteX301" fmla="*/ 4118039 w 6561737"/>
              <a:gd name="connsiteY301" fmla="*/ 2422366 h 4841875"/>
              <a:gd name="connsiteX302" fmla="*/ 4123718 w 6561737"/>
              <a:gd name="connsiteY302" fmla="*/ 2423954 h 4841875"/>
              <a:gd name="connsiteX303" fmla="*/ 4129397 w 6561737"/>
              <a:gd name="connsiteY303" fmla="*/ 2426176 h 4841875"/>
              <a:gd name="connsiteX304" fmla="*/ 4134742 w 6561737"/>
              <a:gd name="connsiteY304" fmla="*/ 2428398 h 4841875"/>
              <a:gd name="connsiteX305" fmla="*/ 4140421 w 6561737"/>
              <a:gd name="connsiteY305" fmla="*/ 2431256 h 4841875"/>
              <a:gd name="connsiteX306" fmla="*/ 4145767 w 6561737"/>
              <a:gd name="connsiteY306" fmla="*/ 2434430 h 4841875"/>
              <a:gd name="connsiteX307" fmla="*/ 4150778 w 6561737"/>
              <a:gd name="connsiteY307" fmla="*/ 2437288 h 4841875"/>
              <a:gd name="connsiteX308" fmla="*/ 4155789 w 6561737"/>
              <a:gd name="connsiteY308" fmla="*/ 2441098 h 4841875"/>
              <a:gd name="connsiteX309" fmla="*/ 4160800 w 6561737"/>
              <a:gd name="connsiteY309" fmla="*/ 2444907 h 4841875"/>
              <a:gd name="connsiteX310" fmla="*/ 4165476 w 6561737"/>
              <a:gd name="connsiteY310" fmla="*/ 2449035 h 4841875"/>
              <a:gd name="connsiteX311" fmla="*/ 4170153 w 6561737"/>
              <a:gd name="connsiteY311" fmla="*/ 2453162 h 4841875"/>
              <a:gd name="connsiteX312" fmla="*/ 4969908 w 6561737"/>
              <a:gd name="connsiteY312" fmla="*/ 3252257 h 4841875"/>
              <a:gd name="connsiteX313" fmla="*/ 6561736 w 6561737"/>
              <a:gd name="connsiteY313" fmla="*/ 4841875 h 4841875"/>
              <a:gd name="connsiteX314" fmla="*/ 6561736 w 6561737"/>
              <a:gd name="connsiteY314" fmla="*/ 4559209 h 4841875"/>
              <a:gd name="connsiteX315" fmla="*/ 6561737 w 6561737"/>
              <a:gd name="connsiteY315" fmla="*/ 4559210 h 4841875"/>
              <a:gd name="connsiteX316" fmla="*/ 6561737 w 6561737"/>
              <a:gd name="connsiteY316" fmla="*/ 4059791 h 4841875"/>
              <a:gd name="connsiteX317" fmla="*/ 6561736 w 6561737"/>
              <a:gd name="connsiteY317" fmla="*/ 0 h 4841875"/>
              <a:gd name="connsiteX0" fmla="*/ 6561736 w 6561737"/>
              <a:gd name="connsiteY0" fmla="*/ 0 h 4841875"/>
              <a:gd name="connsiteX1" fmla="*/ 0 w 6561737"/>
              <a:gd name="connsiteY1" fmla="*/ 0 h 4841875"/>
              <a:gd name="connsiteX2" fmla="*/ 2696252 w 6561737"/>
              <a:gd name="connsiteY2" fmla="*/ 2688414 h 4841875"/>
              <a:gd name="connsiteX3" fmla="*/ 2695583 w 6561737"/>
              <a:gd name="connsiteY3" fmla="*/ 2681112 h 4841875"/>
              <a:gd name="connsiteX4" fmla="*/ 2694915 w 6561737"/>
              <a:gd name="connsiteY4" fmla="*/ 2674127 h 4841875"/>
              <a:gd name="connsiteX5" fmla="*/ 2694915 w 6561737"/>
              <a:gd name="connsiteY5" fmla="*/ 2667143 h 4841875"/>
              <a:gd name="connsiteX6" fmla="*/ 2695249 w 6561737"/>
              <a:gd name="connsiteY6" fmla="*/ 2660158 h 4841875"/>
              <a:gd name="connsiteX7" fmla="*/ 2695918 w 6561737"/>
              <a:gd name="connsiteY7" fmla="*/ 2652856 h 4841875"/>
              <a:gd name="connsiteX8" fmla="*/ 2696920 w 6561737"/>
              <a:gd name="connsiteY8" fmla="*/ 2645872 h 4841875"/>
              <a:gd name="connsiteX9" fmla="*/ 2698590 w 6561737"/>
              <a:gd name="connsiteY9" fmla="*/ 2638887 h 4841875"/>
              <a:gd name="connsiteX10" fmla="*/ 2700260 w 6561737"/>
              <a:gd name="connsiteY10" fmla="*/ 2631903 h 4841875"/>
              <a:gd name="connsiteX11" fmla="*/ 2702599 w 6561737"/>
              <a:gd name="connsiteY11" fmla="*/ 2625235 h 4841875"/>
              <a:gd name="connsiteX12" fmla="*/ 2705605 w 6561737"/>
              <a:gd name="connsiteY12" fmla="*/ 2618568 h 4841875"/>
              <a:gd name="connsiteX13" fmla="*/ 2708946 w 6561737"/>
              <a:gd name="connsiteY13" fmla="*/ 2612219 h 4841875"/>
              <a:gd name="connsiteX14" fmla="*/ 2712287 w 6561737"/>
              <a:gd name="connsiteY14" fmla="*/ 2605552 h 4841875"/>
              <a:gd name="connsiteX15" fmla="*/ 2716296 w 6561737"/>
              <a:gd name="connsiteY15" fmla="*/ 2599520 h 4841875"/>
              <a:gd name="connsiteX16" fmla="*/ 2720973 w 6561737"/>
              <a:gd name="connsiteY16" fmla="*/ 2593488 h 4841875"/>
              <a:gd name="connsiteX17" fmla="*/ 2725649 w 6561737"/>
              <a:gd name="connsiteY17" fmla="*/ 2587773 h 4841875"/>
              <a:gd name="connsiteX18" fmla="*/ 2730660 w 6561737"/>
              <a:gd name="connsiteY18" fmla="*/ 2582058 h 4841875"/>
              <a:gd name="connsiteX19" fmla="*/ 2735337 w 6561737"/>
              <a:gd name="connsiteY19" fmla="*/ 2577931 h 4841875"/>
              <a:gd name="connsiteX20" fmla="*/ 2740014 w 6561737"/>
              <a:gd name="connsiteY20" fmla="*/ 2573804 h 4841875"/>
              <a:gd name="connsiteX21" fmla="*/ 2745025 w 6561737"/>
              <a:gd name="connsiteY21" fmla="*/ 2569994 h 4841875"/>
              <a:gd name="connsiteX22" fmla="*/ 2750036 w 6561737"/>
              <a:gd name="connsiteY22" fmla="*/ 2566184 h 4841875"/>
              <a:gd name="connsiteX23" fmla="*/ 2755381 w 6561737"/>
              <a:gd name="connsiteY23" fmla="*/ 2563327 h 4841875"/>
              <a:gd name="connsiteX24" fmla="*/ 2760726 w 6561737"/>
              <a:gd name="connsiteY24" fmla="*/ 2560152 h 4841875"/>
              <a:gd name="connsiteX25" fmla="*/ 2766072 w 6561737"/>
              <a:gd name="connsiteY25" fmla="*/ 2557295 h 4841875"/>
              <a:gd name="connsiteX26" fmla="*/ 2771417 w 6561737"/>
              <a:gd name="connsiteY26" fmla="*/ 2555073 h 4841875"/>
              <a:gd name="connsiteX27" fmla="*/ 2777096 w 6561737"/>
              <a:gd name="connsiteY27" fmla="*/ 2552850 h 4841875"/>
              <a:gd name="connsiteX28" fmla="*/ 2782775 w 6561737"/>
              <a:gd name="connsiteY28" fmla="*/ 2551263 h 4841875"/>
              <a:gd name="connsiteX29" fmla="*/ 2788788 w 6561737"/>
              <a:gd name="connsiteY29" fmla="*/ 2549675 h 4841875"/>
              <a:gd name="connsiteX30" fmla="*/ 2794467 w 6561737"/>
              <a:gd name="connsiteY30" fmla="*/ 2548406 h 4841875"/>
              <a:gd name="connsiteX31" fmla="*/ 2800146 w 6561737"/>
              <a:gd name="connsiteY31" fmla="*/ 2547453 h 4841875"/>
              <a:gd name="connsiteX32" fmla="*/ 2806159 w 6561737"/>
              <a:gd name="connsiteY32" fmla="*/ 2546818 h 4841875"/>
              <a:gd name="connsiteX33" fmla="*/ 2811839 w 6561737"/>
              <a:gd name="connsiteY33" fmla="*/ 2546183 h 4841875"/>
              <a:gd name="connsiteX34" fmla="*/ 2817852 w 6561737"/>
              <a:gd name="connsiteY34" fmla="*/ 2546183 h 4841875"/>
              <a:gd name="connsiteX35" fmla="*/ 2823865 w 6561737"/>
              <a:gd name="connsiteY35" fmla="*/ 2546183 h 4841875"/>
              <a:gd name="connsiteX36" fmla="*/ 2829878 w 6561737"/>
              <a:gd name="connsiteY36" fmla="*/ 2546818 h 4841875"/>
              <a:gd name="connsiteX37" fmla="*/ 2835557 w 6561737"/>
              <a:gd name="connsiteY37" fmla="*/ 2547453 h 4841875"/>
              <a:gd name="connsiteX38" fmla="*/ 2841236 w 6561737"/>
              <a:gd name="connsiteY38" fmla="*/ 2548406 h 4841875"/>
              <a:gd name="connsiteX39" fmla="*/ 2847250 w 6561737"/>
              <a:gd name="connsiteY39" fmla="*/ 2549675 h 4841875"/>
              <a:gd name="connsiteX40" fmla="*/ 2852929 w 6561737"/>
              <a:gd name="connsiteY40" fmla="*/ 2551263 h 4841875"/>
              <a:gd name="connsiteX41" fmla="*/ 2858608 w 6561737"/>
              <a:gd name="connsiteY41" fmla="*/ 2552850 h 4841875"/>
              <a:gd name="connsiteX42" fmla="*/ 2864287 w 6561737"/>
              <a:gd name="connsiteY42" fmla="*/ 2555073 h 4841875"/>
              <a:gd name="connsiteX43" fmla="*/ 2869966 w 6561737"/>
              <a:gd name="connsiteY43" fmla="*/ 2557295 h 4841875"/>
              <a:gd name="connsiteX44" fmla="*/ 2875311 w 6561737"/>
              <a:gd name="connsiteY44" fmla="*/ 2560152 h 4841875"/>
              <a:gd name="connsiteX45" fmla="*/ 2880322 w 6561737"/>
              <a:gd name="connsiteY45" fmla="*/ 2563327 h 4841875"/>
              <a:gd name="connsiteX46" fmla="*/ 2885667 w 6561737"/>
              <a:gd name="connsiteY46" fmla="*/ 2566184 h 4841875"/>
              <a:gd name="connsiteX47" fmla="*/ 2890678 w 6561737"/>
              <a:gd name="connsiteY47" fmla="*/ 2569994 h 4841875"/>
              <a:gd name="connsiteX48" fmla="*/ 2895689 w 6561737"/>
              <a:gd name="connsiteY48" fmla="*/ 2573804 h 4841875"/>
              <a:gd name="connsiteX49" fmla="*/ 2900366 w 6561737"/>
              <a:gd name="connsiteY49" fmla="*/ 2577931 h 4841875"/>
              <a:gd name="connsiteX50" fmla="*/ 2905043 w 6561737"/>
              <a:gd name="connsiteY50" fmla="*/ 2582058 h 4841875"/>
              <a:gd name="connsiteX51" fmla="*/ 4398989 w 6561737"/>
              <a:gd name="connsiteY51" fmla="*/ 4073893 h 4841875"/>
              <a:gd name="connsiteX52" fmla="*/ 4403332 w 6561737"/>
              <a:gd name="connsiteY52" fmla="*/ 4078338 h 4841875"/>
              <a:gd name="connsiteX53" fmla="*/ 4408009 w 6561737"/>
              <a:gd name="connsiteY53" fmla="*/ 4082465 h 4841875"/>
              <a:gd name="connsiteX54" fmla="*/ 4413020 w 6561737"/>
              <a:gd name="connsiteY54" fmla="*/ 4086275 h 4841875"/>
              <a:gd name="connsiteX55" fmla="*/ 4418031 w 6561737"/>
              <a:gd name="connsiteY55" fmla="*/ 4089767 h 4841875"/>
              <a:gd name="connsiteX56" fmla="*/ 4423042 w 6561737"/>
              <a:gd name="connsiteY56" fmla="*/ 4093259 h 4841875"/>
              <a:gd name="connsiteX57" fmla="*/ 4428721 w 6561737"/>
              <a:gd name="connsiteY57" fmla="*/ 4095799 h 4841875"/>
              <a:gd name="connsiteX58" fmla="*/ 4433732 w 6561737"/>
              <a:gd name="connsiteY58" fmla="*/ 4098656 h 4841875"/>
              <a:gd name="connsiteX59" fmla="*/ 4439745 w 6561737"/>
              <a:gd name="connsiteY59" fmla="*/ 4101196 h 4841875"/>
              <a:gd name="connsiteX60" fmla="*/ 4445090 w 6561737"/>
              <a:gd name="connsiteY60" fmla="*/ 4103101 h 4841875"/>
              <a:gd name="connsiteX61" fmla="*/ 4450769 w 6561737"/>
              <a:gd name="connsiteY61" fmla="*/ 4105006 h 4841875"/>
              <a:gd name="connsiteX62" fmla="*/ 4456449 w 6561737"/>
              <a:gd name="connsiteY62" fmla="*/ 4106593 h 4841875"/>
              <a:gd name="connsiteX63" fmla="*/ 4462127 w 6561737"/>
              <a:gd name="connsiteY63" fmla="*/ 4107863 h 4841875"/>
              <a:gd name="connsiteX64" fmla="*/ 4468140 w 6561737"/>
              <a:gd name="connsiteY64" fmla="*/ 4108816 h 4841875"/>
              <a:gd name="connsiteX65" fmla="*/ 4474154 w 6561737"/>
              <a:gd name="connsiteY65" fmla="*/ 4109451 h 4841875"/>
              <a:gd name="connsiteX66" fmla="*/ 4480167 w 6561737"/>
              <a:gd name="connsiteY66" fmla="*/ 4110086 h 4841875"/>
              <a:gd name="connsiteX67" fmla="*/ 4485846 w 6561737"/>
              <a:gd name="connsiteY67" fmla="*/ 4110086 h 4841875"/>
              <a:gd name="connsiteX68" fmla="*/ 4491526 w 6561737"/>
              <a:gd name="connsiteY68" fmla="*/ 4110086 h 4841875"/>
              <a:gd name="connsiteX69" fmla="*/ 4497538 w 6561737"/>
              <a:gd name="connsiteY69" fmla="*/ 4109451 h 4841875"/>
              <a:gd name="connsiteX70" fmla="*/ 4503551 w 6561737"/>
              <a:gd name="connsiteY70" fmla="*/ 4108816 h 4841875"/>
              <a:gd name="connsiteX71" fmla="*/ 4509565 w 6561737"/>
              <a:gd name="connsiteY71" fmla="*/ 4107863 h 4841875"/>
              <a:gd name="connsiteX72" fmla="*/ 4515244 w 6561737"/>
              <a:gd name="connsiteY72" fmla="*/ 4106593 h 4841875"/>
              <a:gd name="connsiteX73" fmla="*/ 4520589 w 6561737"/>
              <a:gd name="connsiteY73" fmla="*/ 4105006 h 4841875"/>
              <a:gd name="connsiteX74" fmla="*/ 4526602 w 6561737"/>
              <a:gd name="connsiteY74" fmla="*/ 4103101 h 4841875"/>
              <a:gd name="connsiteX75" fmla="*/ 4531948 w 6561737"/>
              <a:gd name="connsiteY75" fmla="*/ 4101196 h 4841875"/>
              <a:gd name="connsiteX76" fmla="*/ 4537960 w 6561737"/>
              <a:gd name="connsiteY76" fmla="*/ 4098656 h 4841875"/>
              <a:gd name="connsiteX77" fmla="*/ 4542971 w 6561737"/>
              <a:gd name="connsiteY77" fmla="*/ 4095799 h 4841875"/>
              <a:gd name="connsiteX78" fmla="*/ 4548650 w 6561737"/>
              <a:gd name="connsiteY78" fmla="*/ 4093259 h 4841875"/>
              <a:gd name="connsiteX79" fmla="*/ 4553661 w 6561737"/>
              <a:gd name="connsiteY79" fmla="*/ 4089767 h 4841875"/>
              <a:gd name="connsiteX80" fmla="*/ 4558672 w 6561737"/>
              <a:gd name="connsiteY80" fmla="*/ 4086275 h 4841875"/>
              <a:gd name="connsiteX81" fmla="*/ 4563683 w 6561737"/>
              <a:gd name="connsiteY81" fmla="*/ 4082465 h 4841875"/>
              <a:gd name="connsiteX82" fmla="*/ 4568360 w 6561737"/>
              <a:gd name="connsiteY82" fmla="*/ 4078338 h 4841875"/>
              <a:gd name="connsiteX83" fmla="*/ 4572704 w 6561737"/>
              <a:gd name="connsiteY83" fmla="*/ 4073893 h 4841875"/>
              <a:gd name="connsiteX84" fmla="*/ 4577381 w 6561737"/>
              <a:gd name="connsiteY84" fmla="*/ 4069448 h 4841875"/>
              <a:gd name="connsiteX85" fmla="*/ 4581389 w 6561737"/>
              <a:gd name="connsiteY85" fmla="*/ 4064686 h 4841875"/>
              <a:gd name="connsiteX86" fmla="*/ 4585064 w 6561737"/>
              <a:gd name="connsiteY86" fmla="*/ 4059606 h 4841875"/>
              <a:gd name="connsiteX87" fmla="*/ 4588738 w 6561737"/>
              <a:gd name="connsiteY87" fmla="*/ 4054844 h 4841875"/>
              <a:gd name="connsiteX88" fmla="*/ 4592079 w 6561737"/>
              <a:gd name="connsiteY88" fmla="*/ 4049447 h 4841875"/>
              <a:gd name="connsiteX89" fmla="*/ 4595086 w 6561737"/>
              <a:gd name="connsiteY89" fmla="*/ 4044367 h 4841875"/>
              <a:gd name="connsiteX90" fmla="*/ 4597424 w 6561737"/>
              <a:gd name="connsiteY90" fmla="*/ 4038653 h 4841875"/>
              <a:gd name="connsiteX91" fmla="*/ 4599763 w 6561737"/>
              <a:gd name="connsiteY91" fmla="*/ 4033256 h 4841875"/>
              <a:gd name="connsiteX92" fmla="*/ 4602101 w 6561737"/>
              <a:gd name="connsiteY92" fmla="*/ 4027859 h 4841875"/>
              <a:gd name="connsiteX93" fmla="*/ 4604106 w 6561737"/>
              <a:gd name="connsiteY93" fmla="*/ 4022144 h 4841875"/>
              <a:gd name="connsiteX94" fmla="*/ 4605776 w 6561737"/>
              <a:gd name="connsiteY94" fmla="*/ 4016112 h 4841875"/>
              <a:gd name="connsiteX95" fmla="*/ 4606778 w 6561737"/>
              <a:gd name="connsiteY95" fmla="*/ 4010397 h 4841875"/>
              <a:gd name="connsiteX96" fmla="*/ 4607781 w 6561737"/>
              <a:gd name="connsiteY96" fmla="*/ 4004683 h 4841875"/>
              <a:gd name="connsiteX97" fmla="*/ 4608448 w 6561737"/>
              <a:gd name="connsiteY97" fmla="*/ 3998650 h 4841875"/>
              <a:gd name="connsiteX98" fmla="*/ 4608782 w 6561737"/>
              <a:gd name="connsiteY98" fmla="*/ 3992936 h 4841875"/>
              <a:gd name="connsiteX99" fmla="*/ 4609117 w 6561737"/>
              <a:gd name="connsiteY99" fmla="*/ 3987221 h 4841875"/>
              <a:gd name="connsiteX100" fmla="*/ 4608782 w 6561737"/>
              <a:gd name="connsiteY100" fmla="*/ 3980872 h 4841875"/>
              <a:gd name="connsiteX101" fmla="*/ 4608448 w 6561737"/>
              <a:gd name="connsiteY101" fmla="*/ 3975157 h 4841875"/>
              <a:gd name="connsiteX102" fmla="*/ 4607781 w 6561737"/>
              <a:gd name="connsiteY102" fmla="*/ 3969442 h 4841875"/>
              <a:gd name="connsiteX103" fmla="*/ 4606778 w 6561737"/>
              <a:gd name="connsiteY103" fmla="*/ 3963410 h 4841875"/>
              <a:gd name="connsiteX104" fmla="*/ 4605776 w 6561737"/>
              <a:gd name="connsiteY104" fmla="*/ 3957696 h 4841875"/>
              <a:gd name="connsiteX105" fmla="*/ 4604106 w 6561737"/>
              <a:gd name="connsiteY105" fmla="*/ 3951981 h 4841875"/>
              <a:gd name="connsiteX106" fmla="*/ 4602101 w 6561737"/>
              <a:gd name="connsiteY106" fmla="*/ 3946584 h 4841875"/>
              <a:gd name="connsiteX107" fmla="*/ 4599763 w 6561737"/>
              <a:gd name="connsiteY107" fmla="*/ 3940552 h 4841875"/>
              <a:gd name="connsiteX108" fmla="*/ 4597424 w 6561737"/>
              <a:gd name="connsiteY108" fmla="*/ 3935155 h 4841875"/>
              <a:gd name="connsiteX109" fmla="*/ 4595086 w 6561737"/>
              <a:gd name="connsiteY109" fmla="*/ 3929757 h 4841875"/>
              <a:gd name="connsiteX110" fmla="*/ 4592079 w 6561737"/>
              <a:gd name="connsiteY110" fmla="*/ 3924678 h 4841875"/>
              <a:gd name="connsiteX111" fmla="*/ 4588738 w 6561737"/>
              <a:gd name="connsiteY111" fmla="*/ 3919281 h 4841875"/>
              <a:gd name="connsiteX112" fmla="*/ 4585064 w 6561737"/>
              <a:gd name="connsiteY112" fmla="*/ 3914201 h 4841875"/>
              <a:gd name="connsiteX113" fmla="*/ 4581389 w 6561737"/>
              <a:gd name="connsiteY113" fmla="*/ 3909121 h 4841875"/>
              <a:gd name="connsiteX114" fmla="*/ 4577381 w 6561737"/>
              <a:gd name="connsiteY114" fmla="*/ 3904677 h 4841875"/>
              <a:gd name="connsiteX115" fmla="*/ 4572704 w 6561737"/>
              <a:gd name="connsiteY115" fmla="*/ 3899914 h 4841875"/>
              <a:gd name="connsiteX116" fmla="*/ 3276525 w 6561737"/>
              <a:gd name="connsiteY116" fmla="*/ 2605234 h 4841875"/>
              <a:gd name="connsiteX117" fmla="*/ 3272182 w 6561737"/>
              <a:gd name="connsiteY117" fmla="*/ 2600472 h 4841875"/>
              <a:gd name="connsiteX118" fmla="*/ 3268174 w 6561737"/>
              <a:gd name="connsiteY118" fmla="*/ 2596027 h 4841875"/>
              <a:gd name="connsiteX119" fmla="*/ 3264165 w 6561737"/>
              <a:gd name="connsiteY119" fmla="*/ 2590948 h 4841875"/>
              <a:gd name="connsiteX120" fmla="*/ 3260824 w 6561737"/>
              <a:gd name="connsiteY120" fmla="*/ 2585868 h 4841875"/>
              <a:gd name="connsiteX121" fmla="*/ 3257818 w 6561737"/>
              <a:gd name="connsiteY121" fmla="*/ 2580788 h 4841875"/>
              <a:gd name="connsiteX122" fmla="*/ 3254811 w 6561737"/>
              <a:gd name="connsiteY122" fmla="*/ 2575709 h 4841875"/>
              <a:gd name="connsiteX123" fmla="*/ 3252138 w 6561737"/>
              <a:gd name="connsiteY123" fmla="*/ 2569994 h 4841875"/>
              <a:gd name="connsiteX124" fmla="*/ 3249466 w 6561737"/>
              <a:gd name="connsiteY124" fmla="*/ 2564597 h 4841875"/>
              <a:gd name="connsiteX125" fmla="*/ 3247461 w 6561737"/>
              <a:gd name="connsiteY125" fmla="*/ 2558882 h 4841875"/>
              <a:gd name="connsiteX126" fmla="*/ 3245791 w 6561737"/>
              <a:gd name="connsiteY126" fmla="*/ 2553168 h 4841875"/>
              <a:gd name="connsiteX127" fmla="*/ 3244121 w 6561737"/>
              <a:gd name="connsiteY127" fmla="*/ 2547453 h 4841875"/>
              <a:gd name="connsiteX128" fmla="*/ 3242785 w 6561737"/>
              <a:gd name="connsiteY128" fmla="*/ 2541738 h 4841875"/>
              <a:gd name="connsiteX129" fmla="*/ 3241782 w 6561737"/>
              <a:gd name="connsiteY129" fmla="*/ 2536024 h 4841875"/>
              <a:gd name="connsiteX130" fmla="*/ 3241114 w 6561737"/>
              <a:gd name="connsiteY130" fmla="*/ 2529992 h 4841875"/>
              <a:gd name="connsiteX131" fmla="*/ 3240780 w 6561737"/>
              <a:gd name="connsiteY131" fmla="*/ 2524277 h 4841875"/>
              <a:gd name="connsiteX132" fmla="*/ 3240780 w 6561737"/>
              <a:gd name="connsiteY132" fmla="*/ 2518245 h 4841875"/>
              <a:gd name="connsiteX133" fmla="*/ 3240780 w 6561737"/>
              <a:gd name="connsiteY133" fmla="*/ 2512213 h 4841875"/>
              <a:gd name="connsiteX134" fmla="*/ 3241114 w 6561737"/>
              <a:gd name="connsiteY134" fmla="*/ 2506498 h 4841875"/>
              <a:gd name="connsiteX135" fmla="*/ 3241782 w 6561737"/>
              <a:gd name="connsiteY135" fmla="*/ 2500784 h 4841875"/>
              <a:gd name="connsiteX136" fmla="*/ 3242785 w 6561737"/>
              <a:gd name="connsiteY136" fmla="*/ 2494752 h 4841875"/>
              <a:gd name="connsiteX137" fmla="*/ 3244121 w 6561737"/>
              <a:gd name="connsiteY137" fmla="*/ 2489037 h 4841875"/>
              <a:gd name="connsiteX138" fmla="*/ 3245791 w 6561737"/>
              <a:gd name="connsiteY138" fmla="*/ 2483322 h 4841875"/>
              <a:gd name="connsiteX139" fmla="*/ 3247461 w 6561737"/>
              <a:gd name="connsiteY139" fmla="*/ 2477290 h 4841875"/>
              <a:gd name="connsiteX140" fmla="*/ 3249466 w 6561737"/>
              <a:gd name="connsiteY140" fmla="*/ 2471893 h 4841875"/>
              <a:gd name="connsiteX141" fmla="*/ 3252138 w 6561737"/>
              <a:gd name="connsiteY141" fmla="*/ 2466496 h 4841875"/>
              <a:gd name="connsiteX142" fmla="*/ 3254811 w 6561737"/>
              <a:gd name="connsiteY142" fmla="*/ 2461099 h 4841875"/>
              <a:gd name="connsiteX143" fmla="*/ 3257818 w 6561737"/>
              <a:gd name="connsiteY143" fmla="*/ 2455702 h 4841875"/>
              <a:gd name="connsiteX144" fmla="*/ 3260824 w 6561737"/>
              <a:gd name="connsiteY144" fmla="*/ 2450304 h 4841875"/>
              <a:gd name="connsiteX145" fmla="*/ 3264165 w 6561737"/>
              <a:gd name="connsiteY145" fmla="*/ 2445542 h 4841875"/>
              <a:gd name="connsiteX146" fmla="*/ 3268174 w 6561737"/>
              <a:gd name="connsiteY146" fmla="*/ 2440463 h 4841875"/>
              <a:gd name="connsiteX147" fmla="*/ 3272182 w 6561737"/>
              <a:gd name="connsiteY147" fmla="*/ 2435700 h 4841875"/>
              <a:gd name="connsiteX148" fmla="*/ 3276525 w 6561737"/>
              <a:gd name="connsiteY148" fmla="*/ 2431256 h 4841875"/>
              <a:gd name="connsiteX149" fmla="*/ 3281536 w 6561737"/>
              <a:gd name="connsiteY149" fmla="*/ 2426811 h 4841875"/>
              <a:gd name="connsiteX150" fmla="*/ 3285879 w 6561737"/>
              <a:gd name="connsiteY150" fmla="*/ 2422684 h 4841875"/>
              <a:gd name="connsiteX151" fmla="*/ 3290890 w 6561737"/>
              <a:gd name="connsiteY151" fmla="*/ 2418874 h 4841875"/>
              <a:gd name="connsiteX152" fmla="*/ 3296235 w 6561737"/>
              <a:gd name="connsiteY152" fmla="*/ 2415382 h 4841875"/>
              <a:gd name="connsiteX153" fmla="*/ 3301246 w 6561737"/>
              <a:gd name="connsiteY153" fmla="*/ 2412207 h 4841875"/>
              <a:gd name="connsiteX154" fmla="*/ 3306591 w 6561737"/>
              <a:gd name="connsiteY154" fmla="*/ 2409350 h 4841875"/>
              <a:gd name="connsiteX155" fmla="*/ 3311936 w 6561737"/>
              <a:gd name="connsiteY155" fmla="*/ 2406492 h 4841875"/>
              <a:gd name="connsiteX156" fmla="*/ 3317281 w 6561737"/>
              <a:gd name="connsiteY156" fmla="*/ 2404270 h 4841875"/>
              <a:gd name="connsiteX157" fmla="*/ 3323295 w 6561737"/>
              <a:gd name="connsiteY157" fmla="*/ 2402048 h 4841875"/>
              <a:gd name="connsiteX158" fmla="*/ 3328640 w 6561737"/>
              <a:gd name="connsiteY158" fmla="*/ 2400143 h 4841875"/>
              <a:gd name="connsiteX159" fmla="*/ 3334653 w 6561737"/>
              <a:gd name="connsiteY159" fmla="*/ 2398873 h 4841875"/>
              <a:gd name="connsiteX160" fmla="*/ 3340332 w 6561737"/>
              <a:gd name="connsiteY160" fmla="*/ 2397285 h 4841875"/>
              <a:gd name="connsiteX161" fmla="*/ 3346011 w 6561737"/>
              <a:gd name="connsiteY161" fmla="*/ 2396333 h 4841875"/>
              <a:gd name="connsiteX162" fmla="*/ 3352024 w 6561737"/>
              <a:gd name="connsiteY162" fmla="*/ 2395698 h 4841875"/>
              <a:gd name="connsiteX163" fmla="*/ 3357703 w 6561737"/>
              <a:gd name="connsiteY163" fmla="*/ 2395381 h 4841875"/>
              <a:gd name="connsiteX164" fmla="*/ 3364051 w 6561737"/>
              <a:gd name="connsiteY164" fmla="*/ 2395381 h 4841875"/>
              <a:gd name="connsiteX165" fmla="*/ 3369730 w 6561737"/>
              <a:gd name="connsiteY165" fmla="*/ 2395381 h 4841875"/>
              <a:gd name="connsiteX166" fmla="*/ 3375743 w 6561737"/>
              <a:gd name="connsiteY166" fmla="*/ 2395698 h 4841875"/>
              <a:gd name="connsiteX167" fmla="*/ 3381422 w 6561737"/>
              <a:gd name="connsiteY167" fmla="*/ 2396333 h 4841875"/>
              <a:gd name="connsiteX168" fmla="*/ 3387101 w 6561737"/>
              <a:gd name="connsiteY168" fmla="*/ 2397285 h 4841875"/>
              <a:gd name="connsiteX169" fmla="*/ 3393114 w 6561737"/>
              <a:gd name="connsiteY169" fmla="*/ 2398873 h 4841875"/>
              <a:gd name="connsiteX170" fmla="*/ 3398794 w 6561737"/>
              <a:gd name="connsiteY170" fmla="*/ 2400143 h 4841875"/>
              <a:gd name="connsiteX171" fmla="*/ 3404807 w 6561737"/>
              <a:gd name="connsiteY171" fmla="*/ 2402048 h 4841875"/>
              <a:gd name="connsiteX172" fmla="*/ 3410152 w 6561737"/>
              <a:gd name="connsiteY172" fmla="*/ 2404270 h 4841875"/>
              <a:gd name="connsiteX173" fmla="*/ 3415831 w 6561737"/>
              <a:gd name="connsiteY173" fmla="*/ 2406492 h 4841875"/>
              <a:gd name="connsiteX174" fmla="*/ 3421176 w 6561737"/>
              <a:gd name="connsiteY174" fmla="*/ 2409350 h 4841875"/>
              <a:gd name="connsiteX175" fmla="*/ 3426187 w 6561737"/>
              <a:gd name="connsiteY175" fmla="*/ 2412207 h 4841875"/>
              <a:gd name="connsiteX176" fmla="*/ 3431866 w 6561737"/>
              <a:gd name="connsiteY176" fmla="*/ 2415382 h 4841875"/>
              <a:gd name="connsiteX177" fmla="*/ 3436543 w 6561737"/>
              <a:gd name="connsiteY177" fmla="*/ 2418874 h 4841875"/>
              <a:gd name="connsiteX178" fmla="*/ 3441554 w 6561737"/>
              <a:gd name="connsiteY178" fmla="*/ 2422684 h 4841875"/>
              <a:gd name="connsiteX179" fmla="*/ 3446565 w 6561737"/>
              <a:gd name="connsiteY179" fmla="*/ 2426811 h 4841875"/>
              <a:gd name="connsiteX180" fmla="*/ 3450908 w 6561737"/>
              <a:gd name="connsiteY180" fmla="*/ 2431256 h 4841875"/>
              <a:gd name="connsiteX181" fmla="*/ 4169819 w 6561737"/>
              <a:gd name="connsiteY181" fmla="*/ 3149076 h 4841875"/>
              <a:gd name="connsiteX182" fmla="*/ 4174496 w 6561737"/>
              <a:gd name="connsiteY182" fmla="*/ 3153521 h 4841875"/>
              <a:gd name="connsiteX183" fmla="*/ 4179173 w 6561737"/>
              <a:gd name="connsiteY183" fmla="*/ 3157648 h 4841875"/>
              <a:gd name="connsiteX184" fmla="*/ 4184184 w 6561737"/>
              <a:gd name="connsiteY184" fmla="*/ 3161458 h 4841875"/>
              <a:gd name="connsiteX185" fmla="*/ 4189195 w 6561737"/>
              <a:gd name="connsiteY185" fmla="*/ 3164950 h 4841875"/>
              <a:gd name="connsiteX186" fmla="*/ 4194540 w 6561737"/>
              <a:gd name="connsiteY186" fmla="*/ 3168442 h 4841875"/>
              <a:gd name="connsiteX187" fmla="*/ 4199551 w 6561737"/>
              <a:gd name="connsiteY187" fmla="*/ 3170982 h 4841875"/>
              <a:gd name="connsiteX188" fmla="*/ 4204896 w 6561737"/>
              <a:gd name="connsiteY188" fmla="*/ 3173840 h 4841875"/>
              <a:gd name="connsiteX189" fmla="*/ 4210576 w 6561737"/>
              <a:gd name="connsiteY189" fmla="*/ 3176062 h 4841875"/>
              <a:gd name="connsiteX190" fmla="*/ 4216255 w 6561737"/>
              <a:gd name="connsiteY190" fmla="*/ 3178284 h 4841875"/>
              <a:gd name="connsiteX191" fmla="*/ 4221934 w 6561737"/>
              <a:gd name="connsiteY191" fmla="*/ 3180189 h 4841875"/>
              <a:gd name="connsiteX192" fmla="*/ 4227613 w 6561737"/>
              <a:gd name="connsiteY192" fmla="*/ 3181776 h 4841875"/>
              <a:gd name="connsiteX193" fmla="*/ 4233292 w 6561737"/>
              <a:gd name="connsiteY193" fmla="*/ 3183046 h 4841875"/>
              <a:gd name="connsiteX194" fmla="*/ 4239305 w 6561737"/>
              <a:gd name="connsiteY194" fmla="*/ 3183999 h 4841875"/>
              <a:gd name="connsiteX195" fmla="*/ 4244984 w 6561737"/>
              <a:gd name="connsiteY195" fmla="*/ 3184634 h 4841875"/>
              <a:gd name="connsiteX196" fmla="*/ 4250998 w 6561737"/>
              <a:gd name="connsiteY196" fmla="*/ 3184951 h 4841875"/>
              <a:gd name="connsiteX197" fmla="*/ 4257011 w 6561737"/>
              <a:gd name="connsiteY197" fmla="*/ 3185269 h 4841875"/>
              <a:gd name="connsiteX198" fmla="*/ 4263024 w 6561737"/>
              <a:gd name="connsiteY198" fmla="*/ 3184951 h 4841875"/>
              <a:gd name="connsiteX199" fmla="*/ 4268703 w 6561737"/>
              <a:gd name="connsiteY199" fmla="*/ 3184634 h 4841875"/>
              <a:gd name="connsiteX200" fmla="*/ 4274382 w 6561737"/>
              <a:gd name="connsiteY200" fmla="*/ 3183999 h 4841875"/>
              <a:gd name="connsiteX201" fmla="*/ 4280395 w 6561737"/>
              <a:gd name="connsiteY201" fmla="*/ 3183046 h 4841875"/>
              <a:gd name="connsiteX202" fmla="*/ 4286075 w 6561737"/>
              <a:gd name="connsiteY202" fmla="*/ 3181776 h 4841875"/>
              <a:gd name="connsiteX203" fmla="*/ 4292088 w 6561737"/>
              <a:gd name="connsiteY203" fmla="*/ 3180189 h 4841875"/>
              <a:gd name="connsiteX204" fmla="*/ 4297767 w 6561737"/>
              <a:gd name="connsiteY204" fmla="*/ 3178284 h 4841875"/>
              <a:gd name="connsiteX205" fmla="*/ 4303446 w 6561737"/>
              <a:gd name="connsiteY205" fmla="*/ 3176062 h 4841875"/>
              <a:gd name="connsiteX206" fmla="*/ 4308791 w 6561737"/>
              <a:gd name="connsiteY206" fmla="*/ 3173840 h 4841875"/>
              <a:gd name="connsiteX207" fmla="*/ 4314136 w 6561737"/>
              <a:gd name="connsiteY207" fmla="*/ 3170982 h 4841875"/>
              <a:gd name="connsiteX208" fmla="*/ 4319815 w 6561737"/>
              <a:gd name="connsiteY208" fmla="*/ 3168442 h 4841875"/>
              <a:gd name="connsiteX209" fmla="*/ 4324826 w 6561737"/>
              <a:gd name="connsiteY209" fmla="*/ 3164950 h 4841875"/>
              <a:gd name="connsiteX210" fmla="*/ 4329503 w 6561737"/>
              <a:gd name="connsiteY210" fmla="*/ 3161458 h 4841875"/>
              <a:gd name="connsiteX211" fmla="*/ 4334848 w 6561737"/>
              <a:gd name="connsiteY211" fmla="*/ 3157648 h 4841875"/>
              <a:gd name="connsiteX212" fmla="*/ 4339525 w 6561737"/>
              <a:gd name="connsiteY212" fmla="*/ 3153521 h 4841875"/>
              <a:gd name="connsiteX213" fmla="*/ 4344202 w 6561737"/>
              <a:gd name="connsiteY213" fmla="*/ 3149076 h 4841875"/>
              <a:gd name="connsiteX214" fmla="*/ 4348545 w 6561737"/>
              <a:gd name="connsiteY214" fmla="*/ 3144631 h 4841875"/>
              <a:gd name="connsiteX215" fmla="*/ 4352554 w 6561737"/>
              <a:gd name="connsiteY215" fmla="*/ 3139869 h 4841875"/>
              <a:gd name="connsiteX216" fmla="*/ 4356228 w 6561737"/>
              <a:gd name="connsiteY216" fmla="*/ 3134790 h 4841875"/>
              <a:gd name="connsiteX217" fmla="*/ 4359903 w 6561737"/>
              <a:gd name="connsiteY217" fmla="*/ 3130027 h 4841875"/>
              <a:gd name="connsiteX218" fmla="*/ 4363244 w 6561737"/>
              <a:gd name="connsiteY218" fmla="*/ 3124948 h 4841875"/>
              <a:gd name="connsiteX219" fmla="*/ 4365916 w 6561737"/>
              <a:gd name="connsiteY219" fmla="*/ 3119551 h 4841875"/>
              <a:gd name="connsiteX220" fmla="*/ 4368589 w 6561737"/>
              <a:gd name="connsiteY220" fmla="*/ 3113836 h 4841875"/>
              <a:gd name="connsiteX221" fmla="*/ 4371261 w 6561737"/>
              <a:gd name="connsiteY221" fmla="*/ 3108439 h 4841875"/>
              <a:gd name="connsiteX222" fmla="*/ 4373266 w 6561737"/>
              <a:gd name="connsiteY222" fmla="*/ 3103042 h 4841875"/>
              <a:gd name="connsiteX223" fmla="*/ 4375270 w 6561737"/>
              <a:gd name="connsiteY223" fmla="*/ 3097010 h 4841875"/>
              <a:gd name="connsiteX224" fmla="*/ 4376606 w 6561737"/>
              <a:gd name="connsiteY224" fmla="*/ 3091295 h 4841875"/>
              <a:gd name="connsiteX225" fmla="*/ 4377943 w 6561737"/>
              <a:gd name="connsiteY225" fmla="*/ 3085580 h 4841875"/>
              <a:gd name="connsiteX226" fmla="*/ 4378945 w 6561737"/>
              <a:gd name="connsiteY226" fmla="*/ 3079866 h 4841875"/>
              <a:gd name="connsiteX227" fmla="*/ 4379613 w 6561737"/>
              <a:gd name="connsiteY227" fmla="*/ 3073834 h 4841875"/>
              <a:gd name="connsiteX228" fmla="*/ 4379947 w 6561737"/>
              <a:gd name="connsiteY228" fmla="*/ 3068119 h 4841875"/>
              <a:gd name="connsiteX229" fmla="*/ 4380281 w 6561737"/>
              <a:gd name="connsiteY229" fmla="*/ 3062404 h 4841875"/>
              <a:gd name="connsiteX230" fmla="*/ 4379947 w 6561737"/>
              <a:gd name="connsiteY230" fmla="*/ 3056055 h 4841875"/>
              <a:gd name="connsiteX231" fmla="*/ 4379613 w 6561737"/>
              <a:gd name="connsiteY231" fmla="*/ 3050340 h 4841875"/>
              <a:gd name="connsiteX232" fmla="*/ 4378945 w 6561737"/>
              <a:gd name="connsiteY232" fmla="*/ 3044625 h 4841875"/>
              <a:gd name="connsiteX233" fmla="*/ 4377943 w 6561737"/>
              <a:gd name="connsiteY233" fmla="*/ 3038593 h 4841875"/>
              <a:gd name="connsiteX234" fmla="*/ 4376606 w 6561737"/>
              <a:gd name="connsiteY234" fmla="*/ 3032879 h 4841875"/>
              <a:gd name="connsiteX235" fmla="*/ 4375270 w 6561737"/>
              <a:gd name="connsiteY235" fmla="*/ 3027164 h 4841875"/>
              <a:gd name="connsiteX236" fmla="*/ 4373266 w 6561737"/>
              <a:gd name="connsiteY236" fmla="*/ 3021449 h 4841875"/>
              <a:gd name="connsiteX237" fmla="*/ 4371261 w 6561737"/>
              <a:gd name="connsiteY237" fmla="*/ 3015735 h 4841875"/>
              <a:gd name="connsiteX238" fmla="*/ 4368589 w 6561737"/>
              <a:gd name="connsiteY238" fmla="*/ 3010338 h 4841875"/>
              <a:gd name="connsiteX239" fmla="*/ 4365916 w 6561737"/>
              <a:gd name="connsiteY239" fmla="*/ 3004941 h 4841875"/>
              <a:gd name="connsiteX240" fmla="*/ 4363244 w 6561737"/>
              <a:gd name="connsiteY240" fmla="*/ 2999543 h 4841875"/>
              <a:gd name="connsiteX241" fmla="*/ 4359903 w 6561737"/>
              <a:gd name="connsiteY241" fmla="*/ 2994464 h 4841875"/>
              <a:gd name="connsiteX242" fmla="*/ 4356228 w 6561737"/>
              <a:gd name="connsiteY242" fmla="*/ 2989384 h 4841875"/>
              <a:gd name="connsiteX243" fmla="*/ 4352554 w 6561737"/>
              <a:gd name="connsiteY243" fmla="*/ 2984622 h 4841875"/>
              <a:gd name="connsiteX244" fmla="*/ 4348545 w 6561737"/>
              <a:gd name="connsiteY244" fmla="*/ 2979860 h 4841875"/>
              <a:gd name="connsiteX245" fmla="*/ 4344202 w 6561737"/>
              <a:gd name="connsiteY245" fmla="*/ 2975098 h 4841875"/>
              <a:gd name="connsiteX246" fmla="*/ 4244650 w 6561737"/>
              <a:gd name="connsiteY246" fmla="*/ 2875727 h 4841875"/>
              <a:gd name="connsiteX247" fmla="*/ 3995771 w 6561737"/>
              <a:gd name="connsiteY247" fmla="*/ 2627140 h 4841875"/>
              <a:gd name="connsiteX248" fmla="*/ 3991428 w 6561737"/>
              <a:gd name="connsiteY248" fmla="*/ 2622696 h 4841875"/>
              <a:gd name="connsiteX249" fmla="*/ 3987419 w 6561737"/>
              <a:gd name="connsiteY249" fmla="*/ 2617933 h 4841875"/>
              <a:gd name="connsiteX250" fmla="*/ 3983410 w 6561737"/>
              <a:gd name="connsiteY250" fmla="*/ 2613171 h 4841875"/>
              <a:gd name="connsiteX251" fmla="*/ 3980070 w 6561737"/>
              <a:gd name="connsiteY251" fmla="*/ 2608092 h 4841875"/>
              <a:gd name="connsiteX252" fmla="*/ 3977063 w 6561737"/>
              <a:gd name="connsiteY252" fmla="*/ 2603012 h 4841875"/>
              <a:gd name="connsiteX253" fmla="*/ 3973722 w 6561737"/>
              <a:gd name="connsiteY253" fmla="*/ 2597297 h 4841875"/>
              <a:gd name="connsiteX254" fmla="*/ 3971050 w 6561737"/>
              <a:gd name="connsiteY254" fmla="*/ 2591900 h 4841875"/>
              <a:gd name="connsiteX255" fmla="*/ 3968711 w 6561737"/>
              <a:gd name="connsiteY255" fmla="*/ 2586503 h 4841875"/>
              <a:gd name="connsiteX256" fmla="*/ 3966707 w 6561737"/>
              <a:gd name="connsiteY256" fmla="*/ 2581106 h 4841875"/>
              <a:gd name="connsiteX257" fmla="*/ 3965037 w 6561737"/>
              <a:gd name="connsiteY257" fmla="*/ 2575074 h 4841875"/>
              <a:gd name="connsiteX258" fmla="*/ 3963366 w 6561737"/>
              <a:gd name="connsiteY258" fmla="*/ 2569677 h 4841875"/>
              <a:gd name="connsiteX259" fmla="*/ 3962030 w 6561737"/>
              <a:gd name="connsiteY259" fmla="*/ 2563962 h 4841875"/>
              <a:gd name="connsiteX260" fmla="*/ 3961028 w 6561737"/>
              <a:gd name="connsiteY260" fmla="*/ 2558247 h 4841875"/>
              <a:gd name="connsiteX261" fmla="*/ 3960026 w 6561737"/>
              <a:gd name="connsiteY261" fmla="*/ 2551898 h 4841875"/>
              <a:gd name="connsiteX262" fmla="*/ 3959691 w 6561737"/>
              <a:gd name="connsiteY262" fmla="*/ 2546183 h 4841875"/>
              <a:gd name="connsiteX263" fmla="*/ 3959691 w 6561737"/>
              <a:gd name="connsiteY263" fmla="*/ 2540469 h 4841875"/>
              <a:gd name="connsiteX264" fmla="*/ 3959691 w 6561737"/>
              <a:gd name="connsiteY264" fmla="*/ 2534436 h 4841875"/>
              <a:gd name="connsiteX265" fmla="*/ 3960026 w 6561737"/>
              <a:gd name="connsiteY265" fmla="*/ 2528404 h 4841875"/>
              <a:gd name="connsiteX266" fmla="*/ 3961028 w 6561737"/>
              <a:gd name="connsiteY266" fmla="*/ 2522690 h 4841875"/>
              <a:gd name="connsiteX267" fmla="*/ 3962030 w 6561737"/>
              <a:gd name="connsiteY267" fmla="*/ 2516658 h 4841875"/>
              <a:gd name="connsiteX268" fmla="*/ 3963366 w 6561737"/>
              <a:gd name="connsiteY268" fmla="*/ 2510943 h 4841875"/>
              <a:gd name="connsiteX269" fmla="*/ 3965037 w 6561737"/>
              <a:gd name="connsiteY269" fmla="*/ 2505228 h 4841875"/>
              <a:gd name="connsiteX270" fmla="*/ 3966707 w 6561737"/>
              <a:gd name="connsiteY270" fmla="*/ 2499514 h 4841875"/>
              <a:gd name="connsiteX271" fmla="*/ 3968711 w 6561737"/>
              <a:gd name="connsiteY271" fmla="*/ 2494117 h 4841875"/>
              <a:gd name="connsiteX272" fmla="*/ 3971050 w 6561737"/>
              <a:gd name="connsiteY272" fmla="*/ 2488402 h 4841875"/>
              <a:gd name="connsiteX273" fmla="*/ 3973722 w 6561737"/>
              <a:gd name="connsiteY273" fmla="*/ 2483322 h 4841875"/>
              <a:gd name="connsiteX274" fmla="*/ 3977063 w 6561737"/>
              <a:gd name="connsiteY274" fmla="*/ 2477608 h 4841875"/>
              <a:gd name="connsiteX275" fmla="*/ 3980070 w 6561737"/>
              <a:gd name="connsiteY275" fmla="*/ 2472528 h 4841875"/>
              <a:gd name="connsiteX276" fmla="*/ 3983410 w 6561737"/>
              <a:gd name="connsiteY276" fmla="*/ 2467448 h 4841875"/>
              <a:gd name="connsiteX277" fmla="*/ 3987419 w 6561737"/>
              <a:gd name="connsiteY277" fmla="*/ 2462686 h 4841875"/>
              <a:gd name="connsiteX278" fmla="*/ 3991428 w 6561737"/>
              <a:gd name="connsiteY278" fmla="*/ 2457924 h 4841875"/>
              <a:gd name="connsiteX279" fmla="*/ 3995771 w 6561737"/>
              <a:gd name="connsiteY279" fmla="*/ 2453162 h 4841875"/>
              <a:gd name="connsiteX280" fmla="*/ 4000448 w 6561737"/>
              <a:gd name="connsiteY280" fmla="*/ 2449035 h 4841875"/>
              <a:gd name="connsiteX281" fmla="*/ 4005459 w 6561737"/>
              <a:gd name="connsiteY281" fmla="*/ 2444907 h 4841875"/>
              <a:gd name="connsiteX282" fmla="*/ 4010135 w 6561737"/>
              <a:gd name="connsiteY282" fmla="*/ 2441098 h 4841875"/>
              <a:gd name="connsiteX283" fmla="*/ 4015146 w 6561737"/>
              <a:gd name="connsiteY283" fmla="*/ 2437288 h 4841875"/>
              <a:gd name="connsiteX284" fmla="*/ 4020492 w 6561737"/>
              <a:gd name="connsiteY284" fmla="*/ 2434430 h 4841875"/>
              <a:gd name="connsiteX285" fmla="*/ 4025503 w 6561737"/>
              <a:gd name="connsiteY285" fmla="*/ 2431256 h 4841875"/>
              <a:gd name="connsiteX286" fmla="*/ 4031182 w 6561737"/>
              <a:gd name="connsiteY286" fmla="*/ 2428398 h 4841875"/>
              <a:gd name="connsiteX287" fmla="*/ 4036527 w 6561737"/>
              <a:gd name="connsiteY287" fmla="*/ 2426176 h 4841875"/>
              <a:gd name="connsiteX288" fmla="*/ 4042206 w 6561737"/>
              <a:gd name="connsiteY288" fmla="*/ 2423954 h 4841875"/>
              <a:gd name="connsiteX289" fmla="*/ 4047885 w 6561737"/>
              <a:gd name="connsiteY289" fmla="*/ 2422366 h 4841875"/>
              <a:gd name="connsiteX290" fmla="*/ 4053564 w 6561737"/>
              <a:gd name="connsiteY290" fmla="*/ 2420461 h 4841875"/>
              <a:gd name="connsiteX291" fmla="*/ 4059577 w 6561737"/>
              <a:gd name="connsiteY291" fmla="*/ 2419509 h 4841875"/>
              <a:gd name="connsiteX292" fmla="*/ 4065256 w 6561737"/>
              <a:gd name="connsiteY292" fmla="*/ 2418557 h 4841875"/>
              <a:gd name="connsiteX293" fmla="*/ 4071270 w 6561737"/>
              <a:gd name="connsiteY293" fmla="*/ 2417922 h 4841875"/>
              <a:gd name="connsiteX294" fmla="*/ 4076949 w 6561737"/>
              <a:gd name="connsiteY294" fmla="*/ 2417287 h 4841875"/>
              <a:gd name="connsiteX295" fmla="*/ 4082962 w 6561737"/>
              <a:gd name="connsiteY295" fmla="*/ 2417287 h 4841875"/>
              <a:gd name="connsiteX296" fmla="*/ 4088975 w 6561737"/>
              <a:gd name="connsiteY296" fmla="*/ 2417287 h 4841875"/>
              <a:gd name="connsiteX297" fmla="*/ 4094654 w 6561737"/>
              <a:gd name="connsiteY297" fmla="*/ 2417922 h 4841875"/>
              <a:gd name="connsiteX298" fmla="*/ 4100668 w 6561737"/>
              <a:gd name="connsiteY298" fmla="*/ 2418557 h 4841875"/>
              <a:gd name="connsiteX299" fmla="*/ 4106347 w 6561737"/>
              <a:gd name="connsiteY299" fmla="*/ 2419509 h 4841875"/>
              <a:gd name="connsiteX300" fmla="*/ 4112360 w 6561737"/>
              <a:gd name="connsiteY300" fmla="*/ 2420461 h 4841875"/>
              <a:gd name="connsiteX301" fmla="*/ 4118039 w 6561737"/>
              <a:gd name="connsiteY301" fmla="*/ 2422366 h 4841875"/>
              <a:gd name="connsiteX302" fmla="*/ 4123718 w 6561737"/>
              <a:gd name="connsiteY302" fmla="*/ 2423954 h 4841875"/>
              <a:gd name="connsiteX303" fmla="*/ 4129397 w 6561737"/>
              <a:gd name="connsiteY303" fmla="*/ 2426176 h 4841875"/>
              <a:gd name="connsiteX304" fmla="*/ 4134742 w 6561737"/>
              <a:gd name="connsiteY304" fmla="*/ 2428398 h 4841875"/>
              <a:gd name="connsiteX305" fmla="*/ 4140421 w 6561737"/>
              <a:gd name="connsiteY305" fmla="*/ 2431256 h 4841875"/>
              <a:gd name="connsiteX306" fmla="*/ 4145767 w 6561737"/>
              <a:gd name="connsiteY306" fmla="*/ 2434430 h 4841875"/>
              <a:gd name="connsiteX307" fmla="*/ 4150778 w 6561737"/>
              <a:gd name="connsiteY307" fmla="*/ 2437288 h 4841875"/>
              <a:gd name="connsiteX308" fmla="*/ 4155789 w 6561737"/>
              <a:gd name="connsiteY308" fmla="*/ 2441098 h 4841875"/>
              <a:gd name="connsiteX309" fmla="*/ 4160800 w 6561737"/>
              <a:gd name="connsiteY309" fmla="*/ 2444907 h 4841875"/>
              <a:gd name="connsiteX310" fmla="*/ 4165476 w 6561737"/>
              <a:gd name="connsiteY310" fmla="*/ 2449035 h 4841875"/>
              <a:gd name="connsiteX311" fmla="*/ 4170153 w 6561737"/>
              <a:gd name="connsiteY311" fmla="*/ 2453162 h 4841875"/>
              <a:gd name="connsiteX312" fmla="*/ 4969908 w 6561737"/>
              <a:gd name="connsiteY312" fmla="*/ 3252257 h 4841875"/>
              <a:gd name="connsiteX313" fmla="*/ 6561736 w 6561737"/>
              <a:gd name="connsiteY313" fmla="*/ 4841875 h 4841875"/>
              <a:gd name="connsiteX314" fmla="*/ 6561736 w 6561737"/>
              <a:gd name="connsiteY314" fmla="*/ 4559209 h 4841875"/>
              <a:gd name="connsiteX315" fmla="*/ 6561737 w 6561737"/>
              <a:gd name="connsiteY315" fmla="*/ 4059791 h 4841875"/>
              <a:gd name="connsiteX316" fmla="*/ 6561736 w 6561737"/>
              <a:gd name="connsiteY316" fmla="*/ 0 h 4841875"/>
              <a:gd name="connsiteX0" fmla="*/ 6561736 w 7047790"/>
              <a:gd name="connsiteY0" fmla="*/ 0 h 4841875"/>
              <a:gd name="connsiteX1" fmla="*/ 0 w 7047790"/>
              <a:gd name="connsiteY1" fmla="*/ 0 h 4841875"/>
              <a:gd name="connsiteX2" fmla="*/ 2696252 w 7047790"/>
              <a:gd name="connsiteY2" fmla="*/ 2688414 h 4841875"/>
              <a:gd name="connsiteX3" fmla="*/ 2695583 w 7047790"/>
              <a:gd name="connsiteY3" fmla="*/ 2681112 h 4841875"/>
              <a:gd name="connsiteX4" fmla="*/ 2694915 w 7047790"/>
              <a:gd name="connsiteY4" fmla="*/ 2674127 h 4841875"/>
              <a:gd name="connsiteX5" fmla="*/ 2694915 w 7047790"/>
              <a:gd name="connsiteY5" fmla="*/ 2667143 h 4841875"/>
              <a:gd name="connsiteX6" fmla="*/ 2695249 w 7047790"/>
              <a:gd name="connsiteY6" fmla="*/ 2660158 h 4841875"/>
              <a:gd name="connsiteX7" fmla="*/ 2695918 w 7047790"/>
              <a:gd name="connsiteY7" fmla="*/ 2652856 h 4841875"/>
              <a:gd name="connsiteX8" fmla="*/ 2696920 w 7047790"/>
              <a:gd name="connsiteY8" fmla="*/ 2645872 h 4841875"/>
              <a:gd name="connsiteX9" fmla="*/ 2698590 w 7047790"/>
              <a:gd name="connsiteY9" fmla="*/ 2638887 h 4841875"/>
              <a:gd name="connsiteX10" fmla="*/ 2700260 w 7047790"/>
              <a:gd name="connsiteY10" fmla="*/ 2631903 h 4841875"/>
              <a:gd name="connsiteX11" fmla="*/ 2702599 w 7047790"/>
              <a:gd name="connsiteY11" fmla="*/ 2625235 h 4841875"/>
              <a:gd name="connsiteX12" fmla="*/ 2705605 w 7047790"/>
              <a:gd name="connsiteY12" fmla="*/ 2618568 h 4841875"/>
              <a:gd name="connsiteX13" fmla="*/ 2708946 w 7047790"/>
              <a:gd name="connsiteY13" fmla="*/ 2612219 h 4841875"/>
              <a:gd name="connsiteX14" fmla="*/ 2712287 w 7047790"/>
              <a:gd name="connsiteY14" fmla="*/ 2605552 h 4841875"/>
              <a:gd name="connsiteX15" fmla="*/ 2716296 w 7047790"/>
              <a:gd name="connsiteY15" fmla="*/ 2599520 h 4841875"/>
              <a:gd name="connsiteX16" fmla="*/ 2720973 w 7047790"/>
              <a:gd name="connsiteY16" fmla="*/ 2593488 h 4841875"/>
              <a:gd name="connsiteX17" fmla="*/ 2725649 w 7047790"/>
              <a:gd name="connsiteY17" fmla="*/ 2587773 h 4841875"/>
              <a:gd name="connsiteX18" fmla="*/ 2730660 w 7047790"/>
              <a:gd name="connsiteY18" fmla="*/ 2582058 h 4841875"/>
              <a:gd name="connsiteX19" fmla="*/ 2735337 w 7047790"/>
              <a:gd name="connsiteY19" fmla="*/ 2577931 h 4841875"/>
              <a:gd name="connsiteX20" fmla="*/ 2740014 w 7047790"/>
              <a:gd name="connsiteY20" fmla="*/ 2573804 h 4841875"/>
              <a:gd name="connsiteX21" fmla="*/ 2745025 w 7047790"/>
              <a:gd name="connsiteY21" fmla="*/ 2569994 h 4841875"/>
              <a:gd name="connsiteX22" fmla="*/ 2750036 w 7047790"/>
              <a:gd name="connsiteY22" fmla="*/ 2566184 h 4841875"/>
              <a:gd name="connsiteX23" fmla="*/ 2755381 w 7047790"/>
              <a:gd name="connsiteY23" fmla="*/ 2563327 h 4841875"/>
              <a:gd name="connsiteX24" fmla="*/ 2760726 w 7047790"/>
              <a:gd name="connsiteY24" fmla="*/ 2560152 h 4841875"/>
              <a:gd name="connsiteX25" fmla="*/ 2766072 w 7047790"/>
              <a:gd name="connsiteY25" fmla="*/ 2557295 h 4841875"/>
              <a:gd name="connsiteX26" fmla="*/ 2771417 w 7047790"/>
              <a:gd name="connsiteY26" fmla="*/ 2555073 h 4841875"/>
              <a:gd name="connsiteX27" fmla="*/ 2777096 w 7047790"/>
              <a:gd name="connsiteY27" fmla="*/ 2552850 h 4841875"/>
              <a:gd name="connsiteX28" fmla="*/ 2782775 w 7047790"/>
              <a:gd name="connsiteY28" fmla="*/ 2551263 h 4841875"/>
              <a:gd name="connsiteX29" fmla="*/ 2788788 w 7047790"/>
              <a:gd name="connsiteY29" fmla="*/ 2549675 h 4841875"/>
              <a:gd name="connsiteX30" fmla="*/ 2794467 w 7047790"/>
              <a:gd name="connsiteY30" fmla="*/ 2548406 h 4841875"/>
              <a:gd name="connsiteX31" fmla="*/ 2800146 w 7047790"/>
              <a:gd name="connsiteY31" fmla="*/ 2547453 h 4841875"/>
              <a:gd name="connsiteX32" fmla="*/ 2806159 w 7047790"/>
              <a:gd name="connsiteY32" fmla="*/ 2546818 h 4841875"/>
              <a:gd name="connsiteX33" fmla="*/ 2811839 w 7047790"/>
              <a:gd name="connsiteY33" fmla="*/ 2546183 h 4841875"/>
              <a:gd name="connsiteX34" fmla="*/ 2817852 w 7047790"/>
              <a:gd name="connsiteY34" fmla="*/ 2546183 h 4841875"/>
              <a:gd name="connsiteX35" fmla="*/ 2823865 w 7047790"/>
              <a:gd name="connsiteY35" fmla="*/ 2546183 h 4841875"/>
              <a:gd name="connsiteX36" fmla="*/ 2829878 w 7047790"/>
              <a:gd name="connsiteY36" fmla="*/ 2546818 h 4841875"/>
              <a:gd name="connsiteX37" fmla="*/ 2835557 w 7047790"/>
              <a:gd name="connsiteY37" fmla="*/ 2547453 h 4841875"/>
              <a:gd name="connsiteX38" fmla="*/ 2841236 w 7047790"/>
              <a:gd name="connsiteY38" fmla="*/ 2548406 h 4841875"/>
              <a:gd name="connsiteX39" fmla="*/ 2847250 w 7047790"/>
              <a:gd name="connsiteY39" fmla="*/ 2549675 h 4841875"/>
              <a:gd name="connsiteX40" fmla="*/ 2852929 w 7047790"/>
              <a:gd name="connsiteY40" fmla="*/ 2551263 h 4841875"/>
              <a:gd name="connsiteX41" fmla="*/ 2858608 w 7047790"/>
              <a:gd name="connsiteY41" fmla="*/ 2552850 h 4841875"/>
              <a:gd name="connsiteX42" fmla="*/ 2864287 w 7047790"/>
              <a:gd name="connsiteY42" fmla="*/ 2555073 h 4841875"/>
              <a:gd name="connsiteX43" fmla="*/ 2869966 w 7047790"/>
              <a:gd name="connsiteY43" fmla="*/ 2557295 h 4841875"/>
              <a:gd name="connsiteX44" fmla="*/ 2875311 w 7047790"/>
              <a:gd name="connsiteY44" fmla="*/ 2560152 h 4841875"/>
              <a:gd name="connsiteX45" fmla="*/ 2880322 w 7047790"/>
              <a:gd name="connsiteY45" fmla="*/ 2563327 h 4841875"/>
              <a:gd name="connsiteX46" fmla="*/ 2885667 w 7047790"/>
              <a:gd name="connsiteY46" fmla="*/ 2566184 h 4841875"/>
              <a:gd name="connsiteX47" fmla="*/ 2890678 w 7047790"/>
              <a:gd name="connsiteY47" fmla="*/ 2569994 h 4841875"/>
              <a:gd name="connsiteX48" fmla="*/ 2895689 w 7047790"/>
              <a:gd name="connsiteY48" fmla="*/ 2573804 h 4841875"/>
              <a:gd name="connsiteX49" fmla="*/ 2900366 w 7047790"/>
              <a:gd name="connsiteY49" fmla="*/ 2577931 h 4841875"/>
              <a:gd name="connsiteX50" fmla="*/ 2905043 w 7047790"/>
              <a:gd name="connsiteY50" fmla="*/ 2582058 h 4841875"/>
              <a:gd name="connsiteX51" fmla="*/ 4398989 w 7047790"/>
              <a:gd name="connsiteY51" fmla="*/ 4073893 h 4841875"/>
              <a:gd name="connsiteX52" fmla="*/ 4403332 w 7047790"/>
              <a:gd name="connsiteY52" fmla="*/ 4078338 h 4841875"/>
              <a:gd name="connsiteX53" fmla="*/ 4408009 w 7047790"/>
              <a:gd name="connsiteY53" fmla="*/ 4082465 h 4841875"/>
              <a:gd name="connsiteX54" fmla="*/ 4413020 w 7047790"/>
              <a:gd name="connsiteY54" fmla="*/ 4086275 h 4841875"/>
              <a:gd name="connsiteX55" fmla="*/ 4418031 w 7047790"/>
              <a:gd name="connsiteY55" fmla="*/ 4089767 h 4841875"/>
              <a:gd name="connsiteX56" fmla="*/ 4423042 w 7047790"/>
              <a:gd name="connsiteY56" fmla="*/ 4093259 h 4841875"/>
              <a:gd name="connsiteX57" fmla="*/ 4428721 w 7047790"/>
              <a:gd name="connsiteY57" fmla="*/ 4095799 h 4841875"/>
              <a:gd name="connsiteX58" fmla="*/ 4433732 w 7047790"/>
              <a:gd name="connsiteY58" fmla="*/ 4098656 h 4841875"/>
              <a:gd name="connsiteX59" fmla="*/ 4439745 w 7047790"/>
              <a:gd name="connsiteY59" fmla="*/ 4101196 h 4841875"/>
              <a:gd name="connsiteX60" fmla="*/ 4445090 w 7047790"/>
              <a:gd name="connsiteY60" fmla="*/ 4103101 h 4841875"/>
              <a:gd name="connsiteX61" fmla="*/ 4450769 w 7047790"/>
              <a:gd name="connsiteY61" fmla="*/ 4105006 h 4841875"/>
              <a:gd name="connsiteX62" fmla="*/ 4456449 w 7047790"/>
              <a:gd name="connsiteY62" fmla="*/ 4106593 h 4841875"/>
              <a:gd name="connsiteX63" fmla="*/ 4462127 w 7047790"/>
              <a:gd name="connsiteY63" fmla="*/ 4107863 h 4841875"/>
              <a:gd name="connsiteX64" fmla="*/ 4468140 w 7047790"/>
              <a:gd name="connsiteY64" fmla="*/ 4108816 h 4841875"/>
              <a:gd name="connsiteX65" fmla="*/ 4474154 w 7047790"/>
              <a:gd name="connsiteY65" fmla="*/ 4109451 h 4841875"/>
              <a:gd name="connsiteX66" fmla="*/ 4480167 w 7047790"/>
              <a:gd name="connsiteY66" fmla="*/ 4110086 h 4841875"/>
              <a:gd name="connsiteX67" fmla="*/ 4485846 w 7047790"/>
              <a:gd name="connsiteY67" fmla="*/ 4110086 h 4841875"/>
              <a:gd name="connsiteX68" fmla="*/ 4491526 w 7047790"/>
              <a:gd name="connsiteY68" fmla="*/ 4110086 h 4841875"/>
              <a:gd name="connsiteX69" fmla="*/ 4497538 w 7047790"/>
              <a:gd name="connsiteY69" fmla="*/ 4109451 h 4841875"/>
              <a:gd name="connsiteX70" fmla="*/ 4503551 w 7047790"/>
              <a:gd name="connsiteY70" fmla="*/ 4108816 h 4841875"/>
              <a:gd name="connsiteX71" fmla="*/ 4509565 w 7047790"/>
              <a:gd name="connsiteY71" fmla="*/ 4107863 h 4841875"/>
              <a:gd name="connsiteX72" fmla="*/ 4515244 w 7047790"/>
              <a:gd name="connsiteY72" fmla="*/ 4106593 h 4841875"/>
              <a:gd name="connsiteX73" fmla="*/ 4520589 w 7047790"/>
              <a:gd name="connsiteY73" fmla="*/ 4105006 h 4841875"/>
              <a:gd name="connsiteX74" fmla="*/ 4526602 w 7047790"/>
              <a:gd name="connsiteY74" fmla="*/ 4103101 h 4841875"/>
              <a:gd name="connsiteX75" fmla="*/ 4531948 w 7047790"/>
              <a:gd name="connsiteY75" fmla="*/ 4101196 h 4841875"/>
              <a:gd name="connsiteX76" fmla="*/ 4537960 w 7047790"/>
              <a:gd name="connsiteY76" fmla="*/ 4098656 h 4841875"/>
              <a:gd name="connsiteX77" fmla="*/ 4542971 w 7047790"/>
              <a:gd name="connsiteY77" fmla="*/ 4095799 h 4841875"/>
              <a:gd name="connsiteX78" fmla="*/ 4548650 w 7047790"/>
              <a:gd name="connsiteY78" fmla="*/ 4093259 h 4841875"/>
              <a:gd name="connsiteX79" fmla="*/ 4553661 w 7047790"/>
              <a:gd name="connsiteY79" fmla="*/ 4089767 h 4841875"/>
              <a:gd name="connsiteX80" fmla="*/ 4558672 w 7047790"/>
              <a:gd name="connsiteY80" fmla="*/ 4086275 h 4841875"/>
              <a:gd name="connsiteX81" fmla="*/ 4563683 w 7047790"/>
              <a:gd name="connsiteY81" fmla="*/ 4082465 h 4841875"/>
              <a:gd name="connsiteX82" fmla="*/ 4568360 w 7047790"/>
              <a:gd name="connsiteY82" fmla="*/ 4078338 h 4841875"/>
              <a:gd name="connsiteX83" fmla="*/ 4572704 w 7047790"/>
              <a:gd name="connsiteY83" fmla="*/ 4073893 h 4841875"/>
              <a:gd name="connsiteX84" fmla="*/ 4577381 w 7047790"/>
              <a:gd name="connsiteY84" fmla="*/ 4069448 h 4841875"/>
              <a:gd name="connsiteX85" fmla="*/ 4581389 w 7047790"/>
              <a:gd name="connsiteY85" fmla="*/ 4064686 h 4841875"/>
              <a:gd name="connsiteX86" fmla="*/ 4585064 w 7047790"/>
              <a:gd name="connsiteY86" fmla="*/ 4059606 h 4841875"/>
              <a:gd name="connsiteX87" fmla="*/ 4588738 w 7047790"/>
              <a:gd name="connsiteY87" fmla="*/ 4054844 h 4841875"/>
              <a:gd name="connsiteX88" fmla="*/ 4592079 w 7047790"/>
              <a:gd name="connsiteY88" fmla="*/ 4049447 h 4841875"/>
              <a:gd name="connsiteX89" fmla="*/ 4595086 w 7047790"/>
              <a:gd name="connsiteY89" fmla="*/ 4044367 h 4841875"/>
              <a:gd name="connsiteX90" fmla="*/ 4597424 w 7047790"/>
              <a:gd name="connsiteY90" fmla="*/ 4038653 h 4841875"/>
              <a:gd name="connsiteX91" fmla="*/ 4599763 w 7047790"/>
              <a:gd name="connsiteY91" fmla="*/ 4033256 h 4841875"/>
              <a:gd name="connsiteX92" fmla="*/ 4602101 w 7047790"/>
              <a:gd name="connsiteY92" fmla="*/ 4027859 h 4841875"/>
              <a:gd name="connsiteX93" fmla="*/ 4604106 w 7047790"/>
              <a:gd name="connsiteY93" fmla="*/ 4022144 h 4841875"/>
              <a:gd name="connsiteX94" fmla="*/ 4605776 w 7047790"/>
              <a:gd name="connsiteY94" fmla="*/ 4016112 h 4841875"/>
              <a:gd name="connsiteX95" fmla="*/ 4606778 w 7047790"/>
              <a:gd name="connsiteY95" fmla="*/ 4010397 h 4841875"/>
              <a:gd name="connsiteX96" fmla="*/ 4607781 w 7047790"/>
              <a:gd name="connsiteY96" fmla="*/ 4004683 h 4841875"/>
              <a:gd name="connsiteX97" fmla="*/ 4608448 w 7047790"/>
              <a:gd name="connsiteY97" fmla="*/ 3998650 h 4841875"/>
              <a:gd name="connsiteX98" fmla="*/ 4608782 w 7047790"/>
              <a:gd name="connsiteY98" fmla="*/ 3992936 h 4841875"/>
              <a:gd name="connsiteX99" fmla="*/ 4609117 w 7047790"/>
              <a:gd name="connsiteY99" fmla="*/ 3987221 h 4841875"/>
              <a:gd name="connsiteX100" fmla="*/ 4608782 w 7047790"/>
              <a:gd name="connsiteY100" fmla="*/ 3980872 h 4841875"/>
              <a:gd name="connsiteX101" fmla="*/ 4608448 w 7047790"/>
              <a:gd name="connsiteY101" fmla="*/ 3975157 h 4841875"/>
              <a:gd name="connsiteX102" fmla="*/ 4607781 w 7047790"/>
              <a:gd name="connsiteY102" fmla="*/ 3969442 h 4841875"/>
              <a:gd name="connsiteX103" fmla="*/ 4606778 w 7047790"/>
              <a:gd name="connsiteY103" fmla="*/ 3963410 h 4841875"/>
              <a:gd name="connsiteX104" fmla="*/ 4605776 w 7047790"/>
              <a:gd name="connsiteY104" fmla="*/ 3957696 h 4841875"/>
              <a:gd name="connsiteX105" fmla="*/ 4604106 w 7047790"/>
              <a:gd name="connsiteY105" fmla="*/ 3951981 h 4841875"/>
              <a:gd name="connsiteX106" fmla="*/ 4602101 w 7047790"/>
              <a:gd name="connsiteY106" fmla="*/ 3946584 h 4841875"/>
              <a:gd name="connsiteX107" fmla="*/ 4599763 w 7047790"/>
              <a:gd name="connsiteY107" fmla="*/ 3940552 h 4841875"/>
              <a:gd name="connsiteX108" fmla="*/ 4597424 w 7047790"/>
              <a:gd name="connsiteY108" fmla="*/ 3935155 h 4841875"/>
              <a:gd name="connsiteX109" fmla="*/ 4595086 w 7047790"/>
              <a:gd name="connsiteY109" fmla="*/ 3929757 h 4841875"/>
              <a:gd name="connsiteX110" fmla="*/ 4592079 w 7047790"/>
              <a:gd name="connsiteY110" fmla="*/ 3924678 h 4841875"/>
              <a:gd name="connsiteX111" fmla="*/ 4588738 w 7047790"/>
              <a:gd name="connsiteY111" fmla="*/ 3919281 h 4841875"/>
              <a:gd name="connsiteX112" fmla="*/ 4585064 w 7047790"/>
              <a:gd name="connsiteY112" fmla="*/ 3914201 h 4841875"/>
              <a:gd name="connsiteX113" fmla="*/ 4581389 w 7047790"/>
              <a:gd name="connsiteY113" fmla="*/ 3909121 h 4841875"/>
              <a:gd name="connsiteX114" fmla="*/ 4577381 w 7047790"/>
              <a:gd name="connsiteY114" fmla="*/ 3904677 h 4841875"/>
              <a:gd name="connsiteX115" fmla="*/ 4572704 w 7047790"/>
              <a:gd name="connsiteY115" fmla="*/ 3899914 h 4841875"/>
              <a:gd name="connsiteX116" fmla="*/ 3276525 w 7047790"/>
              <a:gd name="connsiteY116" fmla="*/ 2605234 h 4841875"/>
              <a:gd name="connsiteX117" fmla="*/ 3272182 w 7047790"/>
              <a:gd name="connsiteY117" fmla="*/ 2600472 h 4841875"/>
              <a:gd name="connsiteX118" fmla="*/ 3268174 w 7047790"/>
              <a:gd name="connsiteY118" fmla="*/ 2596027 h 4841875"/>
              <a:gd name="connsiteX119" fmla="*/ 3264165 w 7047790"/>
              <a:gd name="connsiteY119" fmla="*/ 2590948 h 4841875"/>
              <a:gd name="connsiteX120" fmla="*/ 3260824 w 7047790"/>
              <a:gd name="connsiteY120" fmla="*/ 2585868 h 4841875"/>
              <a:gd name="connsiteX121" fmla="*/ 3257818 w 7047790"/>
              <a:gd name="connsiteY121" fmla="*/ 2580788 h 4841875"/>
              <a:gd name="connsiteX122" fmla="*/ 3254811 w 7047790"/>
              <a:gd name="connsiteY122" fmla="*/ 2575709 h 4841875"/>
              <a:gd name="connsiteX123" fmla="*/ 3252138 w 7047790"/>
              <a:gd name="connsiteY123" fmla="*/ 2569994 h 4841875"/>
              <a:gd name="connsiteX124" fmla="*/ 3249466 w 7047790"/>
              <a:gd name="connsiteY124" fmla="*/ 2564597 h 4841875"/>
              <a:gd name="connsiteX125" fmla="*/ 3247461 w 7047790"/>
              <a:gd name="connsiteY125" fmla="*/ 2558882 h 4841875"/>
              <a:gd name="connsiteX126" fmla="*/ 3245791 w 7047790"/>
              <a:gd name="connsiteY126" fmla="*/ 2553168 h 4841875"/>
              <a:gd name="connsiteX127" fmla="*/ 3244121 w 7047790"/>
              <a:gd name="connsiteY127" fmla="*/ 2547453 h 4841875"/>
              <a:gd name="connsiteX128" fmla="*/ 3242785 w 7047790"/>
              <a:gd name="connsiteY128" fmla="*/ 2541738 h 4841875"/>
              <a:gd name="connsiteX129" fmla="*/ 3241782 w 7047790"/>
              <a:gd name="connsiteY129" fmla="*/ 2536024 h 4841875"/>
              <a:gd name="connsiteX130" fmla="*/ 3241114 w 7047790"/>
              <a:gd name="connsiteY130" fmla="*/ 2529992 h 4841875"/>
              <a:gd name="connsiteX131" fmla="*/ 3240780 w 7047790"/>
              <a:gd name="connsiteY131" fmla="*/ 2524277 h 4841875"/>
              <a:gd name="connsiteX132" fmla="*/ 3240780 w 7047790"/>
              <a:gd name="connsiteY132" fmla="*/ 2518245 h 4841875"/>
              <a:gd name="connsiteX133" fmla="*/ 3240780 w 7047790"/>
              <a:gd name="connsiteY133" fmla="*/ 2512213 h 4841875"/>
              <a:gd name="connsiteX134" fmla="*/ 3241114 w 7047790"/>
              <a:gd name="connsiteY134" fmla="*/ 2506498 h 4841875"/>
              <a:gd name="connsiteX135" fmla="*/ 3241782 w 7047790"/>
              <a:gd name="connsiteY135" fmla="*/ 2500784 h 4841875"/>
              <a:gd name="connsiteX136" fmla="*/ 3242785 w 7047790"/>
              <a:gd name="connsiteY136" fmla="*/ 2494752 h 4841875"/>
              <a:gd name="connsiteX137" fmla="*/ 3244121 w 7047790"/>
              <a:gd name="connsiteY137" fmla="*/ 2489037 h 4841875"/>
              <a:gd name="connsiteX138" fmla="*/ 3245791 w 7047790"/>
              <a:gd name="connsiteY138" fmla="*/ 2483322 h 4841875"/>
              <a:gd name="connsiteX139" fmla="*/ 3247461 w 7047790"/>
              <a:gd name="connsiteY139" fmla="*/ 2477290 h 4841875"/>
              <a:gd name="connsiteX140" fmla="*/ 3249466 w 7047790"/>
              <a:gd name="connsiteY140" fmla="*/ 2471893 h 4841875"/>
              <a:gd name="connsiteX141" fmla="*/ 3252138 w 7047790"/>
              <a:gd name="connsiteY141" fmla="*/ 2466496 h 4841875"/>
              <a:gd name="connsiteX142" fmla="*/ 3254811 w 7047790"/>
              <a:gd name="connsiteY142" fmla="*/ 2461099 h 4841875"/>
              <a:gd name="connsiteX143" fmla="*/ 3257818 w 7047790"/>
              <a:gd name="connsiteY143" fmla="*/ 2455702 h 4841875"/>
              <a:gd name="connsiteX144" fmla="*/ 3260824 w 7047790"/>
              <a:gd name="connsiteY144" fmla="*/ 2450304 h 4841875"/>
              <a:gd name="connsiteX145" fmla="*/ 3264165 w 7047790"/>
              <a:gd name="connsiteY145" fmla="*/ 2445542 h 4841875"/>
              <a:gd name="connsiteX146" fmla="*/ 3268174 w 7047790"/>
              <a:gd name="connsiteY146" fmla="*/ 2440463 h 4841875"/>
              <a:gd name="connsiteX147" fmla="*/ 3272182 w 7047790"/>
              <a:gd name="connsiteY147" fmla="*/ 2435700 h 4841875"/>
              <a:gd name="connsiteX148" fmla="*/ 3276525 w 7047790"/>
              <a:gd name="connsiteY148" fmla="*/ 2431256 h 4841875"/>
              <a:gd name="connsiteX149" fmla="*/ 3281536 w 7047790"/>
              <a:gd name="connsiteY149" fmla="*/ 2426811 h 4841875"/>
              <a:gd name="connsiteX150" fmla="*/ 3285879 w 7047790"/>
              <a:gd name="connsiteY150" fmla="*/ 2422684 h 4841875"/>
              <a:gd name="connsiteX151" fmla="*/ 3290890 w 7047790"/>
              <a:gd name="connsiteY151" fmla="*/ 2418874 h 4841875"/>
              <a:gd name="connsiteX152" fmla="*/ 3296235 w 7047790"/>
              <a:gd name="connsiteY152" fmla="*/ 2415382 h 4841875"/>
              <a:gd name="connsiteX153" fmla="*/ 3301246 w 7047790"/>
              <a:gd name="connsiteY153" fmla="*/ 2412207 h 4841875"/>
              <a:gd name="connsiteX154" fmla="*/ 3306591 w 7047790"/>
              <a:gd name="connsiteY154" fmla="*/ 2409350 h 4841875"/>
              <a:gd name="connsiteX155" fmla="*/ 3311936 w 7047790"/>
              <a:gd name="connsiteY155" fmla="*/ 2406492 h 4841875"/>
              <a:gd name="connsiteX156" fmla="*/ 3317281 w 7047790"/>
              <a:gd name="connsiteY156" fmla="*/ 2404270 h 4841875"/>
              <a:gd name="connsiteX157" fmla="*/ 3323295 w 7047790"/>
              <a:gd name="connsiteY157" fmla="*/ 2402048 h 4841875"/>
              <a:gd name="connsiteX158" fmla="*/ 3328640 w 7047790"/>
              <a:gd name="connsiteY158" fmla="*/ 2400143 h 4841875"/>
              <a:gd name="connsiteX159" fmla="*/ 3334653 w 7047790"/>
              <a:gd name="connsiteY159" fmla="*/ 2398873 h 4841875"/>
              <a:gd name="connsiteX160" fmla="*/ 3340332 w 7047790"/>
              <a:gd name="connsiteY160" fmla="*/ 2397285 h 4841875"/>
              <a:gd name="connsiteX161" fmla="*/ 3346011 w 7047790"/>
              <a:gd name="connsiteY161" fmla="*/ 2396333 h 4841875"/>
              <a:gd name="connsiteX162" fmla="*/ 3352024 w 7047790"/>
              <a:gd name="connsiteY162" fmla="*/ 2395698 h 4841875"/>
              <a:gd name="connsiteX163" fmla="*/ 3357703 w 7047790"/>
              <a:gd name="connsiteY163" fmla="*/ 2395381 h 4841875"/>
              <a:gd name="connsiteX164" fmla="*/ 3364051 w 7047790"/>
              <a:gd name="connsiteY164" fmla="*/ 2395381 h 4841875"/>
              <a:gd name="connsiteX165" fmla="*/ 3369730 w 7047790"/>
              <a:gd name="connsiteY165" fmla="*/ 2395381 h 4841875"/>
              <a:gd name="connsiteX166" fmla="*/ 3375743 w 7047790"/>
              <a:gd name="connsiteY166" fmla="*/ 2395698 h 4841875"/>
              <a:gd name="connsiteX167" fmla="*/ 3381422 w 7047790"/>
              <a:gd name="connsiteY167" fmla="*/ 2396333 h 4841875"/>
              <a:gd name="connsiteX168" fmla="*/ 3387101 w 7047790"/>
              <a:gd name="connsiteY168" fmla="*/ 2397285 h 4841875"/>
              <a:gd name="connsiteX169" fmla="*/ 3393114 w 7047790"/>
              <a:gd name="connsiteY169" fmla="*/ 2398873 h 4841875"/>
              <a:gd name="connsiteX170" fmla="*/ 3398794 w 7047790"/>
              <a:gd name="connsiteY170" fmla="*/ 2400143 h 4841875"/>
              <a:gd name="connsiteX171" fmla="*/ 3404807 w 7047790"/>
              <a:gd name="connsiteY171" fmla="*/ 2402048 h 4841875"/>
              <a:gd name="connsiteX172" fmla="*/ 3410152 w 7047790"/>
              <a:gd name="connsiteY172" fmla="*/ 2404270 h 4841875"/>
              <a:gd name="connsiteX173" fmla="*/ 3415831 w 7047790"/>
              <a:gd name="connsiteY173" fmla="*/ 2406492 h 4841875"/>
              <a:gd name="connsiteX174" fmla="*/ 3421176 w 7047790"/>
              <a:gd name="connsiteY174" fmla="*/ 2409350 h 4841875"/>
              <a:gd name="connsiteX175" fmla="*/ 3426187 w 7047790"/>
              <a:gd name="connsiteY175" fmla="*/ 2412207 h 4841875"/>
              <a:gd name="connsiteX176" fmla="*/ 3431866 w 7047790"/>
              <a:gd name="connsiteY176" fmla="*/ 2415382 h 4841875"/>
              <a:gd name="connsiteX177" fmla="*/ 3436543 w 7047790"/>
              <a:gd name="connsiteY177" fmla="*/ 2418874 h 4841875"/>
              <a:gd name="connsiteX178" fmla="*/ 3441554 w 7047790"/>
              <a:gd name="connsiteY178" fmla="*/ 2422684 h 4841875"/>
              <a:gd name="connsiteX179" fmla="*/ 3446565 w 7047790"/>
              <a:gd name="connsiteY179" fmla="*/ 2426811 h 4841875"/>
              <a:gd name="connsiteX180" fmla="*/ 3450908 w 7047790"/>
              <a:gd name="connsiteY180" fmla="*/ 2431256 h 4841875"/>
              <a:gd name="connsiteX181" fmla="*/ 4169819 w 7047790"/>
              <a:gd name="connsiteY181" fmla="*/ 3149076 h 4841875"/>
              <a:gd name="connsiteX182" fmla="*/ 4174496 w 7047790"/>
              <a:gd name="connsiteY182" fmla="*/ 3153521 h 4841875"/>
              <a:gd name="connsiteX183" fmla="*/ 4179173 w 7047790"/>
              <a:gd name="connsiteY183" fmla="*/ 3157648 h 4841875"/>
              <a:gd name="connsiteX184" fmla="*/ 4184184 w 7047790"/>
              <a:gd name="connsiteY184" fmla="*/ 3161458 h 4841875"/>
              <a:gd name="connsiteX185" fmla="*/ 4189195 w 7047790"/>
              <a:gd name="connsiteY185" fmla="*/ 3164950 h 4841875"/>
              <a:gd name="connsiteX186" fmla="*/ 4194540 w 7047790"/>
              <a:gd name="connsiteY186" fmla="*/ 3168442 h 4841875"/>
              <a:gd name="connsiteX187" fmla="*/ 4199551 w 7047790"/>
              <a:gd name="connsiteY187" fmla="*/ 3170982 h 4841875"/>
              <a:gd name="connsiteX188" fmla="*/ 4204896 w 7047790"/>
              <a:gd name="connsiteY188" fmla="*/ 3173840 h 4841875"/>
              <a:gd name="connsiteX189" fmla="*/ 4210576 w 7047790"/>
              <a:gd name="connsiteY189" fmla="*/ 3176062 h 4841875"/>
              <a:gd name="connsiteX190" fmla="*/ 4216255 w 7047790"/>
              <a:gd name="connsiteY190" fmla="*/ 3178284 h 4841875"/>
              <a:gd name="connsiteX191" fmla="*/ 4221934 w 7047790"/>
              <a:gd name="connsiteY191" fmla="*/ 3180189 h 4841875"/>
              <a:gd name="connsiteX192" fmla="*/ 4227613 w 7047790"/>
              <a:gd name="connsiteY192" fmla="*/ 3181776 h 4841875"/>
              <a:gd name="connsiteX193" fmla="*/ 4233292 w 7047790"/>
              <a:gd name="connsiteY193" fmla="*/ 3183046 h 4841875"/>
              <a:gd name="connsiteX194" fmla="*/ 4239305 w 7047790"/>
              <a:gd name="connsiteY194" fmla="*/ 3183999 h 4841875"/>
              <a:gd name="connsiteX195" fmla="*/ 4244984 w 7047790"/>
              <a:gd name="connsiteY195" fmla="*/ 3184634 h 4841875"/>
              <a:gd name="connsiteX196" fmla="*/ 4250998 w 7047790"/>
              <a:gd name="connsiteY196" fmla="*/ 3184951 h 4841875"/>
              <a:gd name="connsiteX197" fmla="*/ 4257011 w 7047790"/>
              <a:gd name="connsiteY197" fmla="*/ 3185269 h 4841875"/>
              <a:gd name="connsiteX198" fmla="*/ 4263024 w 7047790"/>
              <a:gd name="connsiteY198" fmla="*/ 3184951 h 4841875"/>
              <a:gd name="connsiteX199" fmla="*/ 4268703 w 7047790"/>
              <a:gd name="connsiteY199" fmla="*/ 3184634 h 4841875"/>
              <a:gd name="connsiteX200" fmla="*/ 4274382 w 7047790"/>
              <a:gd name="connsiteY200" fmla="*/ 3183999 h 4841875"/>
              <a:gd name="connsiteX201" fmla="*/ 4280395 w 7047790"/>
              <a:gd name="connsiteY201" fmla="*/ 3183046 h 4841875"/>
              <a:gd name="connsiteX202" fmla="*/ 4286075 w 7047790"/>
              <a:gd name="connsiteY202" fmla="*/ 3181776 h 4841875"/>
              <a:gd name="connsiteX203" fmla="*/ 4292088 w 7047790"/>
              <a:gd name="connsiteY203" fmla="*/ 3180189 h 4841875"/>
              <a:gd name="connsiteX204" fmla="*/ 4297767 w 7047790"/>
              <a:gd name="connsiteY204" fmla="*/ 3178284 h 4841875"/>
              <a:gd name="connsiteX205" fmla="*/ 4303446 w 7047790"/>
              <a:gd name="connsiteY205" fmla="*/ 3176062 h 4841875"/>
              <a:gd name="connsiteX206" fmla="*/ 4308791 w 7047790"/>
              <a:gd name="connsiteY206" fmla="*/ 3173840 h 4841875"/>
              <a:gd name="connsiteX207" fmla="*/ 4314136 w 7047790"/>
              <a:gd name="connsiteY207" fmla="*/ 3170982 h 4841875"/>
              <a:gd name="connsiteX208" fmla="*/ 4319815 w 7047790"/>
              <a:gd name="connsiteY208" fmla="*/ 3168442 h 4841875"/>
              <a:gd name="connsiteX209" fmla="*/ 4324826 w 7047790"/>
              <a:gd name="connsiteY209" fmla="*/ 3164950 h 4841875"/>
              <a:gd name="connsiteX210" fmla="*/ 4329503 w 7047790"/>
              <a:gd name="connsiteY210" fmla="*/ 3161458 h 4841875"/>
              <a:gd name="connsiteX211" fmla="*/ 4334848 w 7047790"/>
              <a:gd name="connsiteY211" fmla="*/ 3157648 h 4841875"/>
              <a:gd name="connsiteX212" fmla="*/ 4339525 w 7047790"/>
              <a:gd name="connsiteY212" fmla="*/ 3153521 h 4841875"/>
              <a:gd name="connsiteX213" fmla="*/ 4344202 w 7047790"/>
              <a:gd name="connsiteY213" fmla="*/ 3149076 h 4841875"/>
              <a:gd name="connsiteX214" fmla="*/ 4348545 w 7047790"/>
              <a:gd name="connsiteY214" fmla="*/ 3144631 h 4841875"/>
              <a:gd name="connsiteX215" fmla="*/ 4352554 w 7047790"/>
              <a:gd name="connsiteY215" fmla="*/ 3139869 h 4841875"/>
              <a:gd name="connsiteX216" fmla="*/ 4356228 w 7047790"/>
              <a:gd name="connsiteY216" fmla="*/ 3134790 h 4841875"/>
              <a:gd name="connsiteX217" fmla="*/ 4359903 w 7047790"/>
              <a:gd name="connsiteY217" fmla="*/ 3130027 h 4841875"/>
              <a:gd name="connsiteX218" fmla="*/ 4363244 w 7047790"/>
              <a:gd name="connsiteY218" fmla="*/ 3124948 h 4841875"/>
              <a:gd name="connsiteX219" fmla="*/ 4365916 w 7047790"/>
              <a:gd name="connsiteY219" fmla="*/ 3119551 h 4841875"/>
              <a:gd name="connsiteX220" fmla="*/ 4368589 w 7047790"/>
              <a:gd name="connsiteY220" fmla="*/ 3113836 h 4841875"/>
              <a:gd name="connsiteX221" fmla="*/ 4371261 w 7047790"/>
              <a:gd name="connsiteY221" fmla="*/ 3108439 h 4841875"/>
              <a:gd name="connsiteX222" fmla="*/ 4373266 w 7047790"/>
              <a:gd name="connsiteY222" fmla="*/ 3103042 h 4841875"/>
              <a:gd name="connsiteX223" fmla="*/ 4375270 w 7047790"/>
              <a:gd name="connsiteY223" fmla="*/ 3097010 h 4841875"/>
              <a:gd name="connsiteX224" fmla="*/ 4376606 w 7047790"/>
              <a:gd name="connsiteY224" fmla="*/ 3091295 h 4841875"/>
              <a:gd name="connsiteX225" fmla="*/ 4377943 w 7047790"/>
              <a:gd name="connsiteY225" fmla="*/ 3085580 h 4841875"/>
              <a:gd name="connsiteX226" fmla="*/ 4378945 w 7047790"/>
              <a:gd name="connsiteY226" fmla="*/ 3079866 h 4841875"/>
              <a:gd name="connsiteX227" fmla="*/ 4379613 w 7047790"/>
              <a:gd name="connsiteY227" fmla="*/ 3073834 h 4841875"/>
              <a:gd name="connsiteX228" fmla="*/ 4379947 w 7047790"/>
              <a:gd name="connsiteY228" fmla="*/ 3068119 h 4841875"/>
              <a:gd name="connsiteX229" fmla="*/ 4380281 w 7047790"/>
              <a:gd name="connsiteY229" fmla="*/ 3062404 h 4841875"/>
              <a:gd name="connsiteX230" fmla="*/ 4379947 w 7047790"/>
              <a:gd name="connsiteY230" fmla="*/ 3056055 h 4841875"/>
              <a:gd name="connsiteX231" fmla="*/ 4379613 w 7047790"/>
              <a:gd name="connsiteY231" fmla="*/ 3050340 h 4841875"/>
              <a:gd name="connsiteX232" fmla="*/ 4378945 w 7047790"/>
              <a:gd name="connsiteY232" fmla="*/ 3044625 h 4841875"/>
              <a:gd name="connsiteX233" fmla="*/ 4377943 w 7047790"/>
              <a:gd name="connsiteY233" fmla="*/ 3038593 h 4841875"/>
              <a:gd name="connsiteX234" fmla="*/ 4376606 w 7047790"/>
              <a:gd name="connsiteY234" fmla="*/ 3032879 h 4841875"/>
              <a:gd name="connsiteX235" fmla="*/ 4375270 w 7047790"/>
              <a:gd name="connsiteY235" fmla="*/ 3027164 h 4841875"/>
              <a:gd name="connsiteX236" fmla="*/ 4373266 w 7047790"/>
              <a:gd name="connsiteY236" fmla="*/ 3021449 h 4841875"/>
              <a:gd name="connsiteX237" fmla="*/ 4371261 w 7047790"/>
              <a:gd name="connsiteY237" fmla="*/ 3015735 h 4841875"/>
              <a:gd name="connsiteX238" fmla="*/ 4368589 w 7047790"/>
              <a:gd name="connsiteY238" fmla="*/ 3010338 h 4841875"/>
              <a:gd name="connsiteX239" fmla="*/ 4365916 w 7047790"/>
              <a:gd name="connsiteY239" fmla="*/ 3004941 h 4841875"/>
              <a:gd name="connsiteX240" fmla="*/ 4363244 w 7047790"/>
              <a:gd name="connsiteY240" fmla="*/ 2999543 h 4841875"/>
              <a:gd name="connsiteX241" fmla="*/ 4359903 w 7047790"/>
              <a:gd name="connsiteY241" fmla="*/ 2994464 h 4841875"/>
              <a:gd name="connsiteX242" fmla="*/ 4356228 w 7047790"/>
              <a:gd name="connsiteY242" fmla="*/ 2989384 h 4841875"/>
              <a:gd name="connsiteX243" fmla="*/ 4352554 w 7047790"/>
              <a:gd name="connsiteY243" fmla="*/ 2984622 h 4841875"/>
              <a:gd name="connsiteX244" fmla="*/ 4348545 w 7047790"/>
              <a:gd name="connsiteY244" fmla="*/ 2979860 h 4841875"/>
              <a:gd name="connsiteX245" fmla="*/ 4344202 w 7047790"/>
              <a:gd name="connsiteY245" fmla="*/ 2975098 h 4841875"/>
              <a:gd name="connsiteX246" fmla="*/ 4244650 w 7047790"/>
              <a:gd name="connsiteY246" fmla="*/ 2875727 h 4841875"/>
              <a:gd name="connsiteX247" fmla="*/ 3995771 w 7047790"/>
              <a:gd name="connsiteY247" fmla="*/ 2627140 h 4841875"/>
              <a:gd name="connsiteX248" fmla="*/ 3991428 w 7047790"/>
              <a:gd name="connsiteY248" fmla="*/ 2622696 h 4841875"/>
              <a:gd name="connsiteX249" fmla="*/ 3987419 w 7047790"/>
              <a:gd name="connsiteY249" fmla="*/ 2617933 h 4841875"/>
              <a:gd name="connsiteX250" fmla="*/ 3983410 w 7047790"/>
              <a:gd name="connsiteY250" fmla="*/ 2613171 h 4841875"/>
              <a:gd name="connsiteX251" fmla="*/ 3980070 w 7047790"/>
              <a:gd name="connsiteY251" fmla="*/ 2608092 h 4841875"/>
              <a:gd name="connsiteX252" fmla="*/ 3977063 w 7047790"/>
              <a:gd name="connsiteY252" fmla="*/ 2603012 h 4841875"/>
              <a:gd name="connsiteX253" fmla="*/ 3973722 w 7047790"/>
              <a:gd name="connsiteY253" fmla="*/ 2597297 h 4841875"/>
              <a:gd name="connsiteX254" fmla="*/ 3971050 w 7047790"/>
              <a:gd name="connsiteY254" fmla="*/ 2591900 h 4841875"/>
              <a:gd name="connsiteX255" fmla="*/ 3968711 w 7047790"/>
              <a:gd name="connsiteY255" fmla="*/ 2586503 h 4841875"/>
              <a:gd name="connsiteX256" fmla="*/ 3966707 w 7047790"/>
              <a:gd name="connsiteY256" fmla="*/ 2581106 h 4841875"/>
              <a:gd name="connsiteX257" fmla="*/ 3965037 w 7047790"/>
              <a:gd name="connsiteY257" fmla="*/ 2575074 h 4841875"/>
              <a:gd name="connsiteX258" fmla="*/ 3963366 w 7047790"/>
              <a:gd name="connsiteY258" fmla="*/ 2569677 h 4841875"/>
              <a:gd name="connsiteX259" fmla="*/ 3962030 w 7047790"/>
              <a:gd name="connsiteY259" fmla="*/ 2563962 h 4841875"/>
              <a:gd name="connsiteX260" fmla="*/ 3961028 w 7047790"/>
              <a:gd name="connsiteY260" fmla="*/ 2558247 h 4841875"/>
              <a:gd name="connsiteX261" fmla="*/ 3960026 w 7047790"/>
              <a:gd name="connsiteY261" fmla="*/ 2551898 h 4841875"/>
              <a:gd name="connsiteX262" fmla="*/ 3959691 w 7047790"/>
              <a:gd name="connsiteY262" fmla="*/ 2546183 h 4841875"/>
              <a:gd name="connsiteX263" fmla="*/ 3959691 w 7047790"/>
              <a:gd name="connsiteY263" fmla="*/ 2540469 h 4841875"/>
              <a:gd name="connsiteX264" fmla="*/ 3959691 w 7047790"/>
              <a:gd name="connsiteY264" fmla="*/ 2534436 h 4841875"/>
              <a:gd name="connsiteX265" fmla="*/ 3960026 w 7047790"/>
              <a:gd name="connsiteY265" fmla="*/ 2528404 h 4841875"/>
              <a:gd name="connsiteX266" fmla="*/ 3961028 w 7047790"/>
              <a:gd name="connsiteY266" fmla="*/ 2522690 h 4841875"/>
              <a:gd name="connsiteX267" fmla="*/ 3962030 w 7047790"/>
              <a:gd name="connsiteY267" fmla="*/ 2516658 h 4841875"/>
              <a:gd name="connsiteX268" fmla="*/ 3963366 w 7047790"/>
              <a:gd name="connsiteY268" fmla="*/ 2510943 h 4841875"/>
              <a:gd name="connsiteX269" fmla="*/ 3965037 w 7047790"/>
              <a:gd name="connsiteY269" fmla="*/ 2505228 h 4841875"/>
              <a:gd name="connsiteX270" fmla="*/ 3966707 w 7047790"/>
              <a:gd name="connsiteY270" fmla="*/ 2499514 h 4841875"/>
              <a:gd name="connsiteX271" fmla="*/ 3968711 w 7047790"/>
              <a:gd name="connsiteY271" fmla="*/ 2494117 h 4841875"/>
              <a:gd name="connsiteX272" fmla="*/ 3971050 w 7047790"/>
              <a:gd name="connsiteY272" fmla="*/ 2488402 h 4841875"/>
              <a:gd name="connsiteX273" fmla="*/ 3973722 w 7047790"/>
              <a:gd name="connsiteY273" fmla="*/ 2483322 h 4841875"/>
              <a:gd name="connsiteX274" fmla="*/ 3977063 w 7047790"/>
              <a:gd name="connsiteY274" fmla="*/ 2477608 h 4841875"/>
              <a:gd name="connsiteX275" fmla="*/ 3980070 w 7047790"/>
              <a:gd name="connsiteY275" fmla="*/ 2472528 h 4841875"/>
              <a:gd name="connsiteX276" fmla="*/ 3983410 w 7047790"/>
              <a:gd name="connsiteY276" fmla="*/ 2467448 h 4841875"/>
              <a:gd name="connsiteX277" fmla="*/ 3987419 w 7047790"/>
              <a:gd name="connsiteY277" fmla="*/ 2462686 h 4841875"/>
              <a:gd name="connsiteX278" fmla="*/ 3991428 w 7047790"/>
              <a:gd name="connsiteY278" fmla="*/ 2457924 h 4841875"/>
              <a:gd name="connsiteX279" fmla="*/ 3995771 w 7047790"/>
              <a:gd name="connsiteY279" fmla="*/ 2453162 h 4841875"/>
              <a:gd name="connsiteX280" fmla="*/ 4000448 w 7047790"/>
              <a:gd name="connsiteY280" fmla="*/ 2449035 h 4841875"/>
              <a:gd name="connsiteX281" fmla="*/ 4005459 w 7047790"/>
              <a:gd name="connsiteY281" fmla="*/ 2444907 h 4841875"/>
              <a:gd name="connsiteX282" fmla="*/ 4010135 w 7047790"/>
              <a:gd name="connsiteY282" fmla="*/ 2441098 h 4841875"/>
              <a:gd name="connsiteX283" fmla="*/ 4015146 w 7047790"/>
              <a:gd name="connsiteY283" fmla="*/ 2437288 h 4841875"/>
              <a:gd name="connsiteX284" fmla="*/ 4020492 w 7047790"/>
              <a:gd name="connsiteY284" fmla="*/ 2434430 h 4841875"/>
              <a:gd name="connsiteX285" fmla="*/ 4025503 w 7047790"/>
              <a:gd name="connsiteY285" fmla="*/ 2431256 h 4841875"/>
              <a:gd name="connsiteX286" fmla="*/ 4031182 w 7047790"/>
              <a:gd name="connsiteY286" fmla="*/ 2428398 h 4841875"/>
              <a:gd name="connsiteX287" fmla="*/ 4036527 w 7047790"/>
              <a:gd name="connsiteY287" fmla="*/ 2426176 h 4841875"/>
              <a:gd name="connsiteX288" fmla="*/ 4042206 w 7047790"/>
              <a:gd name="connsiteY288" fmla="*/ 2423954 h 4841875"/>
              <a:gd name="connsiteX289" fmla="*/ 4047885 w 7047790"/>
              <a:gd name="connsiteY289" fmla="*/ 2422366 h 4841875"/>
              <a:gd name="connsiteX290" fmla="*/ 4053564 w 7047790"/>
              <a:gd name="connsiteY290" fmla="*/ 2420461 h 4841875"/>
              <a:gd name="connsiteX291" fmla="*/ 4059577 w 7047790"/>
              <a:gd name="connsiteY291" fmla="*/ 2419509 h 4841875"/>
              <a:gd name="connsiteX292" fmla="*/ 4065256 w 7047790"/>
              <a:gd name="connsiteY292" fmla="*/ 2418557 h 4841875"/>
              <a:gd name="connsiteX293" fmla="*/ 4071270 w 7047790"/>
              <a:gd name="connsiteY293" fmla="*/ 2417922 h 4841875"/>
              <a:gd name="connsiteX294" fmla="*/ 4076949 w 7047790"/>
              <a:gd name="connsiteY294" fmla="*/ 2417287 h 4841875"/>
              <a:gd name="connsiteX295" fmla="*/ 4082962 w 7047790"/>
              <a:gd name="connsiteY295" fmla="*/ 2417287 h 4841875"/>
              <a:gd name="connsiteX296" fmla="*/ 4088975 w 7047790"/>
              <a:gd name="connsiteY296" fmla="*/ 2417287 h 4841875"/>
              <a:gd name="connsiteX297" fmla="*/ 4094654 w 7047790"/>
              <a:gd name="connsiteY297" fmla="*/ 2417922 h 4841875"/>
              <a:gd name="connsiteX298" fmla="*/ 4100668 w 7047790"/>
              <a:gd name="connsiteY298" fmla="*/ 2418557 h 4841875"/>
              <a:gd name="connsiteX299" fmla="*/ 4106347 w 7047790"/>
              <a:gd name="connsiteY299" fmla="*/ 2419509 h 4841875"/>
              <a:gd name="connsiteX300" fmla="*/ 4112360 w 7047790"/>
              <a:gd name="connsiteY300" fmla="*/ 2420461 h 4841875"/>
              <a:gd name="connsiteX301" fmla="*/ 4118039 w 7047790"/>
              <a:gd name="connsiteY301" fmla="*/ 2422366 h 4841875"/>
              <a:gd name="connsiteX302" fmla="*/ 4123718 w 7047790"/>
              <a:gd name="connsiteY302" fmla="*/ 2423954 h 4841875"/>
              <a:gd name="connsiteX303" fmla="*/ 4129397 w 7047790"/>
              <a:gd name="connsiteY303" fmla="*/ 2426176 h 4841875"/>
              <a:gd name="connsiteX304" fmla="*/ 4134742 w 7047790"/>
              <a:gd name="connsiteY304" fmla="*/ 2428398 h 4841875"/>
              <a:gd name="connsiteX305" fmla="*/ 4140421 w 7047790"/>
              <a:gd name="connsiteY305" fmla="*/ 2431256 h 4841875"/>
              <a:gd name="connsiteX306" fmla="*/ 4145767 w 7047790"/>
              <a:gd name="connsiteY306" fmla="*/ 2434430 h 4841875"/>
              <a:gd name="connsiteX307" fmla="*/ 4150778 w 7047790"/>
              <a:gd name="connsiteY307" fmla="*/ 2437288 h 4841875"/>
              <a:gd name="connsiteX308" fmla="*/ 4155789 w 7047790"/>
              <a:gd name="connsiteY308" fmla="*/ 2441098 h 4841875"/>
              <a:gd name="connsiteX309" fmla="*/ 4160800 w 7047790"/>
              <a:gd name="connsiteY309" fmla="*/ 2444907 h 4841875"/>
              <a:gd name="connsiteX310" fmla="*/ 4165476 w 7047790"/>
              <a:gd name="connsiteY310" fmla="*/ 2449035 h 4841875"/>
              <a:gd name="connsiteX311" fmla="*/ 4170153 w 7047790"/>
              <a:gd name="connsiteY311" fmla="*/ 2453162 h 4841875"/>
              <a:gd name="connsiteX312" fmla="*/ 4969908 w 7047790"/>
              <a:gd name="connsiteY312" fmla="*/ 3252257 h 4841875"/>
              <a:gd name="connsiteX313" fmla="*/ 6561736 w 7047790"/>
              <a:gd name="connsiteY313" fmla="*/ 4841875 h 4841875"/>
              <a:gd name="connsiteX314" fmla="*/ 6561736 w 7047790"/>
              <a:gd name="connsiteY314" fmla="*/ 4559209 h 4841875"/>
              <a:gd name="connsiteX315" fmla="*/ 6561736 w 7047790"/>
              <a:gd name="connsiteY315" fmla="*/ 0 h 4841875"/>
              <a:gd name="connsiteX0" fmla="*/ 6561736 w 6561736"/>
              <a:gd name="connsiteY0" fmla="*/ 0 h 4841875"/>
              <a:gd name="connsiteX1" fmla="*/ 0 w 6561736"/>
              <a:gd name="connsiteY1" fmla="*/ 0 h 4841875"/>
              <a:gd name="connsiteX2" fmla="*/ 2696252 w 6561736"/>
              <a:gd name="connsiteY2" fmla="*/ 2688414 h 4841875"/>
              <a:gd name="connsiteX3" fmla="*/ 2695583 w 6561736"/>
              <a:gd name="connsiteY3" fmla="*/ 2681112 h 4841875"/>
              <a:gd name="connsiteX4" fmla="*/ 2694915 w 6561736"/>
              <a:gd name="connsiteY4" fmla="*/ 2674127 h 4841875"/>
              <a:gd name="connsiteX5" fmla="*/ 2694915 w 6561736"/>
              <a:gd name="connsiteY5" fmla="*/ 2667143 h 4841875"/>
              <a:gd name="connsiteX6" fmla="*/ 2695249 w 6561736"/>
              <a:gd name="connsiteY6" fmla="*/ 2660158 h 4841875"/>
              <a:gd name="connsiteX7" fmla="*/ 2695918 w 6561736"/>
              <a:gd name="connsiteY7" fmla="*/ 2652856 h 4841875"/>
              <a:gd name="connsiteX8" fmla="*/ 2696920 w 6561736"/>
              <a:gd name="connsiteY8" fmla="*/ 2645872 h 4841875"/>
              <a:gd name="connsiteX9" fmla="*/ 2698590 w 6561736"/>
              <a:gd name="connsiteY9" fmla="*/ 2638887 h 4841875"/>
              <a:gd name="connsiteX10" fmla="*/ 2700260 w 6561736"/>
              <a:gd name="connsiteY10" fmla="*/ 2631903 h 4841875"/>
              <a:gd name="connsiteX11" fmla="*/ 2702599 w 6561736"/>
              <a:gd name="connsiteY11" fmla="*/ 2625235 h 4841875"/>
              <a:gd name="connsiteX12" fmla="*/ 2705605 w 6561736"/>
              <a:gd name="connsiteY12" fmla="*/ 2618568 h 4841875"/>
              <a:gd name="connsiteX13" fmla="*/ 2708946 w 6561736"/>
              <a:gd name="connsiteY13" fmla="*/ 2612219 h 4841875"/>
              <a:gd name="connsiteX14" fmla="*/ 2712287 w 6561736"/>
              <a:gd name="connsiteY14" fmla="*/ 2605552 h 4841875"/>
              <a:gd name="connsiteX15" fmla="*/ 2716296 w 6561736"/>
              <a:gd name="connsiteY15" fmla="*/ 2599520 h 4841875"/>
              <a:gd name="connsiteX16" fmla="*/ 2720973 w 6561736"/>
              <a:gd name="connsiteY16" fmla="*/ 2593488 h 4841875"/>
              <a:gd name="connsiteX17" fmla="*/ 2725649 w 6561736"/>
              <a:gd name="connsiteY17" fmla="*/ 2587773 h 4841875"/>
              <a:gd name="connsiteX18" fmla="*/ 2730660 w 6561736"/>
              <a:gd name="connsiteY18" fmla="*/ 2582058 h 4841875"/>
              <a:gd name="connsiteX19" fmla="*/ 2735337 w 6561736"/>
              <a:gd name="connsiteY19" fmla="*/ 2577931 h 4841875"/>
              <a:gd name="connsiteX20" fmla="*/ 2740014 w 6561736"/>
              <a:gd name="connsiteY20" fmla="*/ 2573804 h 4841875"/>
              <a:gd name="connsiteX21" fmla="*/ 2745025 w 6561736"/>
              <a:gd name="connsiteY21" fmla="*/ 2569994 h 4841875"/>
              <a:gd name="connsiteX22" fmla="*/ 2750036 w 6561736"/>
              <a:gd name="connsiteY22" fmla="*/ 2566184 h 4841875"/>
              <a:gd name="connsiteX23" fmla="*/ 2755381 w 6561736"/>
              <a:gd name="connsiteY23" fmla="*/ 2563327 h 4841875"/>
              <a:gd name="connsiteX24" fmla="*/ 2760726 w 6561736"/>
              <a:gd name="connsiteY24" fmla="*/ 2560152 h 4841875"/>
              <a:gd name="connsiteX25" fmla="*/ 2766072 w 6561736"/>
              <a:gd name="connsiteY25" fmla="*/ 2557295 h 4841875"/>
              <a:gd name="connsiteX26" fmla="*/ 2771417 w 6561736"/>
              <a:gd name="connsiteY26" fmla="*/ 2555073 h 4841875"/>
              <a:gd name="connsiteX27" fmla="*/ 2777096 w 6561736"/>
              <a:gd name="connsiteY27" fmla="*/ 2552850 h 4841875"/>
              <a:gd name="connsiteX28" fmla="*/ 2782775 w 6561736"/>
              <a:gd name="connsiteY28" fmla="*/ 2551263 h 4841875"/>
              <a:gd name="connsiteX29" fmla="*/ 2788788 w 6561736"/>
              <a:gd name="connsiteY29" fmla="*/ 2549675 h 4841875"/>
              <a:gd name="connsiteX30" fmla="*/ 2794467 w 6561736"/>
              <a:gd name="connsiteY30" fmla="*/ 2548406 h 4841875"/>
              <a:gd name="connsiteX31" fmla="*/ 2800146 w 6561736"/>
              <a:gd name="connsiteY31" fmla="*/ 2547453 h 4841875"/>
              <a:gd name="connsiteX32" fmla="*/ 2806159 w 6561736"/>
              <a:gd name="connsiteY32" fmla="*/ 2546818 h 4841875"/>
              <a:gd name="connsiteX33" fmla="*/ 2811839 w 6561736"/>
              <a:gd name="connsiteY33" fmla="*/ 2546183 h 4841875"/>
              <a:gd name="connsiteX34" fmla="*/ 2817852 w 6561736"/>
              <a:gd name="connsiteY34" fmla="*/ 2546183 h 4841875"/>
              <a:gd name="connsiteX35" fmla="*/ 2823865 w 6561736"/>
              <a:gd name="connsiteY35" fmla="*/ 2546183 h 4841875"/>
              <a:gd name="connsiteX36" fmla="*/ 2829878 w 6561736"/>
              <a:gd name="connsiteY36" fmla="*/ 2546818 h 4841875"/>
              <a:gd name="connsiteX37" fmla="*/ 2835557 w 6561736"/>
              <a:gd name="connsiteY37" fmla="*/ 2547453 h 4841875"/>
              <a:gd name="connsiteX38" fmla="*/ 2841236 w 6561736"/>
              <a:gd name="connsiteY38" fmla="*/ 2548406 h 4841875"/>
              <a:gd name="connsiteX39" fmla="*/ 2847250 w 6561736"/>
              <a:gd name="connsiteY39" fmla="*/ 2549675 h 4841875"/>
              <a:gd name="connsiteX40" fmla="*/ 2852929 w 6561736"/>
              <a:gd name="connsiteY40" fmla="*/ 2551263 h 4841875"/>
              <a:gd name="connsiteX41" fmla="*/ 2858608 w 6561736"/>
              <a:gd name="connsiteY41" fmla="*/ 2552850 h 4841875"/>
              <a:gd name="connsiteX42" fmla="*/ 2864287 w 6561736"/>
              <a:gd name="connsiteY42" fmla="*/ 2555073 h 4841875"/>
              <a:gd name="connsiteX43" fmla="*/ 2869966 w 6561736"/>
              <a:gd name="connsiteY43" fmla="*/ 2557295 h 4841875"/>
              <a:gd name="connsiteX44" fmla="*/ 2875311 w 6561736"/>
              <a:gd name="connsiteY44" fmla="*/ 2560152 h 4841875"/>
              <a:gd name="connsiteX45" fmla="*/ 2880322 w 6561736"/>
              <a:gd name="connsiteY45" fmla="*/ 2563327 h 4841875"/>
              <a:gd name="connsiteX46" fmla="*/ 2885667 w 6561736"/>
              <a:gd name="connsiteY46" fmla="*/ 2566184 h 4841875"/>
              <a:gd name="connsiteX47" fmla="*/ 2890678 w 6561736"/>
              <a:gd name="connsiteY47" fmla="*/ 2569994 h 4841875"/>
              <a:gd name="connsiteX48" fmla="*/ 2895689 w 6561736"/>
              <a:gd name="connsiteY48" fmla="*/ 2573804 h 4841875"/>
              <a:gd name="connsiteX49" fmla="*/ 2900366 w 6561736"/>
              <a:gd name="connsiteY49" fmla="*/ 2577931 h 4841875"/>
              <a:gd name="connsiteX50" fmla="*/ 2905043 w 6561736"/>
              <a:gd name="connsiteY50" fmla="*/ 2582058 h 4841875"/>
              <a:gd name="connsiteX51" fmla="*/ 4398989 w 6561736"/>
              <a:gd name="connsiteY51" fmla="*/ 4073893 h 4841875"/>
              <a:gd name="connsiteX52" fmla="*/ 4403332 w 6561736"/>
              <a:gd name="connsiteY52" fmla="*/ 4078338 h 4841875"/>
              <a:gd name="connsiteX53" fmla="*/ 4408009 w 6561736"/>
              <a:gd name="connsiteY53" fmla="*/ 4082465 h 4841875"/>
              <a:gd name="connsiteX54" fmla="*/ 4413020 w 6561736"/>
              <a:gd name="connsiteY54" fmla="*/ 4086275 h 4841875"/>
              <a:gd name="connsiteX55" fmla="*/ 4418031 w 6561736"/>
              <a:gd name="connsiteY55" fmla="*/ 4089767 h 4841875"/>
              <a:gd name="connsiteX56" fmla="*/ 4423042 w 6561736"/>
              <a:gd name="connsiteY56" fmla="*/ 4093259 h 4841875"/>
              <a:gd name="connsiteX57" fmla="*/ 4428721 w 6561736"/>
              <a:gd name="connsiteY57" fmla="*/ 4095799 h 4841875"/>
              <a:gd name="connsiteX58" fmla="*/ 4433732 w 6561736"/>
              <a:gd name="connsiteY58" fmla="*/ 4098656 h 4841875"/>
              <a:gd name="connsiteX59" fmla="*/ 4439745 w 6561736"/>
              <a:gd name="connsiteY59" fmla="*/ 4101196 h 4841875"/>
              <a:gd name="connsiteX60" fmla="*/ 4445090 w 6561736"/>
              <a:gd name="connsiteY60" fmla="*/ 4103101 h 4841875"/>
              <a:gd name="connsiteX61" fmla="*/ 4450769 w 6561736"/>
              <a:gd name="connsiteY61" fmla="*/ 4105006 h 4841875"/>
              <a:gd name="connsiteX62" fmla="*/ 4456449 w 6561736"/>
              <a:gd name="connsiteY62" fmla="*/ 4106593 h 4841875"/>
              <a:gd name="connsiteX63" fmla="*/ 4462127 w 6561736"/>
              <a:gd name="connsiteY63" fmla="*/ 4107863 h 4841875"/>
              <a:gd name="connsiteX64" fmla="*/ 4468140 w 6561736"/>
              <a:gd name="connsiteY64" fmla="*/ 4108816 h 4841875"/>
              <a:gd name="connsiteX65" fmla="*/ 4474154 w 6561736"/>
              <a:gd name="connsiteY65" fmla="*/ 4109451 h 4841875"/>
              <a:gd name="connsiteX66" fmla="*/ 4480167 w 6561736"/>
              <a:gd name="connsiteY66" fmla="*/ 4110086 h 4841875"/>
              <a:gd name="connsiteX67" fmla="*/ 4485846 w 6561736"/>
              <a:gd name="connsiteY67" fmla="*/ 4110086 h 4841875"/>
              <a:gd name="connsiteX68" fmla="*/ 4491526 w 6561736"/>
              <a:gd name="connsiteY68" fmla="*/ 4110086 h 4841875"/>
              <a:gd name="connsiteX69" fmla="*/ 4497538 w 6561736"/>
              <a:gd name="connsiteY69" fmla="*/ 4109451 h 4841875"/>
              <a:gd name="connsiteX70" fmla="*/ 4503551 w 6561736"/>
              <a:gd name="connsiteY70" fmla="*/ 4108816 h 4841875"/>
              <a:gd name="connsiteX71" fmla="*/ 4509565 w 6561736"/>
              <a:gd name="connsiteY71" fmla="*/ 4107863 h 4841875"/>
              <a:gd name="connsiteX72" fmla="*/ 4515244 w 6561736"/>
              <a:gd name="connsiteY72" fmla="*/ 4106593 h 4841875"/>
              <a:gd name="connsiteX73" fmla="*/ 4520589 w 6561736"/>
              <a:gd name="connsiteY73" fmla="*/ 4105006 h 4841875"/>
              <a:gd name="connsiteX74" fmla="*/ 4526602 w 6561736"/>
              <a:gd name="connsiteY74" fmla="*/ 4103101 h 4841875"/>
              <a:gd name="connsiteX75" fmla="*/ 4531948 w 6561736"/>
              <a:gd name="connsiteY75" fmla="*/ 4101196 h 4841875"/>
              <a:gd name="connsiteX76" fmla="*/ 4537960 w 6561736"/>
              <a:gd name="connsiteY76" fmla="*/ 4098656 h 4841875"/>
              <a:gd name="connsiteX77" fmla="*/ 4542971 w 6561736"/>
              <a:gd name="connsiteY77" fmla="*/ 4095799 h 4841875"/>
              <a:gd name="connsiteX78" fmla="*/ 4548650 w 6561736"/>
              <a:gd name="connsiteY78" fmla="*/ 4093259 h 4841875"/>
              <a:gd name="connsiteX79" fmla="*/ 4553661 w 6561736"/>
              <a:gd name="connsiteY79" fmla="*/ 4089767 h 4841875"/>
              <a:gd name="connsiteX80" fmla="*/ 4558672 w 6561736"/>
              <a:gd name="connsiteY80" fmla="*/ 4086275 h 4841875"/>
              <a:gd name="connsiteX81" fmla="*/ 4563683 w 6561736"/>
              <a:gd name="connsiteY81" fmla="*/ 4082465 h 4841875"/>
              <a:gd name="connsiteX82" fmla="*/ 4568360 w 6561736"/>
              <a:gd name="connsiteY82" fmla="*/ 4078338 h 4841875"/>
              <a:gd name="connsiteX83" fmla="*/ 4572704 w 6561736"/>
              <a:gd name="connsiteY83" fmla="*/ 4073893 h 4841875"/>
              <a:gd name="connsiteX84" fmla="*/ 4577381 w 6561736"/>
              <a:gd name="connsiteY84" fmla="*/ 4069448 h 4841875"/>
              <a:gd name="connsiteX85" fmla="*/ 4581389 w 6561736"/>
              <a:gd name="connsiteY85" fmla="*/ 4064686 h 4841875"/>
              <a:gd name="connsiteX86" fmla="*/ 4585064 w 6561736"/>
              <a:gd name="connsiteY86" fmla="*/ 4059606 h 4841875"/>
              <a:gd name="connsiteX87" fmla="*/ 4588738 w 6561736"/>
              <a:gd name="connsiteY87" fmla="*/ 4054844 h 4841875"/>
              <a:gd name="connsiteX88" fmla="*/ 4592079 w 6561736"/>
              <a:gd name="connsiteY88" fmla="*/ 4049447 h 4841875"/>
              <a:gd name="connsiteX89" fmla="*/ 4595086 w 6561736"/>
              <a:gd name="connsiteY89" fmla="*/ 4044367 h 4841875"/>
              <a:gd name="connsiteX90" fmla="*/ 4597424 w 6561736"/>
              <a:gd name="connsiteY90" fmla="*/ 4038653 h 4841875"/>
              <a:gd name="connsiteX91" fmla="*/ 4599763 w 6561736"/>
              <a:gd name="connsiteY91" fmla="*/ 4033256 h 4841875"/>
              <a:gd name="connsiteX92" fmla="*/ 4602101 w 6561736"/>
              <a:gd name="connsiteY92" fmla="*/ 4027859 h 4841875"/>
              <a:gd name="connsiteX93" fmla="*/ 4604106 w 6561736"/>
              <a:gd name="connsiteY93" fmla="*/ 4022144 h 4841875"/>
              <a:gd name="connsiteX94" fmla="*/ 4605776 w 6561736"/>
              <a:gd name="connsiteY94" fmla="*/ 4016112 h 4841875"/>
              <a:gd name="connsiteX95" fmla="*/ 4606778 w 6561736"/>
              <a:gd name="connsiteY95" fmla="*/ 4010397 h 4841875"/>
              <a:gd name="connsiteX96" fmla="*/ 4607781 w 6561736"/>
              <a:gd name="connsiteY96" fmla="*/ 4004683 h 4841875"/>
              <a:gd name="connsiteX97" fmla="*/ 4608448 w 6561736"/>
              <a:gd name="connsiteY97" fmla="*/ 3998650 h 4841875"/>
              <a:gd name="connsiteX98" fmla="*/ 4608782 w 6561736"/>
              <a:gd name="connsiteY98" fmla="*/ 3992936 h 4841875"/>
              <a:gd name="connsiteX99" fmla="*/ 4609117 w 6561736"/>
              <a:gd name="connsiteY99" fmla="*/ 3987221 h 4841875"/>
              <a:gd name="connsiteX100" fmla="*/ 4608782 w 6561736"/>
              <a:gd name="connsiteY100" fmla="*/ 3980872 h 4841875"/>
              <a:gd name="connsiteX101" fmla="*/ 4608448 w 6561736"/>
              <a:gd name="connsiteY101" fmla="*/ 3975157 h 4841875"/>
              <a:gd name="connsiteX102" fmla="*/ 4607781 w 6561736"/>
              <a:gd name="connsiteY102" fmla="*/ 3969442 h 4841875"/>
              <a:gd name="connsiteX103" fmla="*/ 4606778 w 6561736"/>
              <a:gd name="connsiteY103" fmla="*/ 3963410 h 4841875"/>
              <a:gd name="connsiteX104" fmla="*/ 4605776 w 6561736"/>
              <a:gd name="connsiteY104" fmla="*/ 3957696 h 4841875"/>
              <a:gd name="connsiteX105" fmla="*/ 4604106 w 6561736"/>
              <a:gd name="connsiteY105" fmla="*/ 3951981 h 4841875"/>
              <a:gd name="connsiteX106" fmla="*/ 4602101 w 6561736"/>
              <a:gd name="connsiteY106" fmla="*/ 3946584 h 4841875"/>
              <a:gd name="connsiteX107" fmla="*/ 4599763 w 6561736"/>
              <a:gd name="connsiteY107" fmla="*/ 3940552 h 4841875"/>
              <a:gd name="connsiteX108" fmla="*/ 4597424 w 6561736"/>
              <a:gd name="connsiteY108" fmla="*/ 3935155 h 4841875"/>
              <a:gd name="connsiteX109" fmla="*/ 4595086 w 6561736"/>
              <a:gd name="connsiteY109" fmla="*/ 3929757 h 4841875"/>
              <a:gd name="connsiteX110" fmla="*/ 4592079 w 6561736"/>
              <a:gd name="connsiteY110" fmla="*/ 3924678 h 4841875"/>
              <a:gd name="connsiteX111" fmla="*/ 4588738 w 6561736"/>
              <a:gd name="connsiteY111" fmla="*/ 3919281 h 4841875"/>
              <a:gd name="connsiteX112" fmla="*/ 4585064 w 6561736"/>
              <a:gd name="connsiteY112" fmla="*/ 3914201 h 4841875"/>
              <a:gd name="connsiteX113" fmla="*/ 4581389 w 6561736"/>
              <a:gd name="connsiteY113" fmla="*/ 3909121 h 4841875"/>
              <a:gd name="connsiteX114" fmla="*/ 4577381 w 6561736"/>
              <a:gd name="connsiteY114" fmla="*/ 3904677 h 4841875"/>
              <a:gd name="connsiteX115" fmla="*/ 4572704 w 6561736"/>
              <a:gd name="connsiteY115" fmla="*/ 3899914 h 4841875"/>
              <a:gd name="connsiteX116" fmla="*/ 3276525 w 6561736"/>
              <a:gd name="connsiteY116" fmla="*/ 2605234 h 4841875"/>
              <a:gd name="connsiteX117" fmla="*/ 3272182 w 6561736"/>
              <a:gd name="connsiteY117" fmla="*/ 2600472 h 4841875"/>
              <a:gd name="connsiteX118" fmla="*/ 3268174 w 6561736"/>
              <a:gd name="connsiteY118" fmla="*/ 2596027 h 4841875"/>
              <a:gd name="connsiteX119" fmla="*/ 3264165 w 6561736"/>
              <a:gd name="connsiteY119" fmla="*/ 2590948 h 4841875"/>
              <a:gd name="connsiteX120" fmla="*/ 3260824 w 6561736"/>
              <a:gd name="connsiteY120" fmla="*/ 2585868 h 4841875"/>
              <a:gd name="connsiteX121" fmla="*/ 3257818 w 6561736"/>
              <a:gd name="connsiteY121" fmla="*/ 2580788 h 4841875"/>
              <a:gd name="connsiteX122" fmla="*/ 3254811 w 6561736"/>
              <a:gd name="connsiteY122" fmla="*/ 2575709 h 4841875"/>
              <a:gd name="connsiteX123" fmla="*/ 3252138 w 6561736"/>
              <a:gd name="connsiteY123" fmla="*/ 2569994 h 4841875"/>
              <a:gd name="connsiteX124" fmla="*/ 3249466 w 6561736"/>
              <a:gd name="connsiteY124" fmla="*/ 2564597 h 4841875"/>
              <a:gd name="connsiteX125" fmla="*/ 3247461 w 6561736"/>
              <a:gd name="connsiteY125" fmla="*/ 2558882 h 4841875"/>
              <a:gd name="connsiteX126" fmla="*/ 3245791 w 6561736"/>
              <a:gd name="connsiteY126" fmla="*/ 2553168 h 4841875"/>
              <a:gd name="connsiteX127" fmla="*/ 3244121 w 6561736"/>
              <a:gd name="connsiteY127" fmla="*/ 2547453 h 4841875"/>
              <a:gd name="connsiteX128" fmla="*/ 3242785 w 6561736"/>
              <a:gd name="connsiteY128" fmla="*/ 2541738 h 4841875"/>
              <a:gd name="connsiteX129" fmla="*/ 3241782 w 6561736"/>
              <a:gd name="connsiteY129" fmla="*/ 2536024 h 4841875"/>
              <a:gd name="connsiteX130" fmla="*/ 3241114 w 6561736"/>
              <a:gd name="connsiteY130" fmla="*/ 2529992 h 4841875"/>
              <a:gd name="connsiteX131" fmla="*/ 3240780 w 6561736"/>
              <a:gd name="connsiteY131" fmla="*/ 2524277 h 4841875"/>
              <a:gd name="connsiteX132" fmla="*/ 3240780 w 6561736"/>
              <a:gd name="connsiteY132" fmla="*/ 2518245 h 4841875"/>
              <a:gd name="connsiteX133" fmla="*/ 3240780 w 6561736"/>
              <a:gd name="connsiteY133" fmla="*/ 2512213 h 4841875"/>
              <a:gd name="connsiteX134" fmla="*/ 3241114 w 6561736"/>
              <a:gd name="connsiteY134" fmla="*/ 2506498 h 4841875"/>
              <a:gd name="connsiteX135" fmla="*/ 3241782 w 6561736"/>
              <a:gd name="connsiteY135" fmla="*/ 2500784 h 4841875"/>
              <a:gd name="connsiteX136" fmla="*/ 3242785 w 6561736"/>
              <a:gd name="connsiteY136" fmla="*/ 2494752 h 4841875"/>
              <a:gd name="connsiteX137" fmla="*/ 3244121 w 6561736"/>
              <a:gd name="connsiteY137" fmla="*/ 2489037 h 4841875"/>
              <a:gd name="connsiteX138" fmla="*/ 3245791 w 6561736"/>
              <a:gd name="connsiteY138" fmla="*/ 2483322 h 4841875"/>
              <a:gd name="connsiteX139" fmla="*/ 3247461 w 6561736"/>
              <a:gd name="connsiteY139" fmla="*/ 2477290 h 4841875"/>
              <a:gd name="connsiteX140" fmla="*/ 3249466 w 6561736"/>
              <a:gd name="connsiteY140" fmla="*/ 2471893 h 4841875"/>
              <a:gd name="connsiteX141" fmla="*/ 3252138 w 6561736"/>
              <a:gd name="connsiteY141" fmla="*/ 2466496 h 4841875"/>
              <a:gd name="connsiteX142" fmla="*/ 3254811 w 6561736"/>
              <a:gd name="connsiteY142" fmla="*/ 2461099 h 4841875"/>
              <a:gd name="connsiteX143" fmla="*/ 3257818 w 6561736"/>
              <a:gd name="connsiteY143" fmla="*/ 2455702 h 4841875"/>
              <a:gd name="connsiteX144" fmla="*/ 3260824 w 6561736"/>
              <a:gd name="connsiteY144" fmla="*/ 2450304 h 4841875"/>
              <a:gd name="connsiteX145" fmla="*/ 3264165 w 6561736"/>
              <a:gd name="connsiteY145" fmla="*/ 2445542 h 4841875"/>
              <a:gd name="connsiteX146" fmla="*/ 3268174 w 6561736"/>
              <a:gd name="connsiteY146" fmla="*/ 2440463 h 4841875"/>
              <a:gd name="connsiteX147" fmla="*/ 3272182 w 6561736"/>
              <a:gd name="connsiteY147" fmla="*/ 2435700 h 4841875"/>
              <a:gd name="connsiteX148" fmla="*/ 3276525 w 6561736"/>
              <a:gd name="connsiteY148" fmla="*/ 2431256 h 4841875"/>
              <a:gd name="connsiteX149" fmla="*/ 3281536 w 6561736"/>
              <a:gd name="connsiteY149" fmla="*/ 2426811 h 4841875"/>
              <a:gd name="connsiteX150" fmla="*/ 3285879 w 6561736"/>
              <a:gd name="connsiteY150" fmla="*/ 2422684 h 4841875"/>
              <a:gd name="connsiteX151" fmla="*/ 3290890 w 6561736"/>
              <a:gd name="connsiteY151" fmla="*/ 2418874 h 4841875"/>
              <a:gd name="connsiteX152" fmla="*/ 3296235 w 6561736"/>
              <a:gd name="connsiteY152" fmla="*/ 2415382 h 4841875"/>
              <a:gd name="connsiteX153" fmla="*/ 3301246 w 6561736"/>
              <a:gd name="connsiteY153" fmla="*/ 2412207 h 4841875"/>
              <a:gd name="connsiteX154" fmla="*/ 3306591 w 6561736"/>
              <a:gd name="connsiteY154" fmla="*/ 2409350 h 4841875"/>
              <a:gd name="connsiteX155" fmla="*/ 3311936 w 6561736"/>
              <a:gd name="connsiteY155" fmla="*/ 2406492 h 4841875"/>
              <a:gd name="connsiteX156" fmla="*/ 3317281 w 6561736"/>
              <a:gd name="connsiteY156" fmla="*/ 2404270 h 4841875"/>
              <a:gd name="connsiteX157" fmla="*/ 3323295 w 6561736"/>
              <a:gd name="connsiteY157" fmla="*/ 2402048 h 4841875"/>
              <a:gd name="connsiteX158" fmla="*/ 3328640 w 6561736"/>
              <a:gd name="connsiteY158" fmla="*/ 2400143 h 4841875"/>
              <a:gd name="connsiteX159" fmla="*/ 3334653 w 6561736"/>
              <a:gd name="connsiteY159" fmla="*/ 2398873 h 4841875"/>
              <a:gd name="connsiteX160" fmla="*/ 3340332 w 6561736"/>
              <a:gd name="connsiteY160" fmla="*/ 2397285 h 4841875"/>
              <a:gd name="connsiteX161" fmla="*/ 3346011 w 6561736"/>
              <a:gd name="connsiteY161" fmla="*/ 2396333 h 4841875"/>
              <a:gd name="connsiteX162" fmla="*/ 3352024 w 6561736"/>
              <a:gd name="connsiteY162" fmla="*/ 2395698 h 4841875"/>
              <a:gd name="connsiteX163" fmla="*/ 3357703 w 6561736"/>
              <a:gd name="connsiteY163" fmla="*/ 2395381 h 4841875"/>
              <a:gd name="connsiteX164" fmla="*/ 3364051 w 6561736"/>
              <a:gd name="connsiteY164" fmla="*/ 2395381 h 4841875"/>
              <a:gd name="connsiteX165" fmla="*/ 3369730 w 6561736"/>
              <a:gd name="connsiteY165" fmla="*/ 2395381 h 4841875"/>
              <a:gd name="connsiteX166" fmla="*/ 3375743 w 6561736"/>
              <a:gd name="connsiteY166" fmla="*/ 2395698 h 4841875"/>
              <a:gd name="connsiteX167" fmla="*/ 3381422 w 6561736"/>
              <a:gd name="connsiteY167" fmla="*/ 2396333 h 4841875"/>
              <a:gd name="connsiteX168" fmla="*/ 3387101 w 6561736"/>
              <a:gd name="connsiteY168" fmla="*/ 2397285 h 4841875"/>
              <a:gd name="connsiteX169" fmla="*/ 3393114 w 6561736"/>
              <a:gd name="connsiteY169" fmla="*/ 2398873 h 4841875"/>
              <a:gd name="connsiteX170" fmla="*/ 3398794 w 6561736"/>
              <a:gd name="connsiteY170" fmla="*/ 2400143 h 4841875"/>
              <a:gd name="connsiteX171" fmla="*/ 3404807 w 6561736"/>
              <a:gd name="connsiteY171" fmla="*/ 2402048 h 4841875"/>
              <a:gd name="connsiteX172" fmla="*/ 3410152 w 6561736"/>
              <a:gd name="connsiteY172" fmla="*/ 2404270 h 4841875"/>
              <a:gd name="connsiteX173" fmla="*/ 3415831 w 6561736"/>
              <a:gd name="connsiteY173" fmla="*/ 2406492 h 4841875"/>
              <a:gd name="connsiteX174" fmla="*/ 3421176 w 6561736"/>
              <a:gd name="connsiteY174" fmla="*/ 2409350 h 4841875"/>
              <a:gd name="connsiteX175" fmla="*/ 3426187 w 6561736"/>
              <a:gd name="connsiteY175" fmla="*/ 2412207 h 4841875"/>
              <a:gd name="connsiteX176" fmla="*/ 3431866 w 6561736"/>
              <a:gd name="connsiteY176" fmla="*/ 2415382 h 4841875"/>
              <a:gd name="connsiteX177" fmla="*/ 3436543 w 6561736"/>
              <a:gd name="connsiteY177" fmla="*/ 2418874 h 4841875"/>
              <a:gd name="connsiteX178" fmla="*/ 3441554 w 6561736"/>
              <a:gd name="connsiteY178" fmla="*/ 2422684 h 4841875"/>
              <a:gd name="connsiteX179" fmla="*/ 3446565 w 6561736"/>
              <a:gd name="connsiteY179" fmla="*/ 2426811 h 4841875"/>
              <a:gd name="connsiteX180" fmla="*/ 3450908 w 6561736"/>
              <a:gd name="connsiteY180" fmla="*/ 2431256 h 4841875"/>
              <a:gd name="connsiteX181" fmla="*/ 4169819 w 6561736"/>
              <a:gd name="connsiteY181" fmla="*/ 3149076 h 4841875"/>
              <a:gd name="connsiteX182" fmla="*/ 4174496 w 6561736"/>
              <a:gd name="connsiteY182" fmla="*/ 3153521 h 4841875"/>
              <a:gd name="connsiteX183" fmla="*/ 4179173 w 6561736"/>
              <a:gd name="connsiteY183" fmla="*/ 3157648 h 4841875"/>
              <a:gd name="connsiteX184" fmla="*/ 4184184 w 6561736"/>
              <a:gd name="connsiteY184" fmla="*/ 3161458 h 4841875"/>
              <a:gd name="connsiteX185" fmla="*/ 4189195 w 6561736"/>
              <a:gd name="connsiteY185" fmla="*/ 3164950 h 4841875"/>
              <a:gd name="connsiteX186" fmla="*/ 4194540 w 6561736"/>
              <a:gd name="connsiteY186" fmla="*/ 3168442 h 4841875"/>
              <a:gd name="connsiteX187" fmla="*/ 4199551 w 6561736"/>
              <a:gd name="connsiteY187" fmla="*/ 3170982 h 4841875"/>
              <a:gd name="connsiteX188" fmla="*/ 4204896 w 6561736"/>
              <a:gd name="connsiteY188" fmla="*/ 3173840 h 4841875"/>
              <a:gd name="connsiteX189" fmla="*/ 4210576 w 6561736"/>
              <a:gd name="connsiteY189" fmla="*/ 3176062 h 4841875"/>
              <a:gd name="connsiteX190" fmla="*/ 4216255 w 6561736"/>
              <a:gd name="connsiteY190" fmla="*/ 3178284 h 4841875"/>
              <a:gd name="connsiteX191" fmla="*/ 4221934 w 6561736"/>
              <a:gd name="connsiteY191" fmla="*/ 3180189 h 4841875"/>
              <a:gd name="connsiteX192" fmla="*/ 4227613 w 6561736"/>
              <a:gd name="connsiteY192" fmla="*/ 3181776 h 4841875"/>
              <a:gd name="connsiteX193" fmla="*/ 4233292 w 6561736"/>
              <a:gd name="connsiteY193" fmla="*/ 3183046 h 4841875"/>
              <a:gd name="connsiteX194" fmla="*/ 4239305 w 6561736"/>
              <a:gd name="connsiteY194" fmla="*/ 3183999 h 4841875"/>
              <a:gd name="connsiteX195" fmla="*/ 4244984 w 6561736"/>
              <a:gd name="connsiteY195" fmla="*/ 3184634 h 4841875"/>
              <a:gd name="connsiteX196" fmla="*/ 4250998 w 6561736"/>
              <a:gd name="connsiteY196" fmla="*/ 3184951 h 4841875"/>
              <a:gd name="connsiteX197" fmla="*/ 4257011 w 6561736"/>
              <a:gd name="connsiteY197" fmla="*/ 3185269 h 4841875"/>
              <a:gd name="connsiteX198" fmla="*/ 4263024 w 6561736"/>
              <a:gd name="connsiteY198" fmla="*/ 3184951 h 4841875"/>
              <a:gd name="connsiteX199" fmla="*/ 4268703 w 6561736"/>
              <a:gd name="connsiteY199" fmla="*/ 3184634 h 4841875"/>
              <a:gd name="connsiteX200" fmla="*/ 4274382 w 6561736"/>
              <a:gd name="connsiteY200" fmla="*/ 3183999 h 4841875"/>
              <a:gd name="connsiteX201" fmla="*/ 4280395 w 6561736"/>
              <a:gd name="connsiteY201" fmla="*/ 3183046 h 4841875"/>
              <a:gd name="connsiteX202" fmla="*/ 4286075 w 6561736"/>
              <a:gd name="connsiteY202" fmla="*/ 3181776 h 4841875"/>
              <a:gd name="connsiteX203" fmla="*/ 4292088 w 6561736"/>
              <a:gd name="connsiteY203" fmla="*/ 3180189 h 4841875"/>
              <a:gd name="connsiteX204" fmla="*/ 4297767 w 6561736"/>
              <a:gd name="connsiteY204" fmla="*/ 3178284 h 4841875"/>
              <a:gd name="connsiteX205" fmla="*/ 4303446 w 6561736"/>
              <a:gd name="connsiteY205" fmla="*/ 3176062 h 4841875"/>
              <a:gd name="connsiteX206" fmla="*/ 4308791 w 6561736"/>
              <a:gd name="connsiteY206" fmla="*/ 3173840 h 4841875"/>
              <a:gd name="connsiteX207" fmla="*/ 4314136 w 6561736"/>
              <a:gd name="connsiteY207" fmla="*/ 3170982 h 4841875"/>
              <a:gd name="connsiteX208" fmla="*/ 4319815 w 6561736"/>
              <a:gd name="connsiteY208" fmla="*/ 3168442 h 4841875"/>
              <a:gd name="connsiteX209" fmla="*/ 4324826 w 6561736"/>
              <a:gd name="connsiteY209" fmla="*/ 3164950 h 4841875"/>
              <a:gd name="connsiteX210" fmla="*/ 4329503 w 6561736"/>
              <a:gd name="connsiteY210" fmla="*/ 3161458 h 4841875"/>
              <a:gd name="connsiteX211" fmla="*/ 4334848 w 6561736"/>
              <a:gd name="connsiteY211" fmla="*/ 3157648 h 4841875"/>
              <a:gd name="connsiteX212" fmla="*/ 4339525 w 6561736"/>
              <a:gd name="connsiteY212" fmla="*/ 3153521 h 4841875"/>
              <a:gd name="connsiteX213" fmla="*/ 4344202 w 6561736"/>
              <a:gd name="connsiteY213" fmla="*/ 3149076 h 4841875"/>
              <a:gd name="connsiteX214" fmla="*/ 4348545 w 6561736"/>
              <a:gd name="connsiteY214" fmla="*/ 3144631 h 4841875"/>
              <a:gd name="connsiteX215" fmla="*/ 4352554 w 6561736"/>
              <a:gd name="connsiteY215" fmla="*/ 3139869 h 4841875"/>
              <a:gd name="connsiteX216" fmla="*/ 4356228 w 6561736"/>
              <a:gd name="connsiteY216" fmla="*/ 3134790 h 4841875"/>
              <a:gd name="connsiteX217" fmla="*/ 4359903 w 6561736"/>
              <a:gd name="connsiteY217" fmla="*/ 3130027 h 4841875"/>
              <a:gd name="connsiteX218" fmla="*/ 4363244 w 6561736"/>
              <a:gd name="connsiteY218" fmla="*/ 3124948 h 4841875"/>
              <a:gd name="connsiteX219" fmla="*/ 4365916 w 6561736"/>
              <a:gd name="connsiteY219" fmla="*/ 3119551 h 4841875"/>
              <a:gd name="connsiteX220" fmla="*/ 4368589 w 6561736"/>
              <a:gd name="connsiteY220" fmla="*/ 3113836 h 4841875"/>
              <a:gd name="connsiteX221" fmla="*/ 4371261 w 6561736"/>
              <a:gd name="connsiteY221" fmla="*/ 3108439 h 4841875"/>
              <a:gd name="connsiteX222" fmla="*/ 4373266 w 6561736"/>
              <a:gd name="connsiteY222" fmla="*/ 3103042 h 4841875"/>
              <a:gd name="connsiteX223" fmla="*/ 4375270 w 6561736"/>
              <a:gd name="connsiteY223" fmla="*/ 3097010 h 4841875"/>
              <a:gd name="connsiteX224" fmla="*/ 4376606 w 6561736"/>
              <a:gd name="connsiteY224" fmla="*/ 3091295 h 4841875"/>
              <a:gd name="connsiteX225" fmla="*/ 4377943 w 6561736"/>
              <a:gd name="connsiteY225" fmla="*/ 3085580 h 4841875"/>
              <a:gd name="connsiteX226" fmla="*/ 4378945 w 6561736"/>
              <a:gd name="connsiteY226" fmla="*/ 3079866 h 4841875"/>
              <a:gd name="connsiteX227" fmla="*/ 4379613 w 6561736"/>
              <a:gd name="connsiteY227" fmla="*/ 3073834 h 4841875"/>
              <a:gd name="connsiteX228" fmla="*/ 4379947 w 6561736"/>
              <a:gd name="connsiteY228" fmla="*/ 3068119 h 4841875"/>
              <a:gd name="connsiteX229" fmla="*/ 4380281 w 6561736"/>
              <a:gd name="connsiteY229" fmla="*/ 3062404 h 4841875"/>
              <a:gd name="connsiteX230" fmla="*/ 4379947 w 6561736"/>
              <a:gd name="connsiteY230" fmla="*/ 3056055 h 4841875"/>
              <a:gd name="connsiteX231" fmla="*/ 4379613 w 6561736"/>
              <a:gd name="connsiteY231" fmla="*/ 3050340 h 4841875"/>
              <a:gd name="connsiteX232" fmla="*/ 4378945 w 6561736"/>
              <a:gd name="connsiteY232" fmla="*/ 3044625 h 4841875"/>
              <a:gd name="connsiteX233" fmla="*/ 4377943 w 6561736"/>
              <a:gd name="connsiteY233" fmla="*/ 3038593 h 4841875"/>
              <a:gd name="connsiteX234" fmla="*/ 4376606 w 6561736"/>
              <a:gd name="connsiteY234" fmla="*/ 3032879 h 4841875"/>
              <a:gd name="connsiteX235" fmla="*/ 4375270 w 6561736"/>
              <a:gd name="connsiteY235" fmla="*/ 3027164 h 4841875"/>
              <a:gd name="connsiteX236" fmla="*/ 4373266 w 6561736"/>
              <a:gd name="connsiteY236" fmla="*/ 3021449 h 4841875"/>
              <a:gd name="connsiteX237" fmla="*/ 4371261 w 6561736"/>
              <a:gd name="connsiteY237" fmla="*/ 3015735 h 4841875"/>
              <a:gd name="connsiteX238" fmla="*/ 4368589 w 6561736"/>
              <a:gd name="connsiteY238" fmla="*/ 3010338 h 4841875"/>
              <a:gd name="connsiteX239" fmla="*/ 4365916 w 6561736"/>
              <a:gd name="connsiteY239" fmla="*/ 3004941 h 4841875"/>
              <a:gd name="connsiteX240" fmla="*/ 4363244 w 6561736"/>
              <a:gd name="connsiteY240" fmla="*/ 2999543 h 4841875"/>
              <a:gd name="connsiteX241" fmla="*/ 4359903 w 6561736"/>
              <a:gd name="connsiteY241" fmla="*/ 2994464 h 4841875"/>
              <a:gd name="connsiteX242" fmla="*/ 4356228 w 6561736"/>
              <a:gd name="connsiteY242" fmla="*/ 2989384 h 4841875"/>
              <a:gd name="connsiteX243" fmla="*/ 4352554 w 6561736"/>
              <a:gd name="connsiteY243" fmla="*/ 2984622 h 4841875"/>
              <a:gd name="connsiteX244" fmla="*/ 4348545 w 6561736"/>
              <a:gd name="connsiteY244" fmla="*/ 2979860 h 4841875"/>
              <a:gd name="connsiteX245" fmla="*/ 4344202 w 6561736"/>
              <a:gd name="connsiteY245" fmla="*/ 2975098 h 4841875"/>
              <a:gd name="connsiteX246" fmla="*/ 4244650 w 6561736"/>
              <a:gd name="connsiteY246" fmla="*/ 2875727 h 4841875"/>
              <a:gd name="connsiteX247" fmla="*/ 3995771 w 6561736"/>
              <a:gd name="connsiteY247" fmla="*/ 2627140 h 4841875"/>
              <a:gd name="connsiteX248" fmla="*/ 3991428 w 6561736"/>
              <a:gd name="connsiteY248" fmla="*/ 2622696 h 4841875"/>
              <a:gd name="connsiteX249" fmla="*/ 3987419 w 6561736"/>
              <a:gd name="connsiteY249" fmla="*/ 2617933 h 4841875"/>
              <a:gd name="connsiteX250" fmla="*/ 3983410 w 6561736"/>
              <a:gd name="connsiteY250" fmla="*/ 2613171 h 4841875"/>
              <a:gd name="connsiteX251" fmla="*/ 3980070 w 6561736"/>
              <a:gd name="connsiteY251" fmla="*/ 2608092 h 4841875"/>
              <a:gd name="connsiteX252" fmla="*/ 3977063 w 6561736"/>
              <a:gd name="connsiteY252" fmla="*/ 2603012 h 4841875"/>
              <a:gd name="connsiteX253" fmla="*/ 3973722 w 6561736"/>
              <a:gd name="connsiteY253" fmla="*/ 2597297 h 4841875"/>
              <a:gd name="connsiteX254" fmla="*/ 3971050 w 6561736"/>
              <a:gd name="connsiteY254" fmla="*/ 2591900 h 4841875"/>
              <a:gd name="connsiteX255" fmla="*/ 3968711 w 6561736"/>
              <a:gd name="connsiteY255" fmla="*/ 2586503 h 4841875"/>
              <a:gd name="connsiteX256" fmla="*/ 3966707 w 6561736"/>
              <a:gd name="connsiteY256" fmla="*/ 2581106 h 4841875"/>
              <a:gd name="connsiteX257" fmla="*/ 3965037 w 6561736"/>
              <a:gd name="connsiteY257" fmla="*/ 2575074 h 4841875"/>
              <a:gd name="connsiteX258" fmla="*/ 3963366 w 6561736"/>
              <a:gd name="connsiteY258" fmla="*/ 2569677 h 4841875"/>
              <a:gd name="connsiteX259" fmla="*/ 3962030 w 6561736"/>
              <a:gd name="connsiteY259" fmla="*/ 2563962 h 4841875"/>
              <a:gd name="connsiteX260" fmla="*/ 3961028 w 6561736"/>
              <a:gd name="connsiteY260" fmla="*/ 2558247 h 4841875"/>
              <a:gd name="connsiteX261" fmla="*/ 3960026 w 6561736"/>
              <a:gd name="connsiteY261" fmla="*/ 2551898 h 4841875"/>
              <a:gd name="connsiteX262" fmla="*/ 3959691 w 6561736"/>
              <a:gd name="connsiteY262" fmla="*/ 2546183 h 4841875"/>
              <a:gd name="connsiteX263" fmla="*/ 3959691 w 6561736"/>
              <a:gd name="connsiteY263" fmla="*/ 2540469 h 4841875"/>
              <a:gd name="connsiteX264" fmla="*/ 3959691 w 6561736"/>
              <a:gd name="connsiteY264" fmla="*/ 2534436 h 4841875"/>
              <a:gd name="connsiteX265" fmla="*/ 3960026 w 6561736"/>
              <a:gd name="connsiteY265" fmla="*/ 2528404 h 4841875"/>
              <a:gd name="connsiteX266" fmla="*/ 3961028 w 6561736"/>
              <a:gd name="connsiteY266" fmla="*/ 2522690 h 4841875"/>
              <a:gd name="connsiteX267" fmla="*/ 3962030 w 6561736"/>
              <a:gd name="connsiteY267" fmla="*/ 2516658 h 4841875"/>
              <a:gd name="connsiteX268" fmla="*/ 3963366 w 6561736"/>
              <a:gd name="connsiteY268" fmla="*/ 2510943 h 4841875"/>
              <a:gd name="connsiteX269" fmla="*/ 3965037 w 6561736"/>
              <a:gd name="connsiteY269" fmla="*/ 2505228 h 4841875"/>
              <a:gd name="connsiteX270" fmla="*/ 3966707 w 6561736"/>
              <a:gd name="connsiteY270" fmla="*/ 2499514 h 4841875"/>
              <a:gd name="connsiteX271" fmla="*/ 3968711 w 6561736"/>
              <a:gd name="connsiteY271" fmla="*/ 2494117 h 4841875"/>
              <a:gd name="connsiteX272" fmla="*/ 3971050 w 6561736"/>
              <a:gd name="connsiteY272" fmla="*/ 2488402 h 4841875"/>
              <a:gd name="connsiteX273" fmla="*/ 3973722 w 6561736"/>
              <a:gd name="connsiteY273" fmla="*/ 2483322 h 4841875"/>
              <a:gd name="connsiteX274" fmla="*/ 3977063 w 6561736"/>
              <a:gd name="connsiteY274" fmla="*/ 2477608 h 4841875"/>
              <a:gd name="connsiteX275" fmla="*/ 3980070 w 6561736"/>
              <a:gd name="connsiteY275" fmla="*/ 2472528 h 4841875"/>
              <a:gd name="connsiteX276" fmla="*/ 3983410 w 6561736"/>
              <a:gd name="connsiteY276" fmla="*/ 2467448 h 4841875"/>
              <a:gd name="connsiteX277" fmla="*/ 3987419 w 6561736"/>
              <a:gd name="connsiteY277" fmla="*/ 2462686 h 4841875"/>
              <a:gd name="connsiteX278" fmla="*/ 3991428 w 6561736"/>
              <a:gd name="connsiteY278" fmla="*/ 2457924 h 4841875"/>
              <a:gd name="connsiteX279" fmla="*/ 3995771 w 6561736"/>
              <a:gd name="connsiteY279" fmla="*/ 2453162 h 4841875"/>
              <a:gd name="connsiteX280" fmla="*/ 4000448 w 6561736"/>
              <a:gd name="connsiteY280" fmla="*/ 2449035 h 4841875"/>
              <a:gd name="connsiteX281" fmla="*/ 4005459 w 6561736"/>
              <a:gd name="connsiteY281" fmla="*/ 2444907 h 4841875"/>
              <a:gd name="connsiteX282" fmla="*/ 4010135 w 6561736"/>
              <a:gd name="connsiteY282" fmla="*/ 2441098 h 4841875"/>
              <a:gd name="connsiteX283" fmla="*/ 4015146 w 6561736"/>
              <a:gd name="connsiteY283" fmla="*/ 2437288 h 4841875"/>
              <a:gd name="connsiteX284" fmla="*/ 4020492 w 6561736"/>
              <a:gd name="connsiteY284" fmla="*/ 2434430 h 4841875"/>
              <a:gd name="connsiteX285" fmla="*/ 4025503 w 6561736"/>
              <a:gd name="connsiteY285" fmla="*/ 2431256 h 4841875"/>
              <a:gd name="connsiteX286" fmla="*/ 4031182 w 6561736"/>
              <a:gd name="connsiteY286" fmla="*/ 2428398 h 4841875"/>
              <a:gd name="connsiteX287" fmla="*/ 4036527 w 6561736"/>
              <a:gd name="connsiteY287" fmla="*/ 2426176 h 4841875"/>
              <a:gd name="connsiteX288" fmla="*/ 4042206 w 6561736"/>
              <a:gd name="connsiteY288" fmla="*/ 2423954 h 4841875"/>
              <a:gd name="connsiteX289" fmla="*/ 4047885 w 6561736"/>
              <a:gd name="connsiteY289" fmla="*/ 2422366 h 4841875"/>
              <a:gd name="connsiteX290" fmla="*/ 4053564 w 6561736"/>
              <a:gd name="connsiteY290" fmla="*/ 2420461 h 4841875"/>
              <a:gd name="connsiteX291" fmla="*/ 4059577 w 6561736"/>
              <a:gd name="connsiteY291" fmla="*/ 2419509 h 4841875"/>
              <a:gd name="connsiteX292" fmla="*/ 4065256 w 6561736"/>
              <a:gd name="connsiteY292" fmla="*/ 2418557 h 4841875"/>
              <a:gd name="connsiteX293" fmla="*/ 4071270 w 6561736"/>
              <a:gd name="connsiteY293" fmla="*/ 2417922 h 4841875"/>
              <a:gd name="connsiteX294" fmla="*/ 4076949 w 6561736"/>
              <a:gd name="connsiteY294" fmla="*/ 2417287 h 4841875"/>
              <a:gd name="connsiteX295" fmla="*/ 4082962 w 6561736"/>
              <a:gd name="connsiteY295" fmla="*/ 2417287 h 4841875"/>
              <a:gd name="connsiteX296" fmla="*/ 4088975 w 6561736"/>
              <a:gd name="connsiteY296" fmla="*/ 2417287 h 4841875"/>
              <a:gd name="connsiteX297" fmla="*/ 4094654 w 6561736"/>
              <a:gd name="connsiteY297" fmla="*/ 2417922 h 4841875"/>
              <a:gd name="connsiteX298" fmla="*/ 4100668 w 6561736"/>
              <a:gd name="connsiteY298" fmla="*/ 2418557 h 4841875"/>
              <a:gd name="connsiteX299" fmla="*/ 4106347 w 6561736"/>
              <a:gd name="connsiteY299" fmla="*/ 2419509 h 4841875"/>
              <a:gd name="connsiteX300" fmla="*/ 4112360 w 6561736"/>
              <a:gd name="connsiteY300" fmla="*/ 2420461 h 4841875"/>
              <a:gd name="connsiteX301" fmla="*/ 4118039 w 6561736"/>
              <a:gd name="connsiteY301" fmla="*/ 2422366 h 4841875"/>
              <a:gd name="connsiteX302" fmla="*/ 4123718 w 6561736"/>
              <a:gd name="connsiteY302" fmla="*/ 2423954 h 4841875"/>
              <a:gd name="connsiteX303" fmla="*/ 4129397 w 6561736"/>
              <a:gd name="connsiteY303" fmla="*/ 2426176 h 4841875"/>
              <a:gd name="connsiteX304" fmla="*/ 4134742 w 6561736"/>
              <a:gd name="connsiteY304" fmla="*/ 2428398 h 4841875"/>
              <a:gd name="connsiteX305" fmla="*/ 4140421 w 6561736"/>
              <a:gd name="connsiteY305" fmla="*/ 2431256 h 4841875"/>
              <a:gd name="connsiteX306" fmla="*/ 4145767 w 6561736"/>
              <a:gd name="connsiteY306" fmla="*/ 2434430 h 4841875"/>
              <a:gd name="connsiteX307" fmla="*/ 4150778 w 6561736"/>
              <a:gd name="connsiteY307" fmla="*/ 2437288 h 4841875"/>
              <a:gd name="connsiteX308" fmla="*/ 4155789 w 6561736"/>
              <a:gd name="connsiteY308" fmla="*/ 2441098 h 4841875"/>
              <a:gd name="connsiteX309" fmla="*/ 4160800 w 6561736"/>
              <a:gd name="connsiteY309" fmla="*/ 2444907 h 4841875"/>
              <a:gd name="connsiteX310" fmla="*/ 4165476 w 6561736"/>
              <a:gd name="connsiteY310" fmla="*/ 2449035 h 4841875"/>
              <a:gd name="connsiteX311" fmla="*/ 4170153 w 6561736"/>
              <a:gd name="connsiteY311" fmla="*/ 2453162 h 4841875"/>
              <a:gd name="connsiteX312" fmla="*/ 4969908 w 6561736"/>
              <a:gd name="connsiteY312" fmla="*/ 3252257 h 4841875"/>
              <a:gd name="connsiteX313" fmla="*/ 6561736 w 6561736"/>
              <a:gd name="connsiteY313" fmla="*/ 4841875 h 4841875"/>
              <a:gd name="connsiteX314" fmla="*/ 6561736 w 6561736"/>
              <a:gd name="connsiteY314" fmla="*/ 0 h 484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</a:cxnLst>
            <a:rect l="l" t="t" r="r" b="b"/>
            <a:pathLst>
              <a:path w="6561736" h="4841875">
                <a:moveTo>
                  <a:pt x="6561736" y="0"/>
                </a:moveTo>
                <a:lnTo>
                  <a:pt x="0" y="0"/>
                </a:lnTo>
                <a:lnTo>
                  <a:pt x="2696252" y="2688414"/>
                </a:lnTo>
                <a:cubicBezTo>
                  <a:pt x="2695918" y="2685874"/>
                  <a:pt x="2695918" y="2683652"/>
                  <a:pt x="2695583" y="2681112"/>
                </a:cubicBezTo>
                <a:cubicBezTo>
                  <a:pt x="2695249" y="2678889"/>
                  <a:pt x="2695249" y="2676350"/>
                  <a:pt x="2694915" y="2674127"/>
                </a:cubicBezTo>
                <a:lnTo>
                  <a:pt x="2694915" y="2667143"/>
                </a:lnTo>
                <a:cubicBezTo>
                  <a:pt x="2694915" y="2664920"/>
                  <a:pt x="2695249" y="2662381"/>
                  <a:pt x="2695249" y="2660158"/>
                </a:cubicBezTo>
                <a:cubicBezTo>
                  <a:pt x="2695583" y="2657618"/>
                  <a:pt x="2695583" y="2655396"/>
                  <a:pt x="2695918" y="2652856"/>
                </a:cubicBezTo>
                <a:cubicBezTo>
                  <a:pt x="2696252" y="2650634"/>
                  <a:pt x="2696586" y="2648094"/>
                  <a:pt x="2696920" y="2645872"/>
                </a:cubicBezTo>
                <a:cubicBezTo>
                  <a:pt x="2697588" y="2643649"/>
                  <a:pt x="2697922" y="2641109"/>
                  <a:pt x="2698590" y="2638887"/>
                </a:cubicBezTo>
                <a:cubicBezTo>
                  <a:pt x="2699258" y="2636665"/>
                  <a:pt x="2699592" y="2634125"/>
                  <a:pt x="2700260" y="2631903"/>
                </a:cubicBezTo>
                <a:cubicBezTo>
                  <a:pt x="2700929" y="2629680"/>
                  <a:pt x="2701931" y="2627458"/>
                  <a:pt x="2702599" y="2625235"/>
                </a:cubicBezTo>
                <a:lnTo>
                  <a:pt x="2705605" y="2618568"/>
                </a:lnTo>
                <a:cubicBezTo>
                  <a:pt x="2706608" y="2616346"/>
                  <a:pt x="2707944" y="2614441"/>
                  <a:pt x="2708946" y="2612219"/>
                </a:cubicBezTo>
                <a:cubicBezTo>
                  <a:pt x="2709948" y="2609996"/>
                  <a:pt x="2711285" y="2607774"/>
                  <a:pt x="2712287" y="2605552"/>
                </a:cubicBezTo>
                <a:cubicBezTo>
                  <a:pt x="2713623" y="2603647"/>
                  <a:pt x="2714959" y="2601425"/>
                  <a:pt x="2716296" y="2599520"/>
                </a:cubicBezTo>
                <a:cubicBezTo>
                  <a:pt x="2717966" y="2597615"/>
                  <a:pt x="2719302" y="2595392"/>
                  <a:pt x="2720973" y="2593488"/>
                </a:cubicBezTo>
                <a:cubicBezTo>
                  <a:pt x="2722643" y="2591583"/>
                  <a:pt x="2723979" y="2589678"/>
                  <a:pt x="2725649" y="2587773"/>
                </a:cubicBezTo>
                <a:lnTo>
                  <a:pt x="2730660" y="2582058"/>
                </a:lnTo>
                <a:cubicBezTo>
                  <a:pt x="2732331" y="2580788"/>
                  <a:pt x="2733667" y="2579201"/>
                  <a:pt x="2735337" y="2577931"/>
                </a:cubicBezTo>
                <a:cubicBezTo>
                  <a:pt x="2737008" y="2576661"/>
                  <a:pt x="2738344" y="2575074"/>
                  <a:pt x="2740014" y="2573804"/>
                </a:cubicBezTo>
                <a:lnTo>
                  <a:pt x="2745025" y="2569994"/>
                </a:lnTo>
                <a:lnTo>
                  <a:pt x="2750036" y="2566184"/>
                </a:lnTo>
                <a:cubicBezTo>
                  <a:pt x="2751707" y="2565232"/>
                  <a:pt x="2753711" y="2564279"/>
                  <a:pt x="2755381" y="2563327"/>
                </a:cubicBezTo>
                <a:cubicBezTo>
                  <a:pt x="2757052" y="2562375"/>
                  <a:pt x="2759056" y="2561105"/>
                  <a:pt x="2760726" y="2560152"/>
                </a:cubicBezTo>
                <a:cubicBezTo>
                  <a:pt x="2762397" y="2559200"/>
                  <a:pt x="2764401" y="2558247"/>
                  <a:pt x="2766072" y="2557295"/>
                </a:cubicBezTo>
                <a:cubicBezTo>
                  <a:pt x="2767742" y="2556660"/>
                  <a:pt x="2769746" y="2555708"/>
                  <a:pt x="2771417" y="2555073"/>
                </a:cubicBezTo>
                <a:cubicBezTo>
                  <a:pt x="2773421" y="2554438"/>
                  <a:pt x="2775091" y="2553485"/>
                  <a:pt x="2777096" y="2552850"/>
                </a:cubicBezTo>
                <a:cubicBezTo>
                  <a:pt x="2779100" y="2552215"/>
                  <a:pt x="2780770" y="2551898"/>
                  <a:pt x="2782775" y="2551263"/>
                </a:cubicBezTo>
                <a:cubicBezTo>
                  <a:pt x="2784779" y="2550628"/>
                  <a:pt x="2786784" y="2550310"/>
                  <a:pt x="2788788" y="2549675"/>
                </a:cubicBezTo>
                <a:cubicBezTo>
                  <a:pt x="2790792" y="2549358"/>
                  <a:pt x="2792463" y="2548723"/>
                  <a:pt x="2794467" y="2548406"/>
                </a:cubicBezTo>
                <a:lnTo>
                  <a:pt x="2800146" y="2547453"/>
                </a:lnTo>
                <a:cubicBezTo>
                  <a:pt x="2802151" y="2547136"/>
                  <a:pt x="2804155" y="2547136"/>
                  <a:pt x="2806159" y="2546818"/>
                </a:cubicBezTo>
                <a:cubicBezTo>
                  <a:pt x="2808164" y="2546501"/>
                  <a:pt x="2809834" y="2546501"/>
                  <a:pt x="2811839" y="2546183"/>
                </a:cubicBezTo>
                <a:lnTo>
                  <a:pt x="2817852" y="2546183"/>
                </a:lnTo>
                <a:lnTo>
                  <a:pt x="2823865" y="2546183"/>
                </a:lnTo>
                <a:cubicBezTo>
                  <a:pt x="2825869" y="2546501"/>
                  <a:pt x="2827874" y="2546501"/>
                  <a:pt x="2829878" y="2546818"/>
                </a:cubicBezTo>
                <a:cubicBezTo>
                  <a:pt x="2831883" y="2547136"/>
                  <a:pt x="2833553" y="2547136"/>
                  <a:pt x="2835557" y="2547453"/>
                </a:cubicBezTo>
                <a:lnTo>
                  <a:pt x="2841236" y="2548406"/>
                </a:lnTo>
                <a:cubicBezTo>
                  <a:pt x="2843241" y="2548723"/>
                  <a:pt x="2845245" y="2549358"/>
                  <a:pt x="2847250" y="2549675"/>
                </a:cubicBezTo>
                <a:cubicBezTo>
                  <a:pt x="2849254" y="2550310"/>
                  <a:pt x="2850924" y="2550628"/>
                  <a:pt x="2852929" y="2551263"/>
                </a:cubicBezTo>
                <a:cubicBezTo>
                  <a:pt x="2854933" y="2551898"/>
                  <a:pt x="2856604" y="2552215"/>
                  <a:pt x="2858608" y="2552850"/>
                </a:cubicBezTo>
                <a:cubicBezTo>
                  <a:pt x="2860612" y="2553485"/>
                  <a:pt x="2862283" y="2554438"/>
                  <a:pt x="2864287" y="2555073"/>
                </a:cubicBezTo>
                <a:cubicBezTo>
                  <a:pt x="2866291" y="2555708"/>
                  <a:pt x="2867962" y="2556660"/>
                  <a:pt x="2869966" y="2557295"/>
                </a:cubicBezTo>
                <a:cubicBezTo>
                  <a:pt x="2871637" y="2558247"/>
                  <a:pt x="2873641" y="2559200"/>
                  <a:pt x="2875311" y="2560152"/>
                </a:cubicBezTo>
                <a:cubicBezTo>
                  <a:pt x="2876982" y="2561105"/>
                  <a:pt x="2878652" y="2562375"/>
                  <a:pt x="2880322" y="2563327"/>
                </a:cubicBezTo>
                <a:cubicBezTo>
                  <a:pt x="2881993" y="2564279"/>
                  <a:pt x="2883997" y="2565232"/>
                  <a:pt x="2885667" y="2566184"/>
                </a:cubicBezTo>
                <a:lnTo>
                  <a:pt x="2890678" y="2569994"/>
                </a:lnTo>
                <a:lnTo>
                  <a:pt x="2895689" y="2573804"/>
                </a:lnTo>
                <a:cubicBezTo>
                  <a:pt x="2897360" y="2575074"/>
                  <a:pt x="2898696" y="2576661"/>
                  <a:pt x="2900366" y="2577931"/>
                </a:cubicBezTo>
                <a:cubicBezTo>
                  <a:pt x="2902037" y="2579201"/>
                  <a:pt x="2903373" y="2580788"/>
                  <a:pt x="2905043" y="2582058"/>
                </a:cubicBezTo>
                <a:lnTo>
                  <a:pt x="4398989" y="4073893"/>
                </a:lnTo>
                <a:cubicBezTo>
                  <a:pt x="4400325" y="4075480"/>
                  <a:pt x="4401995" y="4076750"/>
                  <a:pt x="4403332" y="4078338"/>
                </a:cubicBezTo>
                <a:cubicBezTo>
                  <a:pt x="4405002" y="4079608"/>
                  <a:pt x="4406338" y="4081195"/>
                  <a:pt x="4408009" y="4082465"/>
                </a:cubicBezTo>
                <a:lnTo>
                  <a:pt x="4413020" y="4086275"/>
                </a:lnTo>
                <a:cubicBezTo>
                  <a:pt x="4414690" y="4087545"/>
                  <a:pt x="4416360" y="4088497"/>
                  <a:pt x="4418031" y="4089767"/>
                </a:cubicBezTo>
                <a:cubicBezTo>
                  <a:pt x="4419701" y="4091037"/>
                  <a:pt x="4421372" y="4091989"/>
                  <a:pt x="4423042" y="4093259"/>
                </a:cubicBezTo>
                <a:cubicBezTo>
                  <a:pt x="4425046" y="4094212"/>
                  <a:pt x="4426716" y="4094847"/>
                  <a:pt x="4428721" y="4095799"/>
                </a:cubicBezTo>
                <a:lnTo>
                  <a:pt x="4433732" y="4098656"/>
                </a:lnTo>
                <a:cubicBezTo>
                  <a:pt x="4435736" y="4099609"/>
                  <a:pt x="4437741" y="4100244"/>
                  <a:pt x="4439745" y="4101196"/>
                </a:cubicBezTo>
                <a:cubicBezTo>
                  <a:pt x="4441416" y="4101831"/>
                  <a:pt x="4443420" y="4102466"/>
                  <a:pt x="4445090" y="4103101"/>
                </a:cubicBezTo>
                <a:cubicBezTo>
                  <a:pt x="4447094" y="4103736"/>
                  <a:pt x="4448765" y="4104371"/>
                  <a:pt x="4450769" y="4105006"/>
                </a:cubicBezTo>
                <a:cubicBezTo>
                  <a:pt x="4452774" y="4105641"/>
                  <a:pt x="4454444" y="4105958"/>
                  <a:pt x="4456449" y="4106593"/>
                </a:cubicBezTo>
                <a:cubicBezTo>
                  <a:pt x="4458453" y="4106911"/>
                  <a:pt x="4460123" y="4107546"/>
                  <a:pt x="4462127" y="4107863"/>
                </a:cubicBezTo>
                <a:lnTo>
                  <a:pt x="4468140" y="4108816"/>
                </a:lnTo>
                <a:cubicBezTo>
                  <a:pt x="4470145" y="4109133"/>
                  <a:pt x="4472149" y="4109133"/>
                  <a:pt x="4474154" y="4109451"/>
                </a:cubicBezTo>
                <a:cubicBezTo>
                  <a:pt x="4476158" y="4109768"/>
                  <a:pt x="4478162" y="4109768"/>
                  <a:pt x="4480167" y="4110086"/>
                </a:cubicBezTo>
                <a:lnTo>
                  <a:pt x="4485846" y="4110086"/>
                </a:lnTo>
                <a:lnTo>
                  <a:pt x="4491526" y="4110086"/>
                </a:lnTo>
                <a:cubicBezTo>
                  <a:pt x="4493529" y="4109768"/>
                  <a:pt x="4495534" y="4109768"/>
                  <a:pt x="4497538" y="4109451"/>
                </a:cubicBezTo>
                <a:cubicBezTo>
                  <a:pt x="4499543" y="4109133"/>
                  <a:pt x="4501547" y="4109133"/>
                  <a:pt x="4503551" y="4108816"/>
                </a:cubicBezTo>
                <a:lnTo>
                  <a:pt x="4509565" y="4107863"/>
                </a:lnTo>
                <a:cubicBezTo>
                  <a:pt x="4511569" y="4107546"/>
                  <a:pt x="4513239" y="4106911"/>
                  <a:pt x="4515244" y="4106593"/>
                </a:cubicBezTo>
                <a:cubicBezTo>
                  <a:pt x="4516915" y="4105958"/>
                  <a:pt x="4518919" y="4105641"/>
                  <a:pt x="4520589" y="4105006"/>
                </a:cubicBezTo>
                <a:lnTo>
                  <a:pt x="4526602" y="4103101"/>
                </a:lnTo>
                <a:cubicBezTo>
                  <a:pt x="4528272" y="4102466"/>
                  <a:pt x="4530277" y="4101831"/>
                  <a:pt x="4531948" y="4101196"/>
                </a:cubicBezTo>
                <a:cubicBezTo>
                  <a:pt x="4533952" y="4100244"/>
                  <a:pt x="4535956" y="4099609"/>
                  <a:pt x="4537960" y="4098656"/>
                </a:cubicBezTo>
                <a:lnTo>
                  <a:pt x="4542971" y="4095799"/>
                </a:lnTo>
                <a:cubicBezTo>
                  <a:pt x="4544976" y="4094847"/>
                  <a:pt x="4546646" y="4094212"/>
                  <a:pt x="4548650" y="4093259"/>
                </a:cubicBezTo>
                <a:cubicBezTo>
                  <a:pt x="4550321" y="4091989"/>
                  <a:pt x="4551991" y="4091037"/>
                  <a:pt x="4553661" y="4089767"/>
                </a:cubicBezTo>
                <a:cubicBezTo>
                  <a:pt x="4555332" y="4088497"/>
                  <a:pt x="4557002" y="4087545"/>
                  <a:pt x="4558672" y="4086275"/>
                </a:cubicBezTo>
                <a:lnTo>
                  <a:pt x="4563683" y="4082465"/>
                </a:lnTo>
                <a:cubicBezTo>
                  <a:pt x="4565354" y="4081195"/>
                  <a:pt x="4566690" y="4079608"/>
                  <a:pt x="4568360" y="4078338"/>
                </a:cubicBezTo>
                <a:cubicBezTo>
                  <a:pt x="4569697" y="4076750"/>
                  <a:pt x="4571367" y="4075480"/>
                  <a:pt x="4572704" y="4073893"/>
                </a:cubicBezTo>
                <a:lnTo>
                  <a:pt x="4577381" y="4069448"/>
                </a:lnTo>
                <a:lnTo>
                  <a:pt x="4581389" y="4064686"/>
                </a:lnTo>
                <a:cubicBezTo>
                  <a:pt x="4582726" y="4063099"/>
                  <a:pt x="4583727" y="4061194"/>
                  <a:pt x="4585064" y="4059606"/>
                </a:cubicBezTo>
                <a:cubicBezTo>
                  <a:pt x="4586400" y="4058019"/>
                  <a:pt x="4587403" y="4056432"/>
                  <a:pt x="4588738" y="4054844"/>
                </a:cubicBezTo>
                <a:cubicBezTo>
                  <a:pt x="4589741" y="4052939"/>
                  <a:pt x="4591077" y="4051352"/>
                  <a:pt x="4592079" y="4049447"/>
                </a:cubicBezTo>
                <a:cubicBezTo>
                  <a:pt x="4593081" y="4047860"/>
                  <a:pt x="4594084" y="4045955"/>
                  <a:pt x="4595086" y="4044367"/>
                </a:cubicBezTo>
                <a:cubicBezTo>
                  <a:pt x="4595754" y="4042463"/>
                  <a:pt x="4596756" y="4040558"/>
                  <a:pt x="4597424" y="4038653"/>
                </a:cubicBezTo>
                <a:cubicBezTo>
                  <a:pt x="4598092" y="4036748"/>
                  <a:pt x="4599095" y="4035161"/>
                  <a:pt x="4599763" y="4033256"/>
                </a:cubicBezTo>
                <a:cubicBezTo>
                  <a:pt x="4600431" y="4031351"/>
                  <a:pt x="4601433" y="4029763"/>
                  <a:pt x="4602101" y="4027859"/>
                </a:cubicBezTo>
                <a:lnTo>
                  <a:pt x="4604106" y="4022144"/>
                </a:lnTo>
                <a:cubicBezTo>
                  <a:pt x="4604774" y="4020239"/>
                  <a:pt x="4605108" y="4018017"/>
                  <a:pt x="4605776" y="4016112"/>
                </a:cubicBezTo>
                <a:lnTo>
                  <a:pt x="4606778" y="4010397"/>
                </a:lnTo>
                <a:lnTo>
                  <a:pt x="4607781" y="4004683"/>
                </a:lnTo>
                <a:cubicBezTo>
                  <a:pt x="4608115" y="4002778"/>
                  <a:pt x="4608115" y="4000555"/>
                  <a:pt x="4608448" y="3998650"/>
                </a:cubicBezTo>
                <a:cubicBezTo>
                  <a:pt x="4608448" y="3996746"/>
                  <a:pt x="4608782" y="3994841"/>
                  <a:pt x="4608782" y="3992936"/>
                </a:cubicBezTo>
                <a:cubicBezTo>
                  <a:pt x="4608782" y="3991031"/>
                  <a:pt x="4609117" y="3989126"/>
                  <a:pt x="4609117" y="3987221"/>
                </a:cubicBezTo>
                <a:cubicBezTo>
                  <a:pt x="4609117" y="3984999"/>
                  <a:pt x="4608782" y="3983094"/>
                  <a:pt x="4608782" y="3980872"/>
                </a:cubicBezTo>
                <a:cubicBezTo>
                  <a:pt x="4608782" y="3978967"/>
                  <a:pt x="4608448" y="3977062"/>
                  <a:pt x="4608448" y="3975157"/>
                </a:cubicBezTo>
                <a:cubicBezTo>
                  <a:pt x="4608115" y="3973252"/>
                  <a:pt x="4608115" y="3971347"/>
                  <a:pt x="4607781" y="3969442"/>
                </a:cubicBezTo>
                <a:cubicBezTo>
                  <a:pt x="4607446" y="3967537"/>
                  <a:pt x="4607112" y="3965315"/>
                  <a:pt x="4606778" y="3963410"/>
                </a:cubicBezTo>
                <a:lnTo>
                  <a:pt x="4605776" y="3957696"/>
                </a:lnTo>
                <a:cubicBezTo>
                  <a:pt x="4605108" y="3955791"/>
                  <a:pt x="4604774" y="3953886"/>
                  <a:pt x="4604106" y="3951981"/>
                </a:cubicBezTo>
                <a:cubicBezTo>
                  <a:pt x="4603437" y="3950076"/>
                  <a:pt x="4602770" y="3948489"/>
                  <a:pt x="4602101" y="3946584"/>
                </a:cubicBezTo>
                <a:cubicBezTo>
                  <a:pt x="4601433" y="3944679"/>
                  <a:pt x="4600431" y="3942457"/>
                  <a:pt x="4599763" y="3940552"/>
                </a:cubicBezTo>
                <a:cubicBezTo>
                  <a:pt x="4599095" y="3938647"/>
                  <a:pt x="4598092" y="3937059"/>
                  <a:pt x="4597424" y="3935155"/>
                </a:cubicBezTo>
                <a:cubicBezTo>
                  <a:pt x="4596756" y="3933250"/>
                  <a:pt x="4595754" y="3931662"/>
                  <a:pt x="4595086" y="3929757"/>
                </a:cubicBezTo>
                <a:cubicBezTo>
                  <a:pt x="4594084" y="3928170"/>
                  <a:pt x="4593081" y="3926265"/>
                  <a:pt x="4592079" y="3924678"/>
                </a:cubicBezTo>
                <a:cubicBezTo>
                  <a:pt x="4591077" y="3922773"/>
                  <a:pt x="4589741" y="3921185"/>
                  <a:pt x="4588738" y="3919281"/>
                </a:cubicBezTo>
                <a:cubicBezTo>
                  <a:pt x="4587403" y="3917693"/>
                  <a:pt x="4586400" y="3915788"/>
                  <a:pt x="4585064" y="3914201"/>
                </a:cubicBezTo>
                <a:cubicBezTo>
                  <a:pt x="4583727" y="3912614"/>
                  <a:pt x="4582726" y="3910709"/>
                  <a:pt x="4581389" y="3909121"/>
                </a:cubicBezTo>
                <a:cubicBezTo>
                  <a:pt x="4580053" y="3907534"/>
                  <a:pt x="4578716" y="3906264"/>
                  <a:pt x="4577381" y="3904677"/>
                </a:cubicBezTo>
                <a:cubicBezTo>
                  <a:pt x="4575710" y="3903089"/>
                  <a:pt x="4574374" y="3901502"/>
                  <a:pt x="4572704" y="3899914"/>
                </a:cubicBezTo>
                <a:lnTo>
                  <a:pt x="3276525" y="2605234"/>
                </a:lnTo>
                <a:cubicBezTo>
                  <a:pt x="3275189" y="2603647"/>
                  <a:pt x="3273519" y="2602059"/>
                  <a:pt x="3272182" y="2600472"/>
                </a:cubicBezTo>
                <a:cubicBezTo>
                  <a:pt x="3270846" y="2598885"/>
                  <a:pt x="3269510" y="2597615"/>
                  <a:pt x="3268174" y="2596027"/>
                </a:cubicBezTo>
                <a:cubicBezTo>
                  <a:pt x="3266837" y="2594440"/>
                  <a:pt x="3265501" y="2592535"/>
                  <a:pt x="3264165" y="2590948"/>
                </a:cubicBezTo>
                <a:cubicBezTo>
                  <a:pt x="3263163" y="2589360"/>
                  <a:pt x="3261826" y="2587455"/>
                  <a:pt x="3260824" y="2585868"/>
                </a:cubicBezTo>
                <a:cubicBezTo>
                  <a:pt x="3259822" y="2584281"/>
                  <a:pt x="3258820" y="2582376"/>
                  <a:pt x="3257818" y="2580788"/>
                </a:cubicBezTo>
                <a:cubicBezTo>
                  <a:pt x="3256815" y="2579201"/>
                  <a:pt x="3255813" y="2577296"/>
                  <a:pt x="3254811" y="2575709"/>
                </a:cubicBezTo>
                <a:cubicBezTo>
                  <a:pt x="3253809" y="2573804"/>
                  <a:pt x="3253141" y="2571899"/>
                  <a:pt x="3252138" y="2569994"/>
                </a:cubicBezTo>
                <a:cubicBezTo>
                  <a:pt x="3251136" y="2568089"/>
                  <a:pt x="3250468" y="2566502"/>
                  <a:pt x="3249466" y="2564597"/>
                </a:cubicBezTo>
                <a:lnTo>
                  <a:pt x="3247461" y="2558882"/>
                </a:lnTo>
                <a:cubicBezTo>
                  <a:pt x="3246793" y="2556977"/>
                  <a:pt x="3246459" y="2555073"/>
                  <a:pt x="3245791" y="2553168"/>
                </a:cubicBezTo>
                <a:cubicBezTo>
                  <a:pt x="3245123" y="2551263"/>
                  <a:pt x="3244789" y="2549358"/>
                  <a:pt x="3244121" y="2547453"/>
                </a:cubicBezTo>
                <a:cubicBezTo>
                  <a:pt x="3243787" y="2545548"/>
                  <a:pt x="3243119" y="2543643"/>
                  <a:pt x="3242785" y="2541738"/>
                </a:cubicBezTo>
                <a:lnTo>
                  <a:pt x="3241782" y="2536024"/>
                </a:lnTo>
                <a:cubicBezTo>
                  <a:pt x="3241448" y="2534119"/>
                  <a:pt x="3241448" y="2531897"/>
                  <a:pt x="3241114" y="2529992"/>
                </a:cubicBezTo>
                <a:cubicBezTo>
                  <a:pt x="3241114" y="2528087"/>
                  <a:pt x="3240780" y="2526182"/>
                  <a:pt x="3240780" y="2524277"/>
                </a:cubicBezTo>
                <a:lnTo>
                  <a:pt x="3240780" y="2518245"/>
                </a:lnTo>
                <a:lnTo>
                  <a:pt x="3240780" y="2512213"/>
                </a:lnTo>
                <a:cubicBezTo>
                  <a:pt x="3240780" y="2510308"/>
                  <a:pt x="3241114" y="2508403"/>
                  <a:pt x="3241114" y="2506498"/>
                </a:cubicBezTo>
                <a:cubicBezTo>
                  <a:pt x="3241448" y="2504593"/>
                  <a:pt x="3241448" y="2502689"/>
                  <a:pt x="3241782" y="2500784"/>
                </a:cubicBezTo>
                <a:cubicBezTo>
                  <a:pt x="3242116" y="2498879"/>
                  <a:pt x="3242450" y="2496656"/>
                  <a:pt x="3242785" y="2494752"/>
                </a:cubicBezTo>
                <a:cubicBezTo>
                  <a:pt x="3243119" y="2492847"/>
                  <a:pt x="3243787" y="2490942"/>
                  <a:pt x="3244121" y="2489037"/>
                </a:cubicBezTo>
                <a:cubicBezTo>
                  <a:pt x="3244789" y="2487132"/>
                  <a:pt x="3245123" y="2485227"/>
                  <a:pt x="3245791" y="2483322"/>
                </a:cubicBezTo>
                <a:cubicBezTo>
                  <a:pt x="3246459" y="2481417"/>
                  <a:pt x="3246793" y="2479195"/>
                  <a:pt x="3247461" y="2477290"/>
                </a:cubicBezTo>
                <a:cubicBezTo>
                  <a:pt x="3248130" y="2475385"/>
                  <a:pt x="3248798" y="2473798"/>
                  <a:pt x="3249466" y="2471893"/>
                </a:cubicBezTo>
                <a:cubicBezTo>
                  <a:pt x="3250468" y="2469988"/>
                  <a:pt x="3251136" y="2468401"/>
                  <a:pt x="3252138" y="2466496"/>
                </a:cubicBezTo>
                <a:cubicBezTo>
                  <a:pt x="3253141" y="2464591"/>
                  <a:pt x="3253809" y="2463004"/>
                  <a:pt x="3254811" y="2461099"/>
                </a:cubicBezTo>
                <a:cubicBezTo>
                  <a:pt x="3255813" y="2459194"/>
                  <a:pt x="3256815" y="2457606"/>
                  <a:pt x="3257818" y="2455702"/>
                </a:cubicBezTo>
                <a:cubicBezTo>
                  <a:pt x="3258820" y="2453797"/>
                  <a:pt x="3259822" y="2452209"/>
                  <a:pt x="3260824" y="2450304"/>
                </a:cubicBezTo>
                <a:cubicBezTo>
                  <a:pt x="3261826" y="2448717"/>
                  <a:pt x="3263163" y="2447130"/>
                  <a:pt x="3264165" y="2445542"/>
                </a:cubicBezTo>
                <a:cubicBezTo>
                  <a:pt x="3265501" y="2443955"/>
                  <a:pt x="3266837" y="2442050"/>
                  <a:pt x="3268174" y="2440463"/>
                </a:cubicBezTo>
                <a:lnTo>
                  <a:pt x="3272182" y="2435700"/>
                </a:lnTo>
                <a:cubicBezTo>
                  <a:pt x="3273519" y="2434113"/>
                  <a:pt x="3275189" y="2432843"/>
                  <a:pt x="3276525" y="2431256"/>
                </a:cubicBezTo>
                <a:cubicBezTo>
                  <a:pt x="3278196" y="2429668"/>
                  <a:pt x="3279866" y="2428398"/>
                  <a:pt x="3281536" y="2426811"/>
                </a:cubicBezTo>
                <a:lnTo>
                  <a:pt x="3285879" y="2422684"/>
                </a:lnTo>
                <a:lnTo>
                  <a:pt x="3290890" y="2418874"/>
                </a:lnTo>
                <a:cubicBezTo>
                  <a:pt x="3292560" y="2417604"/>
                  <a:pt x="3294565" y="2416652"/>
                  <a:pt x="3296235" y="2415382"/>
                </a:cubicBezTo>
                <a:cubicBezTo>
                  <a:pt x="3297906" y="2414429"/>
                  <a:pt x="3299576" y="2413159"/>
                  <a:pt x="3301246" y="2412207"/>
                </a:cubicBezTo>
                <a:cubicBezTo>
                  <a:pt x="3302917" y="2411255"/>
                  <a:pt x="3304921" y="2410302"/>
                  <a:pt x="3306591" y="2409350"/>
                </a:cubicBezTo>
                <a:cubicBezTo>
                  <a:pt x="3308262" y="2408397"/>
                  <a:pt x="3310266" y="2407445"/>
                  <a:pt x="3311936" y="2406492"/>
                </a:cubicBezTo>
                <a:cubicBezTo>
                  <a:pt x="3313607" y="2405857"/>
                  <a:pt x="3315611" y="2404905"/>
                  <a:pt x="3317281" y="2404270"/>
                </a:cubicBezTo>
                <a:cubicBezTo>
                  <a:pt x="3319286" y="2403635"/>
                  <a:pt x="3321290" y="2402683"/>
                  <a:pt x="3323295" y="2402048"/>
                </a:cubicBezTo>
                <a:cubicBezTo>
                  <a:pt x="3324965" y="2401413"/>
                  <a:pt x="3326969" y="2400778"/>
                  <a:pt x="3328640" y="2400143"/>
                </a:cubicBezTo>
                <a:cubicBezTo>
                  <a:pt x="3330644" y="2399825"/>
                  <a:pt x="3332648" y="2399190"/>
                  <a:pt x="3334653" y="2398873"/>
                </a:cubicBezTo>
                <a:cubicBezTo>
                  <a:pt x="3336657" y="2398238"/>
                  <a:pt x="3338328" y="2397920"/>
                  <a:pt x="3340332" y="2397285"/>
                </a:cubicBezTo>
                <a:lnTo>
                  <a:pt x="3346011" y="2396333"/>
                </a:lnTo>
                <a:cubicBezTo>
                  <a:pt x="3348016" y="2396016"/>
                  <a:pt x="3350020" y="2396016"/>
                  <a:pt x="3352024" y="2395698"/>
                </a:cubicBezTo>
                <a:cubicBezTo>
                  <a:pt x="3354029" y="2395698"/>
                  <a:pt x="3355699" y="2395381"/>
                  <a:pt x="3357703" y="2395381"/>
                </a:cubicBezTo>
                <a:lnTo>
                  <a:pt x="3364051" y="2395381"/>
                </a:lnTo>
                <a:lnTo>
                  <a:pt x="3369730" y="2395381"/>
                </a:lnTo>
                <a:cubicBezTo>
                  <a:pt x="3371734" y="2395381"/>
                  <a:pt x="3373739" y="2395698"/>
                  <a:pt x="3375743" y="2395698"/>
                </a:cubicBezTo>
                <a:cubicBezTo>
                  <a:pt x="3377747" y="2396016"/>
                  <a:pt x="3379418" y="2396016"/>
                  <a:pt x="3381422" y="2396333"/>
                </a:cubicBezTo>
                <a:lnTo>
                  <a:pt x="3387101" y="2397285"/>
                </a:lnTo>
                <a:cubicBezTo>
                  <a:pt x="3389106" y="2397920"/>
                  <a:pt x="3391110" y="2398238"/>
                  <a:pt x="3393114" y="2398873"/>
                </a:cubicBezTo>
                <a:cubicBezTo>
                  <a:pt x="3395119" y="2399190"/>
                  <a:pt x="3396789" y="2399825"/>
                  <a:pt x="3398794" y="2400143"/>
                </a:cubicBezTo>
                <a:lnTo>
                  <a:pt x="3404807" y="2402048"/>
                </a:lnTo>
                <a:cubicBezTo>
                  <a:pt x="3406477" y="2402683"/>
                  <a:pt x="3408482" y="2403635"/>
                  <a:pt x="3410152" y="2404270"/>
                </a:cubicBezTo>
                <a:cubicBezTo>
                  <a:pt x="3412156" y="2404905"/>
                  <a:pt x="3413827" y="2405857"/>
                  <a:pt x="3415831" y="2406492"/>
                </a:cubicBezTo>
                <a:cubicBezTo>
                  <a:pt x="3417501" y="2407445"/>
                  <a:pt x="3419506" y="2408397"/>
                  <a:pt x="3421176" y="2409350"/>
                </a:cubicBezTo>
                <a:lnTo>
                  <a:pt x="3426187" y="2412207"/>
                </a:lnTo>
                <a:cubicBezTo>
                  <a:pt x="3428191" y="2413159"/>
                  <a:pt x="3429862" y="2414429"/>
                  <a:pt x="3431866" y="2415382"/>
                </a:cubicBezTo>
                <a:cubicBezTo>
                  <a:pt x="3433537" y="2416652"/>
                  <a:pt x="3434873" y="2417604"/>
                  <a:pt x="3436543" y="2418874"/>
                </a:cubicBezTo>
                <a:lnTo>
                  <a:pt x="3441554" y="2422684"/>
                </a:lnTo>
                <a:cubicBezTo>
                  <a:pt x="3443224" y="2423954"/>
                  <a:pt x="3444895" y="2425541"/>
                  <a:pt x="3446565" y="2426811"/>
                </a:cubicBezTo>
                <a:cubicBezTo>
                  <a:pt x="3447901" y="2428398"/>
                  <a:pt x="3449572" y="2429668"/>
                  <a:pt x="3450908" y="2431256"/>
                </a:cubicBezTo>
                <a:lnTo>
                  <a:pt x="4169819" y="3149076"/>
                </a:lnTo>
                <a:lnTo>
                  <a:pt x="4174496" y="3153521"/>
                </a:lnTo>
                <a:cubicBezTo>
                  <a:pt x="4176167" y="3154791"/>
                  <a:pt x="4177503" y="3156378"/>
                  <a:pt x="4179173" y="3157648"/>
                </a:cubicBezTo>
                <a:lnTo>
                  <a:pt x="4184184" y="3161458"/>
                </a:lnTo>
                <a:cubicBezTo>
                  <a:pt x="4185855" y="3162728"/>
                  <a:pt x="4187525" y="3163680"/>
                  <a:pt x="4189195" y="3164950"/>
                </a:cubicBezTo>
                <a:cubicBezTo>
                  <a:pt x="4190866" y="3166220"/>
                  <a:pt x="4192870" y="3167172"/>
                  <a:pt x="4194540" y="3168442"/>
                </a:cubicBezTo>
                <a:cubicBezTo>
                  <a:pt x="4196211" y="3169395"/>
                  <a:pt x="4197881" y="3170030"/>
                  <a:pt x="4199551" y="3170982"/>
                </a:cubicBezTo>
                <a:cubicBezTo>
                  <a:pt x="4201222" y="3171935"/>
                  <a:pt x="4203226" y="3172887"/>
                  <a:pt x="4204896" y="3173840"/>
                </a:cubicBezTo>
                <a:cubicBezTo>
                  <a:pt x="4206901" y="3174474"/>
                  <a:pt x="4208571" y="3175427"/>
                  <a:pt x="4210576" y="3176062"/>
                </a:cubicBezTo>
                <a:cubicBezTo>
                  <a:pt x="4212580" y="3176697"/>
                  <a:pt x="4214250" y="3177649"/>
                  <a:pt x="4216255" y="3178284"/>
                </a:cubicBezTo>
                <a:cubicBezTo>
                  <a:pt x="4218259" y="3178919"/>
                  <a:pt x="4219929" y="3179554"/>
                  <a:pt x="4221934" y="3180189"/>
                </a:cubicBezTo>
                <a:cubicBezTo>
                  <a:pt x="4223938" y="3180824"/>
                  <a:pt x="4225609" y="3181142"/>
                  <a:pt x="4227613" y="3181776"/>
                </a:cubicBezTo>
                <a:cubicBezTo>
                  <a:pt x="4229617" y="3182094"/>
                  <a:pt x="4231288" y="3182729"/>
                  <a:pt x="4233292" y="3183046"/>
                </a:cubicBezTo>
                <a:lnTo>
                  <a:pt x="4239305" y="3183999"/>
                </a:lnTo>
                <a:cubicBezTo>
                  <a:pt x="4241310" y="3184316"/>
                  <a:pt x="4242980" y="3184316"/>
                  <a:pt x="4244984" y="3184634"/>
                </a:cubicBezTo>
                <a:cubicBezTo>
                  <a:pt x="4246989" y="3184634"/>
                  <a:pt x="4248993" y="3184951"/>
                  <a:pt x="4250998" y="3184951"/>
                </a:cubicBezTo>
                <a:cubicBezTo>
                  <a:pt x="4253002" y="3184951"/>
                  <a:pt x="4255006" y="3185269"/>
                  <a:pt x="4257011" y="3185269"/>
                </a:cubicBezTo>
                <a:cubicBezTo>
                  <a:pt x="4259015" y="3185269"/>
                  <a:pt x="4261020" y="3184951"/>
                  <a:pt x="4263024" y="3184951"/>
                </a:cubicBezTo>
                <a:cubicBezTo>
                  <a:pt x="4265028" y="3184951"/>
                  <a:pt x="4266699" y="3184634"/>
                  <a:pt x="4268703" y="3184634"/>
                </a:cubicBezTo>
                <a:cubicBezTo>
                  <a:pt x="4270707" y="3184316"/>
                  <a:pt x="4272378" y="3184316"/>
                  <a:pt x="4274382" y="3183999"/>
                </a:cubicBezTo>
                <a:lnTo>
                  <a:pt x="4280395" y="3183046"/>
                </a:lnTo>
                <a:cubicBezTo>
                  <a:pt x="4282400" y="3182729"/>
                  <a:pt x="4284070" y="3182094"/>
                  <a:pt x="4286075" y="3181776"/>
                </a:cubicBezTo>
                <a:cubicBezTo>
                  <a:pt x="4288079" y="3181142"/>
                  <a:pt x="4290083" y="3180824"/>
                  <a:pt x="4292088" y="3180189"/>
                </a:cubicBezTo>
                <a:cubicBezTo>
                  <a:pt x="4294092" y="3179554"/>
                  <a:pt x="4295762" y="3178919"/>
                  <a:pt x="4297767" y="3178284"/>
                </a:cubicBezTo>
                <a:cubicBezTo>
                  <a:pt x="4299771" y="3177649"/>
                  <a:pt x="4301442" y="3176697"/>
                  <a:pt x="4303446" y="3176062"/>
                </a:cubicBezTo>
                <a:cubicBezTo>
                  <a:pt x="4305116" y="3175427"/>
                  <a:pt x="4307121" y="3174474"/>
                  <a:pt x="4308791" y="3173840"/>
                </a:cubicBezTo>
                <a:cubicBezTo>
                  <a:pt x="4310461" y="3172887"/>
                  <a:pt x="4312466" y="3171935"/>
                  <a:pt x="4314136" y="3170982"/>
                </a:cubicBezTo>
                <a:cubicBezTo>
                  <a:pt x="4316140" y="3170030"/>
                  <a:pt x="4317811" y="3169395"/>
                  <a:pt x="4319815" y="3168442"/>
                </a:cubicBezTo>
                <a:cubicBezTo>
                  <a:pt x="4321486" y="3167172"/>
                  <a:pt x="4323156" y="3166220"/>
                  <a:pt x="4324826" y="3164950"/>
                </a:cubicBezTo>
                <a:cubicBezTo>
                  <a:pt x="4326497" y="3163680"/>
                  <a:pt x="4327833" y="3162728"/>
                  <a:pt x="4329503" y="3161458"/>
                </a:cubicBezTo>
                <a:cubicBezTo>
                  <a:pt x="4331173" y="3160188"/>
                  <a:pt x="4333178" y="3158918"/>
                  <a:pt x="4334848" y="3157648"/>
                </a:cubicBezTo>
                <a:cubicBezTo>
                  <a:pt x="4336519" y="3156378"/>
                  <a:pt x="4337855" y="3154791"/>
                  <a:pt x="4339525" y="3153521"/>
                </a:cubicBezTo>
                <a:lnTo>
                  <a:pt x="4344202" y="3149076"/>
                </a:lnTo>
                <a:cubicBezTo>
                  <a:pt x="4345538" y="3147489"/>
                  <a:pt x="4347209" y="3146219"/>
                  <a:pt x="4348545" y="3144631"/>
                </a:cubicBezTo>
                <a:lnTo>
                  <a:pt x="4352554" y="3139869"/>
                </a:lnTo>
                <a:cubicBezTo>
                  <a:pt x="4353890" y="3138282"/>
                  <a:pt x="4354892" y="3136377"/>
                  <a:pt x="4356228" y="3134790"/>
                </a:cubicBezTo>
                <a:cubicBezTo>
                  <a:pt x="4357565" y="3133202"/>
                  <a:pt x="4358567" y="3131615"/>
                  <a:pt x="4359903" y="3130027"/>
                </a:cubicBezTo>
                <a:cubicBezTo>
                  <a:pt x="4360905" y="3128440"/>
                  <a:pt x="4362242" y="3126535"/>
                  <a:pt x="4363244" y="3124948"/>
                </a:cubicBezTo>
                <a:cubicBezTo>
                  <a:pt x="4364246" y="3123043"/>
                  <a:pt x="4364914" y="3121455"/>
                  <a:pt x="4365916" y="3119551"/>
                </a:cubicBezTo>
                <a:cubicBezTo>
                  <a:pt x="4366919" y="3117646"/>
                  <a:pt x="4367587" y="3115741"/>
                  <a:pt x="4368589" y="3113836"/>
                </a:cubicBezTo>
                <a:cubicBezTo>
                  <a:pt x="4369591" y="3111931"/>
                  <a:pt x="4370259" y="3110344"/>
                  <a:pt x="4371261" y="3108439"/>
                </a:cubicBezTo>
                <a:cubicBezTo>
                  <a:pt x="4371930" y="3106534"/>
                  <a:pt x="4372598" y="3104947"/>
                  <a:pt x="4373266" y="3103042"/>
                </a:cubicBezTo>
                <a:cubicBezTo>
                  <a:pt x="4373934" y="3101137"/>
                  <a:pt x="4374602" y="3098914"/>
                  <a:pt x="4375270" y="3097010"/>
                </a:cubicBezTo>
                <a:cubicBezTo>
                  <a:pt x="4375604" y="3095105"/>
                  <a:pt x="4376272" y="3093200"/>
                  <a:pt x="4376606" y="3091295"/>
                </a:cubicBezTo>
                <a:cubicBezTo>
                  <a:pt x="4376941" y="3089390"/>
                  <a:pt x="4377609" y="3087485"/>
                  <a:pt x="4377943" y="3085580"/>
                </a:cubicBezTo>
                <a:lnTo>
                  <a:pt x="4378945" y="3079866"/>
                </a:lnTo>
                <a:cubicBezTo>
                  <a:pt x="4379279" y="3077961"/>
                  <a:pt x="4379279" y="3075738"/>
                  <a:pt x="4379613" y="3073834"/>
                </a:cubicBezTo>
                <a:cubicBezTo>
                  <a:pt x="4379613" y="3071929"/>
                  <a:pt x="4379947" y="3070024"/>
                  <a:pt x="4379947" y="3068119"/>
                </a:cubicBezTo>
                <a:cubicBezTo>
                  <a:pt x="4379947" y="3066214"/>
                  <a:pt x="4380281" y="3064309"/>
                  <a:pt x="4380281" y="3062404"/>
                </a:cubicBezTo>
                <a:cubicBezTo>
                  <a:pt x="4380281" y="3060182"/>
                  <a:pt x="4379947" y="3058277"/>
                  <a:pt x="4379947" y="3056055"/>
                </a:cubicBezTo>
                <a:cubicBezTo>
                  <a:pt x="4379947" y="3054150"/>
                  <a:pt x="4379613" y="3052245"/>
                  <a:pt x="4379613" y="3050340"/>
                </a:cubicBezTo>
                <a:cubicBezTo>
                  <a:pt x="4379279" y="3048435"/>
                  <a:pt x="4379279" y="3046530"/>
                  <a:pt x="4378945" y="3044625"/>
                </a:cubicBezTo>
                <a:cubicBezTo>
                  <a:pt x="4378611" y="3042721"/>
                  <a:pt x="4378277" y="3040498"/>
                  <a:pt x="4377943" y="3038593"/>
                </a:cubicBezTo>
                <a:cubicBezTo>
                  <a:pt x="4377609" y="3036688"/>
                  <a:pt x="4376941" y="3034784"/>
                  <a:pt x="4376606" y="3032879"/>
                </a:cubicBezTo>
                <a:cubicBezTo>
                  <a:pt x="4376272" y="3030974"/>
                  <a:pt x="4375604" y="3029069"/>
                  <a:pt x="4375270" y="3027164"/>
                </a:cubicBezTo>
                <a:lnTo>
                  <a:pt x="4373266" y="3021449"/>
                </a:lnTo>
                <a:lnTo>
                  <a:pt x="4371261" y="3015735"/>
                </a:lnTo>
                <a:cubicBezTo>
                  <a:pt x="4370259" y="3013830"/>
                  <a:pt x="4369591" y="3012243"/>
                  <a:pt x="4368589" y="3010338"/>
                </a:cubicBezTo>
                <a:cubicBezTo>
                  <a:pt x="4367587" y="3008433"/>
                  <a:pt x="4366919" y="3006845"/>
                  <a:pt x="4365916" y="3004941"/>
                </a:cubicBezTo>
                <a:cubicBezTo>
                  <a:pt x="4364914" y="3003036"/>
                  <a:pt x="4364246" y="3001448"/>
                  <a:pt x="4363244" y="2999543"/>
                </a:cubicBezTo>
                <a:cubicBezTo>
                  <a:pt x="4362242" y="2997956"/>
                  <a:pt x="4360905" y="2996051"/>
                  <a:pt x="4359903" y="2994464"/>
                </a:cubicBezTo>
                <a:cubicBezTo>
                  <a:pt x="4358567" y="2992876"/>
                  <a:pt x="4357565" y="2990971"/>
                  <a:pt x="4356228" y="2989384"/>
                </a:cubicBezTo>
                <a:cubicBezTo>
                  <a:pt x="4354892" y="2987797"/>
                  <a:pt x="4353890" y="2986209"/>
                  <a:pt x="4352554" y="2984622"/>
                </a:cubicBezTo>
                <a:lnTo>
                  <a:pt x="4348545" y="2979860"/>
                </a:lnTo>
                <a:cubicBezTo>
                  <a:pt x="4347209" y="2978272"/>
                  <a:pt x="4345538" y="2976685"/>
                  <a:pt x="4344202" y="2975098"/>
                </a:cubicBezTo>
                <a:lnTo>
                  <a:pt x="4244650" y="2875727"/>
                </a:lnTo>
                <a:lnTo>
                  <a:pt x="3995771" y="2627140"/>
                </a:lnTo>
                <a:cubicBezTo>
                  <a:pt x="3994434" y="2625553"/>
                  <a:pt x="3992764" y="2624283"/>
                  <a:pt x="3991428" y="2622696"/>
                </a:cubicBezTo>
                <a:lnTo>
                  <a:pt x="3987419" y="2617933"/>
                </a:lnTo>
                <a:lnTo>
                  <a:pt x="3983410" y="2613171"/>
                </a:lnTo>
                <a:cubicBezTo>
                  <a:pt x="3982408" y="2611584"/>
                  <a:pt x="3981072" y="2609679"/>
                  <a:pt x="3980070" y="2608092"/>
                </a:cubicBezTo>
                <a:cubicBezTo>
                  <a:pt x="3979067" y="2606504"/>
                  <a:pt x="3978065" y="2604599"/>
                  <a:pt x="3977063" y="2603012"/>
                </a:cubicBezTo>
                <a:cubicBezTo>
                  <a:pt x="3976061" y="2601107"/>
                  <a:pt x="3974724" y="2599202"/>
                  <a:pt x="3973722" y="2597297"/>
                </a:cubicBezTo>
                <a:cubicBezTo>
                  <a:pt x="3972720" y="2595392"/>
                  <a:pt x="3972052" y="2593805"/>
                  <a:pt x="3971050" y="2591900"/>
                </a:cubicBezTo>
                <a:cubicBezTo>
                  <a:pt x="3970382" y="2589995"/>
                  <a:pt x="3969379" y="2588408"/>
                  <a:pt x="3968711" y="2586503"/>
                </a:cubicBezTo>
                <a:cubicBezTo>
                  <a:pt x="3968043" y="2584598"/>
                  <a:pt x="3967375" y="2583011"/>
                  <a:pt x="3966707" y="2581106"/>
                </a:cubicBezTo>
                <a:cubicBezTo>
                  <a:pt x="3966039" y="2579201"/>
                  <a:pt x="3965705" y="2576979"/>
                  <a:pt x="3965037" y="2575074"/>
                </a:cubicBezTo>
                <a:cubicBezTo>
                  <a:pt x="3964368" y="2573169"/>
                  <a:pt x="3964034" y="2571581"/>
                  <a:pt x="3963366" y="2569677"/>
                </a:cubicBezTo>
                <a:cubicBezTo>
                  <a:pt x="3963032" y="2567772"/>
                  <a:pt x="3962364" y="2565867"/>
                  <a:pt x="3962030" y="2563962"/>
                </a:cubicBezTo>
                <a:lnTo>
                  <a:pt x="3961028" y="2558247"/>
                </a:lnTo>
                <a:cubicBezTo>
                  <a:pt x="3960694" y="2556025"/>
                  <a:pt x="3960360" y="2554120"/>
                  <a:pt x="3960026" y="2551898"/>
                </a:cubicBezTo>
                <a:cubicBezTo>
                  <a:pt x="3960026" y="2549993"/>
                  <a:pt x="3959691" y="2548088"/>
                  <a:pt x="3959691" y="2546183"/>
                </a:cubicBezTo>
                <a:lnTo>
                  <a:pt x="3959691" y="2540469"/>
                </a:lnTo>
                <a:lnTo>
                  <a:pt x="3959691" y="2534436"/>
                </a:lnTo>
                <a:cubicBezTo>
                  <a:pt x="3959691" y="2532532"/>
                  <a:pt x="3960026" y="2530309"/>
                  <a:pt x="3960026" y="2528404"/>
                </a:cubicBezTo>
                <a:lnTo>
                  <a:pt x="3961028" y="2522690"/>
                </a:lnTo>
                <a:cubicBezTo>
                  <a:pt x="3961362" y="2520785"/>
                  <a:pt x="3961696" y="2518562"/>
                  <a:pt x="3962030" y="2516658"/>
                </a:cubicBezTo>
                <a:cubicBezTo>
                  <a:pt x="3962364" y="2514753"/>
                  <a:pt x="3963032" y="2512848"/>
                  <a:pt x="3963366" y="2510943"/>
                </a:cubicBezTo>
                <a:cubicBezTo>
                  <a:pt x="3964034" y="2509038"/>
                  <a:pt x="3964368" y="2507133"/>
                  <a:pt x="3965037" y="2505228"/>
                </a:cubicBezTo>
                <a:cubicBezTo>
                  <a:pt x="3965705" y="2503323"/>
                  <a:pt x="3966039" y="2501419"/>
                  <a:pt x="3966707" y="2499514"/>
                </a:cubicBezTo>
                <a:cubicBezTo>
                  <a:pt x="3967375" y="2497609"/>
                  <a:pt x="3968043" y="2496021"/>
                  <a:pt x="3968711" y="2494117"/>
                </a:cubicBezTo>
                <a:cubicBezTo>
                  <a:pt x="3969379" y="2492212"/>
                  <a:pt x="3970382" y="2490307"/>
                  <a:pt x="3971050" y="2488402"/>
                </a:cubicBezTo>
                <a:cubicBezTo>
                  <a:pt x="3972052" y="2486815"/>
                  <a:pt x="3972720" y="2484910"/>
                  <a:pt x="3973722" y="2483322"/>
                </a:cubicBezTo>
                <a:cubicBezTo>
                  <a:pt x="3974724" y="2481417"/>
                  <a:pt x="3976061" y="2479513"/>
                  <a:pt x="3977063" y="2477608"/>
                </a:cubicBezTo>
                <a:cubicBezTo>
                  <a:pt x="3978065" y="2476020"/>
                  <a:pt x="3979067" y="2474115"/>
                  <a:pt x="3980070" y="2472528"/>
                </a:cubicBezTo>
                <a:cubicBezTo>
                  <a:pt x="3981072" y="2470941"/>
                  <a:pt x="3982408" y="2469036"/>
                  <a:pt x="3983410" y="2467448"/>
                </a:cubicBezTo>
                <a:lnTo>
                  <a:pt x="3987419" y="2462686"/>
                </a:lnTo>
                <a:lnTo>
                  <a:pt x="3991428" y="2457924"/>
                </a:lnTo>
                <a:cubicBezTo>
                  <a:pt x="3992764" y="2456337"/>
                  <a:pt x="3994434" y="2454749"/>
                  <a:pt x="3995771" y="2453162"/>
                </a:cubicBezTo>
                <a:cubicBezTo>
                  <a:pt x="3997441" y="2451892"/>
                  <a:pt x="3998777" y="2450304"/>
                  <a:pt x="4000448" y="2449035"/>
                </a:cubicBezTo>
                <a:cubicBezTo>
                  <a:pt x="4002118" y="2447765"/>
                  <a:pt x="4003788" y="2446177"/>
                  <a:pt x="4005459" y="2444907"/>
                </a:cubicBezTo>
                <a:cubicBezTo>
                  <a:pt x="4007129" y="2443637"/>
                  <a:pt x="4008465" y="2442367"/>
                  <a:pt x="4010135" y="2441098"/>
                </a:cubicBezTo>
                <a:lnTo>
                  <a:pt x="4015146" y="2437288"/>
                </a:lnTo>
                <a:cubicBezTo>
                  <a:pt x="4016817" y="2436335"/>
                  <a:pt x="4018821" y="2435383"/>
                  <a:pt x="4020492" y="2434430"/>
                </a:cubicBezTo>
                <a:cubicBezTo>
                  <a:pt x="4022162" y="2433478"/>
                  <a:pt x="4023832" y="2432208"/>
                  <a:pt x="4025503" y="2431256"/>
                </a:cubicBezTo>
                <a:cubicBezTo>
                  <a:pt x="4027507" y="2430303"/>
                  <a:pt x="4029177" y="2429351"/>
                  <a:pt x="4031182" y="2428398"/>
                </a:cubicBezTo>
                <a:cubicBezTo>
                  <a:pt x="4032852" y="2427763"/>
                  <a:pt x="4034856" y="2426811"/>
                  <a:pt x="4036527" y="2426176"/>
                </a:cubicBezTo>
                <a:cubicBezTo>
                  <a:pt x="4038531" y="2425541"/>
                  <a:pt x="4040201" y="2424589"/>
                  <a:pt x="4042206" y="2423954"/>
                </a:cubicBezTo>
                <a:cubicBezTo>
                  <a:pt x="4044210" y="2423319"/>
                  <a:pt x="4045881" y="2423001"/>
                  <a:pt x="4047885" y="2422366"/>
                </a:cubicBezTo>
                <a:cubicBezTo>
                  <a:pt x="4049889" y="2421731"/>
                  <a:pt x="4051560" y="2421096"/>
                  <a:pt x="4053564" y="2420461"/>
                </a:cubicBezTo>
                <a:lnTo>
                  <a:pt x="4059577" y="2419509"/>
                </a:lnTo>
                <a:lnTo>
                  <a:pt x="4065256" y="2418557"/>
                </a:lnTo>
                <a:cubicBezTo>
                  <a:pt x="4067261" y="2418239"/>
                  <a:pt x="4069265" y="2418239"/>
                  <a:pt x="4071270" y="2417922"/>
                </a:cubicBezTo>
                <a:cubicBezTo>
                  <a:pt x="4073274" y="2417604"/>
                  <a:pt x="4074944" y="2417604"/>
                  <a:pt x="4076949" y="2417287"/>
                </a:cubicBezTo>
                <a:lnTo>
                  <a:pt x="4082962" y="2417287"/>
                </a:lnTo>
                <a:lnTo>
                  <a:pt x="4088975" y="2417287"/>
                </a:lnTo>
                <a:cubicBezTo>
                  <a:pt x="4090980" y="2417604"/>
                  <a:pt x="4092650" y="2417604"/>
                  <a:pt x="4094654" y="2417922"/>
                </a:cubicBezTo>
                <a:cubicBezTo>
                  <a:pt x="4096659" y="2418239"/>
                  <a:pt x="4098663" y="2418239"/>
                  <a:pt x="4100668" y="2418557"/>
                </a:cubicBezTo>
                <a:lnTo>
                  <a:pt x="4106347" y="2419509"/>
                </a:lnTo>
                <a:lnTo>
                  <a:pt x="4112360" y="2420461"/>
                </a:lnTo>
                <a:cubicBezTo>
                  <a:pt x="4114364" y="2421096"/>
                  <a:pt x="4116035" y="2421731"/>
                  <a:pt x="4118039" y="2422366"/>
                </a:cubicBezTo>
                <a:cubicBezTo>
                  <a:pt x="4120043" y="2423001"/>
                  <a:pt x="4121714" y="2423319"/>
                  <a:pt x="4123718" y="2423954"/>
                </a:cubicBezTo>
                <a:cubicBezTo>
                  <a:pt x="4125723" y="2424589"/>
                  <a:pt x="4127393" y="2425541"/>
                  <a:pt x="4129397" y="2426176"/>
                </a:cubicBezTo>
                <a:cubicBezTo>
                  <a:pt x="4131068" y="2426811"/>
                  <a:pt x="4133072" y="2427763"/>
                  <a:pt x="4134742" y="2428398"/>
                </a:cubicBezTo>
                <a:cubicBezTo>
                  <a:pt x="4136747" y="2429351"/>
                  <a:pt x="4138417" y="2430303"/>
                  <a:pt x="4140421" y="2431256"/>
                </a:cubicBezTo>
                <a:cubicBezTo>
                  <a:pt x="4142092" y="2432208"/>
                  <a:pt x="4144096" y="2433478"/>
                  <a:pt x="4145767" y="2434430"/>
                </a:cubicBezTo>
                <a:lnTo>
                  <a:pt x="4150778" y="2437288"/>
                </a:lnTo>
                <a:lnTo>
                  <a:pt x="4155789" y="2441098"/>
                </a:lnTo>
                <a:lnTo>
                  <a:pt x="4160800" y="2444907"/>
                </a:lnTo>
                <a:cubicBezTo>
                  <a:pt x="4162470" y="2446177"/>
                  <a:pt x="4163806" y="2447765"/>
                  <a:pt x="4165476" y="2449035"/>
                </a:cubicBezTo>
                <a:cubicBezTo>
                  <a:pt x="4167147" y="2450304"/>
                  <a:pt x="4168483" y="2451892"/>
                  <a:pt x="4170153" y="2453162"/>
                </a:cubicBezTo>
                <a:lnTo>
                  <a:pt x="4969908" y="3252257"/>
                </a:lnTo>
                <a:lnTo>
                  <a:pt x="6561736" y="4841875"/>
                </a:lnTo>
                <a:lnTo>
                  <a:pt x="6561736" y="0"/>
                </a:lnTo>
                <a:close/>
              </a:path>
            </a:pathLst>
          </a:custGeom>
          <a:solidFill>
            <a:srgbClr val="F1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AB80B2B9-9F81-4D56-9298-6261630E1C6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" y="3760471"/>
            <a:ext cx="2312510" cy="2558098"/>
          </a:xfrm>
          <a:custGeom>
            <a:avLst/>
            <a:gdLst>
              <a:gd name="T0" fmla="*/ 110 w 4944"/>
              <a:gd name="T1" fmla="*/ 115 h 5753"/>
              <a:gd name="T2" fmla="*/ 137 w 4944"/>
              <a:gd name="T3" fmla="*/ 88 h 5753"/>
              <a:gd name="T4" fmla="*/ 168 w 4944"/>
              <a:gd name="T5" fmla="*/ 64 h 5753"/>
              <a:gd name="T6" fmla="*/ 200 w 4944"/>
              <a:gd name="T7" fmla="*/ 45 h 5753"/>
              <a:gd name="T8" fmla="*/ 233 w 4944"/>
              <a:gd name="T9" fmla="*/ 29 h 5753"/>
              <a:gd name="T10" fmla="*/ 268 w 4944"/>
              <a:gd name="T11" fmla="*/ 16 h 5753"/>
              <a:gd name="T12" fmla="*/ 302 w 4944"/>
              <a:gd name="T13" fmla="*/ 7 h 5753"/>
              <a:gd name="T14" fmla="*/ 338 w 4944"/>
              <a:gd name="T15" fmla="*/ 2 h 5753"/>
              <a:gd name="T16" fmla="*/ 374 w 4944"/>
              <a:gd name="T17" fmla="*/ 0 h 5753"/>
              <a:gd name="T18" fmla="*/ 410 w 4944"/>
              <a:gd name="T19" fmla="*/ 2 h 5753"/>
              <a:gd name="T20" fmla="*/ 445 w 4944"/>
              <a:gd name="T21" fmla="*/ 7 h 5753"/>
              <a:gd name="T22" fmla="*/ 481 w 4944"/>
              <a:gd name="T23" fmla="*/ 16 h 5753"/>
              <a:gd name="T24" fmla="*/ 515 w 4944"/>
              <a:gd name="T25" fmla="*/ 29 h 5753"/>
              <a:gd name="T26" fmla="*/ 548 w 4944"/>
              <a:gd name="T27" fmla="*/ 45 h 5753"/>
              <a:gd name="T28" fmla="*/ 580 w 4944"/>
              <a:gd name="T29" fmla="*/ 64 h 5753"/>
              <a:gd name="T30" fmla="*/ 610 w 4944"/>
              <a:gd name="T31" fmla="*/ 88 h 5753"/>
              <a:gd name="T32" fmla="*/ 639 w 4944"/>
              <a:gd name="T33" fmla="*/ 115 h 5753"/>
              <a:gd name="T34" fmla="*/ 4944 w 4944"/>
              <a:gd name="T35" fmla="*/ 5753 h 5753"/>
              <a:gd name="T36" fmla="*/ 110 w 4944"/>
              <a:gd name="T37" fmla="*/ 672 h 5753"/>
              <a:gd name="T38" fmla="*/ 84 w 4944"/>
              <a:gd name="T39" fmla="*/ 642 h 5753"/>
              <a:gd name="T40" fmla="*/ 62 w 4944"/>
              <a:gd name="T41" fmla="*/ 609 h 5753"/>
              <a:gd name="T42" fmla="*/ 42 w 4944"/>
              <a:gd name="T43" fmla="*/ 576 h 5753"/>
              <a:gd name="T44" fmla="*/ 27 w 4944"/>
              <a:gd name="T45" fmla="*/ 541 h 5753"/>
              <a:gd name="T46" fmla="*/ 15 w 4944"/>
              <a:gd name="T47" fmla="*/ 505 h 5753"/>
              <a:gd name="T48" fmla="*/ 6 w 4944"/>
              <a:gd name="T49" fmla="*/ 468 h 5753"/>
              <a:gd name="T50" fmla="*/ 1 w 4944"/>
              <a:gd name="T51" fmla="*/ 430 h 5753"/>
              <a:gd name="T52" fmla="*/ 0 w 4944"/>
              <a:gd name="T53" fmla="*/ 393 h 5753"/>
              <a:gd name="T54" fmla="*/ 1 w 4944"/>
              <a:gd name="T55" fmla="*/ 355 h 5753"/>
              <a:gd name="T56" fmla="*/ 6 w 4944"/>
              <a:gd name="T57" fmla="*/ 318 h 5753"/>
              <a:gd name="T58" fmla="*/ 15 w 4944"/>
              <a:gd name="T59" fmla="*/ 281 h 5753"/>
              <a:gd name="T60" fmla="*/ 27 w 4944"/>
              <a:gd name="T61" fmla="*/ 245 h 5753"/>
              <a:gd name="T62" fmla="*/ 42 w 4944"/>
              <a:gd name="T63" fmla="*/ 211 h 5753"/>
              <a:gd name="T64" fmla="*/ 62 w 4944"/>
              <a:gd name="T65" fmla="*/ 176 h 5753"/>
              <a:gd name="T66" fmla="*/ 84 w 4944"/>
              <a:gd name="T67" fmla="*/ 145 h 5753"/>
              <a:gd name="T68" fmla="*/ 110 w 4944"/>
              <a:gd name="T69" fmla="*/ 115 h 5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944" h="5753">
                <a:moveTo>
                  <a:pt x="110" y="115"/>
                </a:moveTo>
                <a:lnTo>
                  <a:pt x="110" y="115"/>
                </a:lnTo>
                <a:lnTo>
                  <a:pt x="123" y="101"/>
                </a:lnTo>
                <a:lnTo>
                  <a:pt x="137" y="88"/>
                </a:lnTo>
                <a:lnTo>
                  <a:pt x="153" y="76"/>
                </a:lnTo>
                <a:lnTo>
                  <a:pt x="168" y="64"/>
                </a:lnTo>
                <a:lnTo>
                  <a:pt x="184" y="54"/>
                </a:lnTo>
                <a:lnTo>
                  <a:pt x="200" y="45"/>
                </a:lnTo>
                <a:lnTo>
                  <a:pt x="216" y="36"/>
                </a:lnTo>
                <a:lnTo>
                  <a:pt x="233" y="29"/>
                </a:lnTo>
                <a:lnTo>
                  <a:pt x="250" y="22"/>
                </a:lnTo>
                <a:lnTo>
                  <a:pt x="268" y="16"/>
                </a:lnTo>
                <a:lnTo>
                  <a:pt x="285" y="11"/>
                </a:lnTo>
                <a:lnTo>
                  <a:pt x="302" y="7"/>
                </a:lnTo>
                <a:lnTo>
                  <a:pt x="320" y="4"/>
                </a:lnTo>
                <a:lnTo>
                  <a:pt x="338" y="2"/>
                </a:lnTo>
                <a:lnTo>
                  <a:pt x="356" y="1"/>
                </a:lnTo>
                <a:lnTo>
                  <a:pt x="374" y="0"/>
                </a:lnTo>
                <a:lnTo>
                  <a:pt x="392" y="1"/>
                </a:lnTo>
                <a:lnTo>
                  <a:pt x="410" y="2"/>
                </a:lnTo>
                <a:lnTo>
                  <a:pt x="427" y="4"/>
                </a:lnTo>
                <a:lnTo>
                  <a:pt x="445" y="7"/>
                </a:lnTo>
                <a:lnTo>
                  <a:pt x="463" y="11"/>
                </a:lnTo>
                <a:lnTo>
                  <a:pt x="481" y="16"/>
                </a:lnTo>
                <a:lnTo>
                  <a:pt x="498" y="22"/>
                </a:lnTo>
                <a:lnTo>
                  <a:pt x="515" y="29"/>
                </a:lnTo>
                <a:lnTo>
                  <a:pt x="531" y="36"/>
                </a:lnTo>
                <a:lnTo>
                  <a:pt x="548" y="45"/>
                </a:lnTo>
                <a:lnTo>
                  <a:pt x="564" y="54"/>
                </a:lnTo>
                <a:lnTo>
                  <a:pt x="580" y="64"/>
                </a:lnTo>
                <a:lnTo>
                  <a:pt x="596" y="76"/>
                </a:lnTo>
                <a:lnTo>
                  <a:pt x="610" y="88"/>
                </a:lnTo>
                <a:lnTo>
                  <a:pt x="624" y="101"/>
                </a:lnTo>
                <a:lnTo>
                  <a:pt x="639" y="115"/>
                </a:lnTo>
                <a:lnTo>
                  <a:pt x="4944" y="4640"/>
                </a:lnTo>
                <a:lnTo>
                  <a:pt x="4944" y="5753"/>
                </a:lnTo>
                <a:lnTo>
                  <a:pt x="110" y="672"/>
                </a:lnTo>
                <a:lnTo>
                  <a:pt x="110" y="672"/>
                </a:lnTo>
                <a:lnTo>
                  <a:pt x="96" y="657"/>
                </a:lnTo>
                <a:lnTo>
                  <a:pt x="84" y="642"/>
                </a:lnTo>
                <a:lnTo>
                  <a:pt x="72" y="625"/>
                </a:lnTo>
                <a:lnTo>
                  <a:pt x="62" y="609"/>
                </a:lnTo>
                <a:lnTo>
                  <a:pt x="51" y="593"/>
                </a:lnTo>
                <a:lnTo>
                  <a:pt x="42" y="576"/>
                </a:lnTo>
                <a:lnTo>
                  <a:pt x="35" y="559"/>
                </a:lnTo>
                <a:lnTo>
                  <a:pt x="27" y="541"/>
                </a:lnTo>
                <a:lnTo>
                  <a:pt x="21" y="523"/>
                </a:lnTo>
                <a:lnTo>
                  <a:pt x="15" y="505"/>
                </a:lnTo>
                <a:lnTo>
                  <a:pt x="10" y="486"/>
                </a:lnTo>
                <a:lnTo>
                  <a:pt x="6" y="468"/>
                </a:lnTo>
                <a:lnTo>
                  <a:pt x="3" y="450"/>
                </a:lnTo>
                <a:lnTo>
                  <a:pt x="1" y="430"/>
                </a:lnTo>
                <a:lnTo>
                  <a:pt x="0" y="412"/>
                </a:lnTo>
                <a:lnTo>
                  <a:pt x="0" y="393"/>
                </a:lnTo>
                <a:lnTo>
                  <a:pt x="0" y="374"/>
                </a:lnTo>
                <a:lnTo>
                  <a:pt x="1" y="355"/>
                </a:lnTo>
                <a:lnTo>
                  <a:pt x="3" y="337"/>
                </a:lnTo>
                <a:lnTo>
                  <a:pt x="6" y="318"/>
                </a:lnTo>
                <a:lnTo>
                  <a:pt x="10" y="299"/>
                </a:lnTo>
                <a:lnTo>
                  <a:pt x="15" y="281"/>
                </a:lnTo>
                <a:lnTo>
                  <a:pt x="21" y="263"/>
                </a:lnTo>
                <a:lnTo>
                  <a:pt x="27" y="245"/>
                </a:lnTo>
                <a:lnTo>
                  <a:pt x="35" y="228"/>
                </a:lnTo>
                <a:lnTo>
                  <a:pt x="42" y="211"/>
                </a:lnTo>
                <a:lnTo>
                  <a:pt x="51" y="193"/>
                </a:lnTo>
                <a:lnTo>
                  <a:pt x="62" y="176"/>
                </a:lnTo>
                <a:lnTo>
                  <a:pt x="72" y="160"/>
                </a:lnTo>
                <a:lnTo>
                  <a:pt x="84" y="145"/>
                </a:lnTo>
                <a:lnTo>
                  <a:pt x="96" y="130"/>
                </a:lnTo>
                <a:lnTo>
                  <a:pt x="110" y="115"/>
                </a:lnTo>
                <a:lnTo>
                  <a:pt x="110" y="115"/>
                </a:lnTo>
                <a:close/>
              </a:path>
            </a:pathLst>
          </a:custGeom>
          <a:solidFill>
            <a:srgbClr val="CBCBC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BD721C-2764-482F-80B9-D4006AAB6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4134" y="511176"/>
            <a:ext cx="6151186" cy="18557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86095-26DC-48B9-BA7B-02E8DFBACA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44134" y="2555875"/>
            <a:ext cx="6151186" cy="6091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id="{F12181FB-3D8C-4353-9E65-13EFD3532D41}"/>
              </a:ext>
            </a:extLst>
          </p:cNvPr>
          <p:cNvSpPr>
            <a:spLocks/>
          </p:cNvSpPr>
          <p:nvPr userDrawn="1"/>
        </p:nvSpPr>
        <p:spPr bwMode="auto">
          <a:xfrm flipH="1">
            <a:off x="5889793" y="0"/>
            <a:ext cx="4396764" cy="4142740"/>
          </a:xfrm>
          <a:custGeom>
            <a:avLst/>
            <a:gdLst>
              <a:gd name="T0" fmla="*/ 9290 w 9400"/>
              <a:gd name="T1" fmla="*/ 9207 h 9322"/>
              <a:gd name="T2" fmla="*/ 9276 w 9400"/>
              <a:gd name="T3" fmla="*/ 9221 h 9322"/>
              <a:gd name="T4" fmla="*/ 9246 w 9400"/>
              <a:gd name="T5" fmla="*/ 9247 h 9322"/>
              <a:gd name="T6" fmla="*/ 9215 w 9400"/>
              <a:gd name="T7" fmla="*/ 9269 h 9322"/>
              <a:gd name="T8" fmla="*/ 9183 w 9400"/>
              <a:gd name="T9" fmla="*/ 9287 h 9322"/>
              <a:gd name="T10" fmla="*/ 9149 w 9400"/>
              <a:gd name="T11" fmla="*/ 9301 h 9322"/>
              <a:gd name="T12" fmla="*/ 9114 w 9400"/>
              <a:gd name="T13" fmla="*/ 9312 h 9322"/>
              <a:gd name="T14" fmla="*/ 9079 w 9400"/>
              <a:gd name="T15" fmla="*/ 9319 h 9322"/>
              <a:gd name="T16" fmla="*/ 9043 w 9400"/>
              <a:gd name="T17" fmla="*/ 9322 h 9322"/>
              <a:gd name="T18" fmla="*/ 9007 w 9400"/>
              <a:gd name="T19" fmla="*/ 9322 h 9322"/>
              <a:gd name="T20" fmla="*/ 8971 w 9400"/>
              <a:gd name="T21" fmla="*/ 9319 h 9322"/>
              <a:gd name="T22" fmla="*/ 8937 w 9400"/>
              <a:gd name="T23" fmla="*/ 9312 h 9322"/>
              <a:gd name="T24" fmla="*/ 8902 w 9400"/>
              <a:gd name="T25" fmla="*/ 9301 h 9322"/>
              <a:gd name="T26" fmla="*/ 8868 w 9400"/>
              <a:gd name="T27" fmla="*/ 9287 h 9322"/>
              <a:gd name="T28" fmla="*/ 8835 w 9400"/>
              <a:gd name="T29" fmla="*/ 9269 h 9322"/>
              <a:gd name="T30" fmla="*/ 8804 w 9400"/>
              <a:gd name="T31" fmla="*/ 9247 h 9322"/>
              <a:gd name="T32" fmla="*/ 8775 w 9400"/>
              <a:gd name="T33" fmla="*/ 9221 h 9322"/>
              <a:gd name="T34" fmla="*/ 0 w 9400"/>
              <a:gd name="T35" fmla="*/ 0 h 9322"/>
              <a:gd name="T36" fmla="*/ 9290 w 9400"/>
              <a:gd name="T37" fmla="*/ 8651 h 9322"/>
              <a:gd name="T38" fmla="*/ 9303 w 9400"/>
              <a:gd name="T39" fmla="*/ 8666 h 9322"/>
              <a:gd name="T40" fmla="*/ 9327 w 9400"/>
              <a:gd name="T41" fmla="*/ 8696 h 9322"/>
              <a:gd name="T42" fmla="*/ 9348 w 9400"/>
              <a:gd name="T43" fmla="*/ 8730 h 9322"/>
              <a:gd name="T44" fmla="*/ 9365 w 9400"/>
              <a:gd name="T45" fmla="*/ 8764 h 9322"/>
              <a:gd name="T46" fmla="*/ 9378 w 9400"/>
              <a:gd name="T47" fmla="*/ 8800 h 9322"/>
              <a:gd name="T48" fmla="*/ 9389 w 9400"/>
              <a:gd name="T49" fmla="*/ 8835 h 9322"/>
              <a:gd name="T50" fmla="*/ 9396 w 9400"/>
              <a:gd name="T51" fmla="*/ 8873 h 9322"/>
              <a:gd name="T52" fmla="*/ 9399 w 9400"/>
              <a:gd name="T53" fmla="*/ 8911 h 9322"/>
              <a:gd name="T54" fmla="*/ 9399 w 9400"/>
              <a:gd name="T55" fmla="*/ 8949 h 9322"/>
              <a:gd name="T56" fmla="*/ 9396 w 9400"/>
              <a:gd name="T57" fmla="*/ 8986 h 9322"/>
              <a:gd name="T58" fmla="*/ 9389 w 9400"/>
              <a:gd name="T59" fmla="*/ 9023 h 9322"/>
              <a:gd name="T60" fmla="*/ 9378 w 9400"/>
              <a:gd name="T61" fmla="*/ 9060 h 9322"/>
              <a:gd name="T62" fmla="*/ 9365 w 9400"/>
              <a:gd name="T63" fmla="*/ 9095 h 9322"/>
              <a:gd name="T64" fmla="*/ 9348 w 9400"/>
              <a:gd name="T65" fmla="*/ 9130 h 9322"/>
              <a:gd name="T66" fmla="*/ 9327 w 9400"/>
              <a:gd name="T67" fmla="*/ 9162 h 9322"/>
              <a:gd name="T68" fmla="*/ 9303 w 9400"/>
              <a:gd name="T69" fmla="*/ 9193 h 9322"/>
              <a:gd name="T70" fmla="*/ 9290 w 9400"/>
              <a:gd name="T71" fmla="*/ 9207 h 9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400" h="9322">
                <a:moveTo>
                  <a:pt x="9290" y="9207"/>
                </a:moveTo>
                <a:lnTo>
                  <a:pt x="9290" y="9207"/>
                </a:lnTo>
                <a:lnTo>
                  <a:pt x="9290" y="9207"/>
                </a:lnTo>
                <a:lnTo>
                  <a:pt x="9276" y="9221"/>
                </a:lnTo>
                <a:lnTo>
                  <a:pt x="9261" y="9235"/>
                </a:lnTo>
                <a:lnTo>
                  <a:pt x="9246" y="9247"/>
                </a:lnTo>
                <a:lnTo>
                  <a:pt x="9231" y="9258"/>
                </a:lnTo>
                <a:lnTo>
                  <a:pt x="9215" y="9269"/>
                </a:lnTo>
                <a:lnTo>
                  <a:pt x="9199" y="9278"/>
                </a:lnTo>
                <a:lnTo>
                  <a:pt x="9183" y="9287"/>
                </a:lnTo>
                <a:lnTo>
                  <a:pt x="9166" y="9294"/>
                </a:lnTo>
                <a:lnTo>
                  <a:pt x="9149" y="9301"/>
                </a:lnTo>
                <a:lnTo>
                  <a:pt x="9131" y="9306"/>
                </a:lnTo>
                <a:lnTo>
                  <a:pt x="9114" y="9312"/>
                </a:lnTo>
                <a:lnTo>
                  <a:pt x="9096" y="9316"/>
                </a:lnTo>
                <a:lnTo>
                  <a:pt x="9079" y="9319"/>
                </a:lnTo>
                <a:lnTo>
                  <a:pt x="9061" y="9321"/>
                </a:lnTo>
                <a:lnTo>
                  <a:pt x="9043" y="9322"/>
                </a:lnTo>
                <a:lnTo>
                  <a:pt x="9025" y="9322"/>
                </a:lnTo>
                <a:lnTo>
                  <a:pt x="9007" y="9322"/>
                </a:lnTo>
                <a:lnTo>
                  <a:pt x="8989" y="9321"/>
                </a:lnTo>
                <a:lnTo>
                  <a:pt x="8971" y="9319"/>
                </a:lnTo>
                <a:lnTo>
                  <a:pt x="8954" y="9316"/>
                </a:lnTo>
                <a:lnTo>
                  <a:pt x="8937" y="9312"/>
                </a:lnTo>
                <a:lnTo>
                  <a:pt x="8919" y="9306"/>
                </a:lnTo>
                <a:lnTo>
                  <a:pt x="8902" y="9301"/>
                </a:lnTo>
                <a:lnTo>
                  <a:pt x="8884" y="9294"/>
                </a:lnTo>
                <a:lnTo>
                  <a:pt x="8868" y="9287"/>
                </a:lnTo>
                <a:lnTo>
                  <a:pt x="8851" y="9278"/>
                </a:lnTo>
                <a:lnTo>
                  <a:pt x="8835" y="9269"/>
                </a:lnTo>
                <a:lnTo>
                  <a:pt x="8820" y="9258"/>
                </a:lnTo>
                <a:lnTo>
                  <a:pt x="8804" y="9247"/>
                </a:lnTo>
                <a:lnTo>
                  <a:pt x="8789" y="9235"/>
                </a:lnTo>
                <a:lnTo>
                  <a:pt x="8775" y="9221"/>
                </a:lnTo>
                <a:lnTo>
                  <a:pt x="8760" y="9207"/>
                </a:lnTo>
                <a:lnTo>
                  <a:pt x="0" y="0"/>
                </a:lnTo>
                <a:lnTo>
                  <a:pt x="1059" y="0"/>
                </a:lnTo>
                <a:lnTo>
                  <a:pt x="9290" y="8651"/>
                </a:lnTo>
                <a:lnTo>
                  <a:pt x="9290" y="8651"/>
                </a:lnTo>
                <a:lnTo>
                  <a:pt x="9303" y="8666"/>
                </a:lnTo>
                <a:lnTo>
                  <a:pt x="9316" y="8681"/>
                </a:lnTo>
                <a:lnTo>
                  <a:pt x="9327" y="8696"/>
                </a:lnTo>
                <a:lnTo>
                  <a:pt x="9337" y="8713"/>
                </a:lnTo>
                <a:lnTo>
                  <a:pt x="9348" y="8730"/>
                </a:lnTo>
                <a:lnTo>
                  <a:pt x="9357" y="8747"/>
                </a:lnTo>
                <a:lnTo>
                  <a:pt x="9365" y="8764"/>
                </a:lnTo>
                <a:lnTo>
                  <a:pt x="9372" y="8782"/>
                </a:lnTo>
                <a:lnTo>
                  <a:pt x="9378" y="8800"/>
                </a:lnTo>
                <a:lnTo>
                  <a:pt x="9384" y="8817"/>
                </a:lnTo>
                <a:lnTo>
                  <a:pt x="9389" y="8835"/>
                </a:lnTo>
                <a:lnTo>
                  <a:pt x="9393" y="8855"/>
                </a:lnTo>
                <a:lnTo>
                  <a:pt x="9396" y="8873"/>
                </a:lnTo>
                <a:lnTo>
                  <a:pt x="9398" y="8891"/>
                </a:lnTo>
                <a:lnTo>
                  <a:pt x="9399" y="8911"/>
                </a:lnTo>
                <a:lnTo>
                  <a:pt x="9400" y="8929"/>
                </a:lnTo>
                <a:lnTo>
                  <a:pt x="9399" y="8949"/>
                </a:lnTo>
                <a:lnTo>
                  <a:pt x="9398" y="8967"/>
                </a:lnTo>
                <a:lnTo>
                  <a:pt x="9396" y="8986"/>
                </a:lnTo>
                <a:lnTo>
                  <a:pt x="9393" y="9005"/>
                </a:lnTo>
                <a:lnTo>
                  <a:pt x="9389" y="9023"/>
                </a:lnTo>
                <a:lnTo>
                  <a:pt x="9384" y="9041"/>
                </a:lnTo>
                <a:lnTo>
                  <a:pt x="9378" y="9060"/>
                </a:lnTo>
                <a:lnTo>
                  <a:pt x="9372" y="9078"/>
                </a:lnTo>
                <a:lnTo>
                  <a:pt x="9365" y="9095"/>
                </a:lnTo>
                <a:lnTo>
                  <a:pt x="9357" y="9112"/>
                </a:lnTo>
                <a:lnTo>
                  <a:pt x="9348" y="9130"/>
                </a:lnTo>
                <a:lnTo>
                  <a:pt x="9337" y="9146"/>
                </a:lnTo>
                <a:lnTo>
                  <a:pt x="9327" y="9162"/>
                </a:lnTo>
                <a:lnTo>
                  <a:pt x="9316" y="9178"/>
                </a:lnTo>
                <a:lnTo>
                  <a:pt x="9303" y="9193"/>
                </a:lnTo>
                <a:lnTo>
                  <a:pt x="9290" y="9207"/>
                </a:lnTo>
                <a:lnTo>
                  <a:pt x="9290" y="92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D4592E37-7D59-48AC-91D1-5F4FF210F199}"/>
              </a:ext>
            </a:extLst>
          </p:cNvPr>
          <p:cNvSpPr>
            <a:spLocks/>
          </p:cNvSpPr>
          <p:nvPr userDrawn="1"/>
        </p:nvSpPr>
        <p:spPr bwMode="auto">
          <a:xfrm flipH="1">
            <a:off x="2364899" y="8021004"/>
            <a:ext cx="1844770" cy="1580198"/>
          </a:xfrm>
          <a:custGeom>
            <a:avLst/>
            <a:gdLst>
              <a:gd name="T0" fmla="*/ 107 w 3945"/>
              <a:gd name="T1" fmla="*/ 113 h 3556"/>
              <a:gd name="T2" fmla="*/ 135 w 3945"/>
              <a:gd name="T3" fmla="*/ 86 h 3556"/>
              <a:gd name="T4" fmla="*/ 165 w 3945"/>
              <a:gd name="T5" fmla="*/ 63 h 3556"/>
              <a:gd name="T6" fmla="*/ 197 w 3945"/>
              <a:gd name="T7" fmla="*/ 44 h 3556"/>
              <a:gd name="T8" fmla="*/ 229 w 3945"/>
              <a:gd name="T9" fmla="*/ 28 h 3556"/>
              <a:gd name="T10" fmla="*/ 263 w 3945"/>
              <a:gd name="T11" fmla="*/ 15 h 3556"/>
              <a:gd name="T12" fmla="*/ 298 w 3945"/>
              <a:gd name="T13" fmla="*/ 6 h 3556"/>
              <a:gd name="T14" fmla="*/ 333 w 3945"/>
              <a:gd name="T15" fmla="*/ 1 h 3556"/>
              <a:gd name="T16" fmla="*/ 368 w 3945"/>
              <a:gd name="T17" fmla="*/ 0 h 3556"/>
              <a:gd name="T18" fmla="*/ 404 w 3945"/>
              <a:gd name="T19" fmla="*/ 1 h 3556"/>
              <a:gd name="T20" fmla="*/ 438 w 3945"/>
              <a:gd name="T21" fmla="*/ 6 h 3556"/>
              <a:gd name="T22" fmla="*/ 473 w 3945"/>
              <a:gd name="T23" fmla="*/ 15 h 3556"/>
              <a:gd name="T24" fmla="*/ 507 w 3945"/>
              <a:gd name="T25" fmla="*/ 28 h 3556"/>
              <a:gd name="T26" fmla="*/ 540 w 3945"/>
              <a:gd name="T27" fmla="*/ 44 h 3556"/>
              <a:gd name="T28" fmla="*/ 571 w 3945"/>
              <a:gd name="T29" fmla="*/ 63 h 3556"/>
              <a:gd name="T30" fmla="*/ 601 w 3945"/>
              <a:gd name="T31" fmla="*/ 86 h 3556"/>
              <a:gd name="T32" fmla="*/ 629 w 3945"/>
              <a:gd name="T33" fmla="*/ 113 h 3556"/>
              <a:gd name="T34" fmla="*/ 2863 w 3945"/>
              <a:gd name="T35" fmla="*/ 3556 h 3556"/>
              <a:gd name="T36" fmla="*/ 107 w 3945"/>
              <a:gd name="T37" fmla="*/ 661 h 3556"/>
              <a:gd name="T38" fmla="*/ 82 w 3945"/>
              <a:gd name="T39" fmla="*/ 632 h 3556"/>
              <a:gd name="T40" fmla="*/ 60 w 3945"/>
              <a:gd name="T41" fmla="*/ 600 h 3556"/>
              <a:gd name="T42" fmla="*/ 42 w 3945"/>
              <a:gd name="T43" fmla="*/ 567 h 3556"/>
              <a:gd name="T44" fmla="*/ 26 w 3945"/>
              <a:gd name="T45" fmla="*/ 533 h 3556"/>
              <a:gd name="T46" fmla="*/ 14 w 3945"/>
              <a:gd name="T47" fmla="*/ 497 h 3556"/>
              <a:gd name="T48" fmla="*/ 6 w 3945"/>
              <a:gd name="T49" fmla="*/ 461 h 3556"/>
              <a:gd name="T50" fmla="*/ 1 w 3945"/>
              <a:gd name="T51" fmla="*/ 424 h 3556"/>
              <a:gd name="T52" fmla="*/ 0 w 3945"/>
              <a:gd name="T53" fmla="*/ 386 h 3556"/>
              <a:gd name="T54" fmla="*/ 1 w 3945"/>
              <a:gd name="T55" fmla="*/ 350 h 3556"/>
              <a:gd name="T56" fmla="*/ 6 w 3945"/>
              <a:gd name="T57" fmla="*/ 313 h 3556"/>
              <a:gd name="T58" fmla="*/ 14 w 3945"/>
              <a:gd name="T59" fmla="*/ 277 h 3556"/>
              <a:gd name="T60" fmla="*/ 26 w 3945"/>
              <a:gd name="T61" fmla="*/ 241 h 3556"/>
              <a:gd name="T62" fmla="*/ 42 w 3945"/>
              <a:gd name="T63" fmla="*/ 206 h 3556"/>
              <a:gd name="T64" fmla="*/ 60 w 3945"/>
              <a:gd name="T65" fmla="*/ 173 h 3556"/>
              <a:gd name="T66" fmla="*/ 82 w 3945"/>
              <a:gd name="T67" fmla="*/ 142 h 3556"/>
              <a:gd name="T68" fmla="*/ 107 w 3945"/>
              <a:gd name="T69" fmla="*/ 113 h 3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945" h="3556">
                <a:moveTo>
                  <a:pt x="107" y="113"/>
                </a:moveTo>
                <a:lnTo>
                  <a:pt x="107" y="113"/>
                </a:lnTo>
                <a:lnTo>
                  <a:pt x="121" y="99"/>
                </a:lnTo>
                <a:lnTo>
                  <a:pt x="135" y="86"/>
                </a:lnTo>
                <a:lnTo>
                  <a:pt x="150" y="74"/>
                </a:lnTo>
                <a:lnTo>
                  <a:pt x="165" y="63"/>
                </a:lnTo>
                <a:lnTo>
                  <a:pt x="181" y="52"/>
                </a:lnTo>
                <a:lnTo>
                  <a:pt x="197" y="44"/>
                </a:lnTo>
                <a:lnTo>
                  <a:pt x="213" y="35"/>
                </a:lnTo>
                <a:lnTo>
                  <a:pt x="229" y="28"/>
                </a:lnTo>
                <a:lnTo>
                  <a:pt x="246" y="21"/>
                </a:lnTo>
                <a:lnTo>
                  <a:pt x="263" y="15"/>
                </a:lnTo>
                <a:lnTo>
                  <a:pt x="281" y="10"/>
                </a:lnTo>
                <a:lnTo>
                  <a:pt x="298" y="6"/>
                </a:lnTo>
                <a:lnTo>
                  <a:pt x="315" y="3"/>
                </a:lnTo>
                <a:lnTo>
                  <a:pt x="333" y="1"/>
                </a:lnTo>
                <a:lnTo>
                  <a:pt x="350" y="0"/>
                </a:lnTo>
                <a:lnTo>
                  <a:pt x="368" y="0"/>
                </a:lnTo>
                <a:lnTo>
                  <a:pt x="386" y="0"/>
                </a:lnTo>
                <a:lnTo>
                  <a:pt x="404" y="1"/>
                </a:lnTo>
                <a:lnTo>
                  <a:pt x="421" y="3"/>
                </a:lnTo>
                <a:lnTo>
                  <a:pt x="438" y="6"/>
                </a:lnTo>
                <a:lnTo>
                  <a:pt x="456" y="10"/>
                </a:lnTo>
                <a:lnTo>
                  <a:pt x="473" y="15"/>
                </a:lnTo>
                <a:lnTo>
                  <a:pt x="490" y="21"/>
                </a:lnTo>
                <a:lnTo>
                  <a:pt x="507" y="28"/>
                </a:lnTo>
                <a:lnTo>
                  <a:pt x="524" y="35"/>
                </a:lnTo>
                <a:lnTo>
                  <a:pt x="540" y="44"/>
                </a:lnTo>
                <a:lnTo>
                  <a:pt x="555" y="52"/>
                </a:lnTo>
                <a:lnTo>
                  <a:pt x="571" y="63"/>
                </a:lnTo>
                <a:lnTo>
                  <a:pt x="586" y="74"/>
                </a:lnTo>
                <a:lnTo>
                  <a:pt x="601" y="86"/>
                </a:lnTo>
                <a:lnTo>
                  <a:pt x="615" y="99"/>
                </a:lnTo>
                <a:lnTo>
                  <a:pt x="629" y="113"/>
                </a:lnTo>
                <a:lnTo>
                  <a:pt x="3945" y="3556"/>
                </a:lnTo>
                <a:lnTo>
                  <a:pt x="2863" y="3556"/>
                </a:lnTo>
                <a:lnTo>
                  <a:pt x="107" y="661"/>
                </a:lnTo>
                <a:lnTo>
                  <a:pt x="107" y="661"/>
                </a:lnTo>
                <a:lnTo>
                  <a:pt x="94" y="646"/>
                </a:lnTo>
                <a:lnTo>
                  <a:pt x="82" y="632"/>
                </a:lnTo>
                <a:lnTo>
                  <a:pt x="70" y="616"/>
                </a:lnTo>
                <a:lnTo>
                  <a:pt x="60" y="600"/>
                </a:lnTo>
                <a:lnTo>
                  <a:pt x="50" y="584"/>
                </a:lnTo>
                <a:lnTo>
                  <a:pt x="42" y="567"/>
                </a:lnTo>
                <a:lnTo>
                  <a:pt x="34" y="550"/>
                </a:lnTo>
                <a:lnTo>
                  <a:pt x="26" y="533"/>
                </a:lnTo>
                <a:lnTo>
                  <a:pt x="20" y="515"/>
                </a:lnTo>
                <a:lnTo>
                  <a:pt x="14" y="497"/>
                </a:lnTo>
                <a:lnTo>
                  <a:pt x="10" y="479"/>
                </a:lnTo>
                <a:lnTo>
                  <a:pt x="6" y="461"/>
                </a:lnTo>
                <a:lnTo>
                  <a:pt x="3" y="442"/>
                </a:lnTo>
                <a:lnTo>
                  <a:pt x="1" y="424"/>
                </a:lnTo>
                <a:lnTo>
                  <a:pt x="0" y="406"/>
                </a:lnTo>
                <a:lnTo>
                  <a:pt x="0" y="386"/>
                </a:lnTo>
                <a:lnTo>
                  <a:pt x="0" y="368"/>
                </a:lnTo>
                <a:lnTo>
                  <a:pt x="1" y="350"/>
                </a:lnTo>
                <a:lnTo>
                  <a:pt x="3" y="331"/>
                </a:lnTo>
                <a:lnTo>
                  <a:pt x="6" y="313"/>
                </a:lnTo>
                <a:lnTo>
                  <a:pt x="10" y="295"/>
                </a:lnTo>
                <a:lnTo>
                  <a:pt x="14" y="277"/>
                </a:lnTo>
                <a:lnTo>
                  <a:pt x="20" y="258"/>
                </a:lnTo>
                <a:lnTo>
                  <a:pt x="26" y="241"/>
                </a:lnTo>
                <a:lnTo>
                  <a:pt x="34" y="224"/>
                </a:lnTo>
                <a:lnTo>
                  <a:pt x="42" y="206"/>
                </a:lnTo>
                <a:lnTo>
                  <a:pt x="50" y="190"/>
                </a:lnTo>
                <a:lnTo>
                  <a:pt x="60" y="173"/>
                </a:lnTo>
                <a:lnTo>
                  <a:pt x="70" y="158"/>
                </a:lnTo>
                <a:lnTo>
                  <a:pt x="82" y="142"/>
                </a:lnTo>
                <a:lnTo>
                  <a:pt x="94" y="127"/>
                </a:lnTo>
                <a:lnTo>
                  <a:pt x="107" y="113"/>
                </a:lnTo>
                <a:lnTo>
                  <a:pt x="107" y="1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1B7339E0-122E-4CDF-A79B-4E777801EE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95462" y="8898891"/>
            <a:ext cx="1664208" cy="511175"/>
          </a:xfrm>
        </p:spPr>
        <p:txBody>
          <a:bodyPr/>
          <a:lstStyle>
            <a:lvl1pPr algn="r">
              <a:defRPr/>
            </a:lvl1pPr>
          </a:lstStyle>
          <a:p>
            <a:pPr algn="l"/>
            <a:fld id="{77C0084A-0EA1-4D1F-A01E-864C389A7B7F}" type="datetime1">
              <a:rPr lang="ru-RU" smtClean="0">
                <a:solidFill>
                  <a:srgbClr val="CBCBCA">
                    <a:lumMod val="75000"/>
                  </a:srgbClr>
                </a:solidFill>
              </a:rPr>
              <a:pPr algn="l"/>
              <a:t>08.09.2023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8833EEDD-44FF-412E-B0DC-8B3969D1A4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12538" y="8898891"/>
            <a:ext cx="8165707" cy="511175"/>
          </a:xfrm>
        </p:spPr>
        <p:txBody>
          <a:bodyPr/>
          <a:lstStyle/>
          <a:p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C0FB5D8E-C878-4339-8FB9-DBBA40938A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231112" y="8898891"/>
            <a:ext cx="1664208" cy="511175"/>
          </a:xfrm>
        </p:spPr>
        <p:txBody>
          <a:bodyPr/>
          <a:lstStyle/>
          <a:p>
            <a:fld id="{1513E0AC-52E7-4010-9D37-41BE99808841}" type="slidenum">
              <a:rPr lang="en-US" smtClean="0">
                <a:solidFill>
                  <a:srgbClr val="CBCBCA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5934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E68CCD19-CC46-4A36-B1B3-4E3033528A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3" r="34045"/>
          <a:stretch/>
        </p:blipFill>
        <p:spPr>
          <a:xfrm>
            <a:off x="7564094" y="0"/>
            <a:ext cx="9504706" cy="9154477"/>
          </a:xfrm>
          <a:prstGeom prst="rect">
            <a:avLst/>
          </a:pr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1992BF9-578B-42D9-9A30-49D45648F2CC}"/>
              </a:ext>
            </a:extLst>
          </p:cNvPr>
          <p:cNvSpPr>
            <a:spLocks/>
          </p:cNvSpPr>
          <p:nvPr userDrawn="1"/>
        </p:nvSpPr>
        <p:spPr bwMode="auto">
          <a:xfrm flipH="1">
            <a:off x="7866032" y="2420305"/>
            <a:ext cx="9202768" cy="7180897"/>
          </a:xfrm>
          <a:custGeom>
            <a:avLst/>
            <a:gdLst>
              <a:gd name="connsiteX0" fmla="*/ 0 w 6573406"/>
              <a:gd name="connsiteY0" fmla="*/ 0 h 5129212"/>
              <a:gd name="connsiteX1" fmla="*/ 0 w 6573406"/>
              <a:gd name="connsiteY1" fmla="*/ 409574 h 5129212"/>
              <a:gd name="connsiteX2" fmla="*/ 0 w 6573406"/>
              <a:gd name="connsiteY2" fmla="*/ 467649 h 5129212"/>
              <a:gd name="connsiteX3" fmla="*/ 0 w 6573406"/>
              <a:gd name="connsiteY3" fmla="*/ 820687 h 5129212"/>
              <a:gd name="connsiteX4" fmla="*/ 0 w 6573406"/>
              <a:gd name="connsiteY4" fmla="*/ 825553 h 5129212"/>
              <a:gd name="connsiteX5" fmla="*/ 0 w 6573406"/>
              <a:gd name="connsiteY5" fmla="*/ 5129212 h 5129212"/>
              <a:gd name="connsiteX6" fmla="*/ 6573406 w 6573406"/>
              <a:gd name="connsiteY6" fmla="*/ 5129212 h 5129212"/>
              <a:gd name="connsiteX7" fmla="*/ 3968474 w 6573406"/>
              <a:gd name="connsiteY7" fmla="*/ 2531906 h 5129212"/>
              <a:gd name="connsiteX8" fmla="*/ 3962541 w 6573406"/>
              <a:gd name="connsiteY8" fmla="*/ 2531906 h 5129212"/>
              <a:gd name="connsiteX9" fmla="*/ 3956259 w 6573406"/>
              <a:gd name="connsiteY9" fmla="*/ 2531588 h 5129212"/>
              <a:gd name="connsiteX10" fmla="*/ 3950326 w 6573406"/>
              <a:gd name="connsiteY10" fmla="*/ 2530953 h 5129212"/>
              <a:gd name="connsiteX11" fmla="*/ 3944393 w 6573406"/>
              <a:gd name="connsiteY11" fmla="*/ 2530001 h 5129212"/>
              <a:gd name="connsiteX12" fmla="*/ 3938460 w 6573406"/>
              <a:gd name="connsiteY12" fmla="*/ 2528731 h 5129212"/>
              <a:gd name="connsiteX13" fmla="*/ 3932527 w 6573406"/>
              <a:gd name="connsiteY13" fmla="*/ 2527143 h 5129212"/>
              <a:gd name="connsiteX14" fmla="*/ 3926943 w 6573406"/>
              <a:gd name="connsiteY14" fmla="*/ 2525239 h 5129212"/>
              <a:gd name="connsiteX15" fmla="*/ 3921010 w 6573406"/>
              <a:gd name="connsiteY15" fmla="*/ 2523334 h 5129212"/>
              <a:gd name="connsiteX16" fmla="*/ 3915426 w 6573406"/>
              <a:gd name="connsiteY16" fmla="*/ 2520794 h 5129212"/>
              <a:gd name="connsiteX17" fmla="*/ 3909842 w 6573406"/>
              <a:gd name="connsiteY17" fmla="*/ 2517937 h 5129212"/>
              <a:gd name="connsiteX18" fmla="*/ 3904258 w 6573406"/>
              <a:gd name="connsiteY18" fmla="*/ 2515079 h 5129212"/>
              <a:gd name="connsiteX19" fmla="*/ 3899023 w 6573406"/>
              <a:gd name="connsiteY19" fmla="*/ 2511587 h 5129212"/>
              <a:gd name="connsiteX20" fmla="*/ 3893788 w 6573406"/>
              <a:gd name="connsiteY20" fmla="*/ 2508095 h 5129212"/>
              <a:gd name="connsiteX21" fmla="*/ 3888902 w 6573406"/>
              <a:gd name="connsiteY21" fmla="*/ 2504285 h 5129212"/>
              <a:gd name="connsiteX22" fmla="*/ 3884016 w 6573406"/>
              <a:gd name="connsiteY22" fmla="*/ 2500158 h 5129212"/>
              <a:gd name="connsiteX23" fmla="*/ 3879130 w 6573406"/>
              <a:gd name="connsiteY23" fmla="*/ 2495713 h 5129212"/>
              <a:gd name="connsiteX24" fmla="*/ 3266286 w 6573406"/>
              <a:gd name="connsiteY24" fmla="*/ 1883611 h 5129212"/>
              <a:gd name="connsiteX25" fmla="*/ 3261400 w 6573406"/>
              <a:gd name="connsiteY25" fmla="*/ 1879484 h 5129212"/>
              <a:gd name="connsiteX26" fmla="*/ 3256864 w 6573406"/>
              <a:gd name="connsiteY26" fmla="*/ 1875356 h 5129212"/>
              <a:gd name="connsiteX27" fmla="*/ 3251628 w 6573406"/>
              <a:gd name="connsiteY27" fmla="*/ 1871547 h 5129212"/>
              <a:gd name="connsiteX28" fmla="*/ 3246742 w 6573406"/>
              <a:gd name="connsiteY28" fmla="*/ 1868054 h 5129212"/>
              <a:gd name="connsiteX29" fmla="*/ 3241508 w 6573406"/>
              <a:gd name="connsiteY29" fmla="*/ 1864562 h 5129212"/>
              <a:gd name="connsiteX30" fmla="*/ 3235924 w 6573406"/>
              <a:gd name="connsiteY30" fmla="*/ 1861705 h 5129212"/>
              <a:gd name="connsiteX31" fmla="*/ 3230688 w 6573406"/>
              <a:gd name="connsiteY31" fmla="*/ 1858847 h 5129212"/>
              <a:gd name="connsiteX32" fmla="*/ 3225104 w 6573406"/>
              <a:gd name="connsiteY32" fmla="*/ 1856308 h 5129212"/>
              <a:gd name="connsiteX33" fmla="*/ 3219172 w 6573406"/>
              <a:gd name="connsiteY33" fmla="*/ 1854403 h 5129212"/>
              <a:gd name="connsiteX34" fmla="*/ 3213588 w 6573406"/>
              <a:gd name="connsiteY34" fmla="*/ 1852180 h 5129212"/>
              <a:gd name="connsiteX35" fmla="*/ 3207654 w 6573406"/>
              <a:gd name="connsiteY35" fmla="*/ 1850910 h 5129212"/>
              <a:gd name="connsiteX36" fmla="*/ 3202070 w 6573406"/>
              <a:gd name="connsiteY36" fmla="*/ 1849323 h 5129212"/>
              <a:gd name="connsiteX37" fmla="*/ 3196138 w 6573406"/>
              <a:gd name="connsiteY37" fmla="*/ 1848371 h 5129212"/>
              <a:gd name="connsiteX38" fmla="*/ 3190205 w 6573406"/>
              <a:gd name="connsiteY38" fmla="*/ 1847736 h 5129212"/>
              <a:gd name="connsiteX39" fmla="*/ 3184272 w 6573406"/>
              <a:gd name="connsiteY39" fmla="*/ 1847418 h 5129212"/>
              <a:gd name="connsiteX40" fmla="*/ 3177990 w 6573406"/>
              <a:gd name="connsiteY40" fmla="*/ 1847418 h 5129212"/>
              <a:gd name="connsiteX41" fmla="*/ 3172057 w 6573406"/>
              <a:gd name="connsiteY41" fmla="*/ 1847418 h 5129212"/>
              <a:gd name="connsiteX42" fmla="*/ 3166124 w 6573406"/>
              <a:gd name="connsiteY42" fmla="*/ 1847736 h 5129212"/>
              <a:gd name="connsiteX43" fmla="*/ 3160191 w 6573406"/>
              <a:gd name="connsiteY43" fmla="*/ 1848371 h 5129212"/>
              <a:gd name="connsiteX44" fmla="*/ 3154258 w 6573406"/>
              <a:gd name="connsiteY44" fmla="*/ 1849323 h 5129212"/>
              <a:gd name="connsiteX45" fmla="*/ 3148325 w 6573406"/>
              <a:gd name="connsiteY45" fmla="*/ 1850910 h 5129212"/>
              <a:gd name="connsiteX46" fmla="*/ 3142741 w 6573406"/>
              <a:gd name="connsiteY46" fmla="*/ 1852180 h 5129212"/>
              <a:gd name="connsiteX47" fmla="*/ 3136808 w 6573406"/>
              <a:gd name="connsiteY47" fmla="*/ 1854403 h 5129212"/>
              <a:gd name="connsiteX48" fmla="*/ 3131224 w 6573406"/>
              <a:gd name="connsiteY48" fmla="*/ 1856308 h 5129212"/>
              <a:gd name="connsiteX49" fmla="*/ 3125640 w 6573406"/>
              <a:gd name="connsiteY49" fmla="*/ 1858847 h 5129212"/>
              <a:gd name="connsiteX50" fmla="*/ 3120405 w 6573406"/>
              <a:gd name="connsiteY50" fmla="*/ 1861705 h 5129212"/>
              <a:gd name="connsiteX51" fmla="*/ 3114821 w 6573406"/>
              <a:gd name="connsiteY51" fmla="*/ 1864562 h 5129212"/>
              <a:gd name="connsiteX52" fmla="*/ 3109586 w 6573406"/>
              <a:gd name="connsiteY52" fmla="*/ 1868054 h 5129212"/>
              <a:gd name="connsiteX53" fmla="*/ 3104351 w 6573406"/>
              <a:gd name="connsiteY53" fmla="*/ 1871547 h 5129212"/>
              <a:gd name="connsiteX54" fmla="*/ 3099465 w 6573406"/>
              <a:gd name="connsiteY54" fmla="*/ 1875356 h 5129212"/>
              <a:gd name="connsiteX55" fmla="*/ 3094579 w 6573406"/>
              <a:gd name="connsiteY55" fmla="*/ 1879484 h 5129212"/>
              <a:gd name="connsiteX56" fmla="*/ 3090042 w 6573406"/>
              <a:gd name="connsiteY56" fmla="*/ 1883611 h 5129212"/>
              <a:gd name="connsiteX57" fmla="*/ 3085505 w 6573406"/>
              <a:gd name="connsiteY57" fmla="*/ 1888373 h 5129212"/>
              <a:gd name="connsiteX58" fmla="*/ 3081666 w 6573406"/>
              <a:gd name="connsiteY58" fmla="*/ 1893135 h 5129212"/>
              <a:gd name="connsiteX59" fmla="*/ 3077827 w 6573406"/>
              <a:gd name="connsiteY59" fmla="*/ 1898215 h 5129212"/>
              <a:gd name="connsiteX60" fmla="*/ 3073988 w 6573406"/>
              <a:gd name="connsiteY60" fmla="*/ 1903295 h 5129212"/>
              <a:gd name="connsiteX61" fmla="*/ 3070847 w 6573406"/>
              <a:gd name="connsiteY61" fmla="*/ 1908374 h 5129212"/>
              <a:gd name="connsiteX62" fmla="*/ 3067706 w 6573406"/>
              <a:gd name="connsiteY62" fmla="*/ 1914089 h 5129212"/>
              <a:gd name="connsiteX63" fmla="*/ 3065263 w 6573406"/>
              <a:gd name="connsiteY63" fmla="*/ 1919169 h 5129212"/>
              <a:gd name="connsiteX64" fmla="*/ 3062820 w 6573406"/>
              <a:gd name="connsiteY64" fmla="*/ 1924883 h 5129212"/>
              <a:gd name="connsiteX65" fmla="*/ 3060726 w 6573406"/>
              <a:gd name="connsiteY65" fmla="*/ 1930281 h 5129212"/>
              <a:gd name="connsiteX66" fmla="*/ 3058632 w 6573406"/>
              <a:gd name="connsiteY66" fmla="*/ 1936313 h 5129212"/>
              <a:gd name="connsiteX67" fmla="*/ 3057236 w 6573406"/>
              <a:gd name="connsiteY67" fmla="*/ 1942345 h 5129212"/>
              <a:gd name="connsiteX68" fmla="*/ 3055840 w 6573406"/>
              <a:gd name="connsiteY68" fmla="*/ 1947742 h 5129212"/>
              <a:gd name="connsiteX69" fmla="*/ 3054793 w 6573406"/>
              <a:gd name="connsiteY69" fmla="*/ 1953774 h 5129212"/>
              <a:gd name="connsiteX70" fmla="*/ 3054095 w 6573406"/>
              <a:gd name="connsiteY70" fmla="*/ 1959806 h 5129212"/>
              <a:gd name="connsiteX71" fmla="*/ 3053746 w 6573406"/>
              <a:gd name="connsiteY71" fmla="*/ 1965521 h 5129212"/>
              <a:gd name="connsiteX72" fmla="*/ 3053746 w 6573406"/>
              <a:gd name="connsiteY72" fmla="*/ 1971870 h 5129212"/>
              <a:gd name="connsiteX73" fmla="*/ 3053746 w 6573406"/>
              <a:gd name="connsiteY73" fmla="*/ 1977903 h 5129212"/>
              <a:gd name="connsiteX74" fmla="*/ 3054095 w 6573406"/>
              <a:gd name="connsiteY74" fmla="*/ 1983617 h 5129212"/>
              <a:gd name="connsiteX75" fmla="*/ 3054793 w 6573406"/>
              <a:gd name="connsiteY75" fmla="*/ 1989649 h 5129212"/>
              <a:gd name="connsiteX76" fmla="*/ 3055840 w 6573406"/>
              <a:gd name="connsiteY76" fmla="*/ 1995681 h 5129212"/>
              <a:gd name="connsiteX77" fmla="*/ 3057236 w 6573406"/>
              <a:gd name="connsiteY77" fmla="*/ 2001079 h 5129212"/>
              <a:gd name="connsiteX78" fmla="*/ 3058632 w 6573406"/>
              <a:gd name="connsiteY78" fmla="*/ 2007111 h 5129212"/>
              <a:gd name="connsiteX79" fmla="*/ 3060726 w 6573406"/>
              <a:gd name="connsiteY79" fmla="*/ 2013143 h 5129212"/>
              <a:gd name="connsiteX80" fmla="*/ 3062820 w 6573406"/>
              <a:gd name="connsiteY80" fmla="*/ 2018540 h 5129212"/>
              <a:gd name="connsiteX81" fmla="*/ 3065263 w 6573406"/>
              <a:gd name="connsiteY81" fmla="*/ 2024255 h 5129212"/>
              <a:gd name="connsiteX82" fmla="*/ 3067706 w 6573406"/>
              <a:gd name="connsiteY82" fmla="*/ 2029334 h 5129212"/>
              <a:gd name="connsiteX83" fmla="*/ 3070847 w 6573406"/>
              <a:gd name="connsiteY83" fmla="*/ 2035049 h 5129212"/>
              <a:gd name="connsiteX84" fmla="*/ 3073988 w 6573406"/>
              <a:gd name="connsiteY84" fmla="*/ 2040446 h 5129212"/>
              <a:gd name="connsiteX85" fmla="*/ 3077827 w 6573406"/>
              <a:gd name="connsiteY85" fmla="*/ 2045208 h 5129212"/>
              <a:gd name="connsiteX86" fmla="*/ 3081666 w 6573406"/>
              <a:gd name="connsiteY86" fmla="*/ 2050288 h 5129212"/>
              <a:gd name="connsiteX87" fmla="*/ 3085505 w 6573406"/>
              <a:gd name="connsiteY87" fmla="*/ 2055368 h 5129212"/>
              <a:gd name="connsiteX88" fmla="*/ 3090042 w 6573406"/>
              <a:gd name="connsiteY88" fmla="*/ 2059812 h 5129212"/>
              <a:gd name="connsiteX89" fmla="*/ 3916473 w 6573406"/>
              <a:gd name="connsiteY89" fmla="*/ 2884626 h 5129212"/>
              <a:gd name="connsiteX90" fmla="*/ 3920661 w 6573406"/>
              <a:gd name="connsiteY90" fmla="*/ 2889706 h 5129212"/>
              <a:gd name="connsiteX91" fmla="*/ 3924849 w 6573406"/>
              <a:gd name="connsiteY91" fmla="*/ 2894151 h 5129212"/>
              <a:gd name="connsiteX92" fmla="*/ 3928688 w 6573406"/>
              <a:gd name="connsiteY92" fmla="*/ 2899548 h 5129212"/>
              <a:gd name="connsiteX93" fmla="*/ 3932178 w 6573406"/>
              <a:gd name="connsiteY93" fmla="*/ 2904310 h 5129212"/>
              <a:gd name="connsiteX94" fmla="*/ 3935668 w 6573406"/>
              <a:gd name="connsiteY94" fmla="*/ 2909390 h 5129212"/>
              <a:gd name="connsiteX95" fmla="*/ 3938460 w 6573406"/>
              <a:gd name="connsiteY95" fmla="*/ 2915104 h 5129212"/>
              <a:gd name="connsiteX96" fmla="*/ 3941252 w 6573406"/>
              <a:gd name="connsiteY96" fmla="*/ 2920502 h 5129212"/>
              <a:gd name="connsiteX97" fmla="*/ 3943695 w 6573406"/>
              <a:gd name="connsiteY97" fmla="*/ 2925899 h 5129212"/>
              <a:gd name="connsiteX98" fmla="*/ 3945789 w 6573406"/>
              <a:gd name="connsiteY98" fmla="*/ 2931613 h 5129212"/>
              <a:gd name="connsiteX99" fmla="*/ 3947534 w 6573406"/>
              <a:gd name="connsiteY99" fmla="*/ 2937328 h 5129212"/>
              <a:gd name="connsiteX100" fmla="*/ 3949279 w 6573406"/>
              <a:gd name="connsiteY100" fmla="*/ 2943360 h 5129212"/>
              <a:gd name="connsiteX101" fmla="*/ 3950675 w 6573406"/>
              <a:gd name="connsiteY101" fmla="*/ 2949075 h 5129212"/>
              <a:gd name="connsiteX102" fmla="*/ 3951373 w 6573406"/>
              <a:gd name="connsiteY102" fmla="*/ 2954789 h 5129212"/>
              <a:gd name="connsiteX103" fmla="*/ 3952071 w 6573406"/>
              <a:gd name="connsiteY103" fmla="*/ 2960822 h 5129212"/>
              <a:gd name="connsiteX104" fmla="*/ 3952769 w 6573406"/>
              <a:gd name="connsiteY104" fmla="*/ 2966854 h 5129212"/>
              <a:gd name="connsiteX105" fmla="*/ 3952769 w 6573406"/>
              <a:gd name="connsiteY105" fmla="*/ 2973203 h 5129212"/>
              <a:gd name="connsiteX106" fmla="*/ 3952769 w 6573406"/>
              <a:gd name="connsiteY106" fmla="*/ 2978918 h 5129212"/>
              <a:gd name="connsiteX107" fmla="*/ 3952071 w 6573406"/>
              <a:gd name="connsiteY107" fmla="*/ 2984950 h 5129212"/>
              <a:gd name="connsiteX108" fmla="*/ 3951373 w 6573406"/>
              <a:gd name="connsiteY108" fmla="*/ 2990982 h 5129212"/>
              <a:gd name="connsiteX109" fmla="*/ 3950675 w 6573406"/>
              <a:gd name="connsiteY109" fmla="*/ 2996697 h 5129212"/>
              <a:gd name="connsiteX110" fmla="*/ 3949279 w 6573406"/>
              <a:gd name="connsiteY110" fmla="*/ 3002411 h 5129212"/>
              <a:gd name="connsiteX111" fmla="*/ 3947534 w 6573406"/>
              <a:gd name="connsiteY111" fmla="*/ 3008444 h 5129212"/>
              <a:gd name="connsiteX112" fmla="*/ 3945789 w 6573406"/>
              <a:gd name="connsiteY112" fmla="*/ 3014158 h 5129212"/>
              <a:gd name="connsiteX113" fmla="*/ 3943695 w 6573406"/>
              <a:gd name="connsiteY113" fmla="*/ 3019873 h 5129212"/>
              <a:gd name="connsiteX114" fmla="*/ 3941252 w 6573406"/>
              <a:gd name="connsiteY114" fmla="*/ 3025270 h 5129212"/>
              <a:gd name="connsiteX115" fmla="*/ 3938460 w 6573406"/>
              <a:gd name="connsiteY115" fmla="*/ 3030667 h 5129212"/>
              <a:gd name="connsiteX116" fmla="*/ 3935668 w 6573406"/>
              <a:gd name="connsiteY116" fmla="*/ 3036064 h 5129212"/>
              <a:gd name="connsiteX117" fmla="*/ 3932178 w 6573406"/>
              <a:gd name="connsiteY117" fmla="*/ 3041462 h 5129212"/>
              <a:gd name="connsiteX118" fmla="*/ 3928688 w 6573406"/>
              <a:gd name="connsiteY118" fmla="*/ 3046224 h 5129212"/>
              <a:gd name="connsiteX119" fmla="*/ 3924849 w 6573406"/>
              <a:gd name="connsiteY119" fmla="*/ 3051621 h 5129212"/>
              <a:gd name="connsiteX120" fmla="*/ 3920661 w 6573406"/>
              <a:gd name="connsiteY120" fmla="*/ 3056066 h 5129212"/>
              <a:gd name="connsiteX121" fmla="*/ 3916473 w 6573406"/>
              <a:gd name="connsiteY121" fmla="*/ 3060828 h 5129212"/>
              <a:gd name="connsiteX122" fmla="*/ 3911587 w 6573406"/>
              <a:gd name="connsiteY122" fmla="*/ 3065273 h 5129212"/>
              <a:gd name="connsiteX123" fmla="*/ 3906701 w 6573406"/>
              <a:gd name="connsiteY123" fmla="*/ 3069400 h 5129212"/>
              <a:gd name="connsiteX124" fmla="*/ 3901815 w 6573406"/>
              <a:gd name="connsiteY124" fmla="*/ 3073210 h 5129212"/>
              <a:gd name="connsiteX125" fmla="*/ 3896929 w 6573406"/>
              <a:gd name="connsiteY125" fmla="*/ 3077019 h 5129212"/>
              <a:gd name="connsiteX126" fmla="*/ 3891694 w 6573406"/>
              <a:gd name="connsiteY126" fmla="*/ 3080194 h 5129212"/>
              <a:gd name="connsiteX127" fmla="*/ 3886110 w 6573406"/>
              <a:gd name="connsiteY127" fmla="*/ 3083051 h 5129212"/>
              <a:gd name="connsiteX128" fmla="*/ 3880177 w 6573406"/>
              <a:gd name="connsiteY128" fmla="*/ 3085909 h 5129212"/>
              <a:gd name="connsiteX129" fmla="*/ 3874593 w 6573406"/>
              <a:gd name="connsiteY129" fmla="*/ 3088131 h 5129212"/>
              <a:gd name="connsiteX130" fmla="*/ 3869009 w 6573406"/>
              <a:gd name="connsiteY130" fmla="*/ 3090354 h 5129212"/>
              <a:gd name="connsiteX131" fmla="*/ 3863425 w 6573406"/>
              <a:gd name="connsiteY131" fmla="*/ 3092258 h 5129212"/>
              <a:gd name="connsiteX132" fmla="*/ 3857492 w 6573406"/>
              <a:gd name="connsiteY132" fmla="*/ 3093846 h 5129212"/>
              <a:gd name="connsiteX133" fmla="*/ 3851559 w 6573406"/>
              <a:gd name="connsiteY133" fmla="*/ 3095116 h 5129212"/>
              <a:gd name="connsiteX134" fmla="*/ 3845626 w 6573406"/>
              <a:gd name="connsiteY134" fmla="*/ 3096068 h 5129212"/>
              <a:gd name="connsiteX135" fmla="*/ 3839693 w 6573406"/>
              <a:gd name="connsiteY135" fmla="*/ 3097021 h 5129212"/>
              <a:gd name="connsiteX136" fmla="*/ 3833760 w 6573406"/>
              <a:gd name="connsiteY136" fmla="*/ 3097338 h 5129212"/>
              <a:gd name="connsiteX137" fmla="*/ 3827827 w 6573406"/>
              <a:gd name="connsiteY137" fmla="*/ 3097338 h 5129212"/>
              <a:gd name="connsiteX138" fmla="*/ 3821894 w 6573406"/>
              <a:gd name="connsiteY138" fmla="*/ 3097338 h 5129212"/>
              <a:gd name="connsiteX139" fmla="*/ 3815961 w 6573406"/>
              <a:gd name="connsiteY139" fmla="*/ 3097021 h 5129212"/>
              <a:gd name="connsiteX140" fmla="*/ 3810028 w 6573406"/>
              <a:gd name="connsiteY140" fmla="*/ 3096068 h 5129212"/>
              <a:gd name="connsiteX141" fmla="*/ 3804095 w 6573406"/>
              <a:gd name="connsiteY141" fmla="*/ 3095116 h 5129212"/>
              <a:gd name="connsiteX142" fmla="*/ 3798162 w 6573406"/>
              <a:gd name="connsiteY142" fmla="*/ 3093846 h 5129212"/>
              <a:gd name="connsiteX143" fmla="*/ 3792578 w 6573406"/>
              <a:gd name="connsiteY143" fmla="*/ 3092258 h 5129212"/>
              <a:gd name="connsiteX144" fmla="*/ 3786645 w 6573406"/>
              <a:gd name="connsiteY144" fmla="*/ 3090354 h 5129212"/>
              <a:gd name="connsiteX145" fmla="*/ 3781061 w 6573406"/>
              <a:gd name="connsiteY145" fmla="*/ 3088131 h 5129212"/>
              <a:gd name="connsiteX146" fmla="*/ 3775477 w 6573406"/>
              <a:gd name="connsiteY146" fmla="*/ 3085909 h 5129212"/>
              <a:gd name="connsiteX147" fmla="*/ 3769893 w 6573406"/>
              <a:gd name="connsiteY147" fmla="*/ 3083051 h 5129212"/>
              <a:gd name="connsiteX148" fmla="*/ 3764658 w 6573406"/>
              <a:gd name="connsiteY148" fmla="*/ 3080194 h 5129212"/>
              <a:gd name="connsiteX149" fmla="*/ 3759423 w 6573406"/>
              <a:gd name="connsiteY149" fmla="*/ 3077019 h 5129212"/>
              <a:gd name="connsiteX150" fmla="*/ 3754188 w 6573406"/>
              <a:gd name="connsiteY150" fmla="*/ 3073210 h 5129212"/>
              <a:gd name="connsiteX151" fmla="*/ 3749302 w 6573406"/>
              <a:gd name="connsiteY151" fmla="*/ 3069400 h 5129212"/>
              <a:gd name="connsiteX152" fmla="*/ 3744416 w 6573406"/>
              <a:gd name="connsiteY152" fmla="*/ 3065273 h 5129212"/>
              <a:gd name="connsiteX153" fmla="*/ 3739879 w 6573406"/>
              <a:gd name="connsiteY153" fmla="*/ 3060828 h 5129212"/>
              <a:gd name="connsiteX154" fmla="*/ 3013960 w 6573406"/>
              <a:gd name="connsiteY154" fmla="*/ 2336338 h 5129212"/>
              <a:gd name="connsiteX155" fmla="*/ 3009423 w 6573406"/>
              <a:gd name="connsiteY155" fmla="*/ 2331576 h 5129212"/>
              <a:gd name="connsiteX156" fmla="*/ 3004537 w 6573406"/>
              <a:gd name="connsiteY156" fmla="*/ 2327448 h 5129212"/>
              <a:gd name="connsiteX157" fmla="*/ 2999651 w 6573406"/>
              <a:gd name="connsiteY157" fmla="*/ 2323639 h 5129212"/>
              <a:gd name="connsiteX158" fmla="*/ 2994416 w 6573406"/>
              <a:gd name="connsiteY158" fmla="*/ 2320146 h 5129212"/>
              <a:gd name="connsiteX159" fmla="*/ 2989181 w 6573406"/>
              <a:gd name="connsiteY159" fmla="*/ 2316971 h 5129212"/>
              <a:gd name="connsiteX160" fmla="*/ 2983946 w 6573406"/>
              <a:gd name="connsiteY160" fmla="*/ 2313797 h 5129212"/>
              <a:gd name="connsiteX161" fmla="*/ 2978362 w 6573406"/>
              <a:gd name="connsiteY161" fmla="*/ 2310939 h 5129212"/>
              <a:gd name="connsiteX162" fmla="*/ 2972778 w 6573406"/>
              <a:gd name="connsiteY162" fmla="*/ 2308717 h 5129212"/>
              <a:gd name="connsiteX163" fmla="*/ 2967194 w 6573406"/>
              <a:gd name="connsiteY163" fmla="*/ 2306495 h 5129212"/>
              <a:gd name="connsiteX164" fmla="*/ 2961261 w 6573406"/>
              <a:gd name="connsiteY164" fmla="*/ 2304907 h 5129212"/>
              <a:gd name="connsiteX165" fmla="*/ 2955677 w 6573406"/>
              <a:gd name="connsiteY165" fmla="*/ 2303002 h 5129212"/>
              <a:gd name="connsiteX166" fmla="*/ 2949744 w 6573406"/>
              <a:gd name="connsiteY166" fmla="*/ 2302050 h 5129212"/>
              <a:gd name="connsiteX167" fmla="*/ 2943811 w 6573406"/>
              <a:gd name="connsiteY167" fmla="*/ 2301097 h 5129212"/>
              <a:gd name="connsiteX168" fmla="*/ 2937878 w 6573406"/>
              <a:gd name="connsiteY168" fmla="*/ 2300145 h 5129212"/>
              <a:gd name="connsiteX169" fmla="*/ 2931945 w 6573406"/>
              <a:gd name="connsiteY169" fmla="*/ 2299828 h 5129212"/>
              <a:gd name="connsiteX170" fmla="*/ 2926012 w 6573406"/>
              <a:gd name="connsiteY170" fmla="*/ 2299510 h 5129212"/>
              <a:gd name="connsiteX171" fmla="*/ 2919730 w 6573406"/>
              <a:gd name="connsiteY171" fmla="*/ 2299828 h 5129212"/>
              <a:gd name="connsiteX172" fmla="*/ 2913797 w 6573406"/>
              <a:gd name="connsiteY172" fmla="*/ 2300145 h 5129212"/>
              <a:gd name="connsiteX173" fmla="*/ 2907864 w 6573406"/>
              <a:gd name="connsiteY173" fmla="*/ 2301097 h 5129212"/>
              <a:gd name="connsiteX174" fmla="*/ 2901931 w 6573406"/>
              <a:gd name="connsiteY174" fmla="*/ 2302050 h 5129212"/>
              <a:gd name="connsiteX175" fmla="*/ 2896347 w 6573406"/>
              <a:gd name="connsiteY175" fmla="*/ 2303002 h 5129212"/>
              <a:gd name="connsiteX176" fmla="*/ 2890414 w 6573406"/>
              <a:gd name="connsiteY176" fmla="*/ 2304907 h 5129212"/>
              <a:gd name="connsiteX177" fmla="*/ 2884830 w 6573406"/>
              <a:gd name="connsiteY177" fmla="*/ 2306495 h 5129212"/>
              <a:gd name="connsiteX178" fmla="*/ 2878897 w 6573406"/>
              <a:gd name="connsiteY178" fmla="*/ 2308717 h 5129212"/>
              <a:gd name="connsiteX179" fmla="*/ 2873313 w 6573406"/>
              <a:gd name="connsiteY179" fmla="*/ 2310939 h 5129212"/>
              <a:gd name="connsiteX180" fmla="*/ 2868078 w 6573406"/>
              <a:gd name="connsiteY180" fmla="*/ 2313797 h 5129212"/>
              <a:gd name="connsiteX181" fmla="*/ 2862494 w 6573406"/>
              <a:gd name="connsiteY181" fmla="*/ 2316971 h 5129212"/>
              <a:gd name="connsiteX182" fmla="*/ 2857259 w 6573406"/>
              <a:gd name="connsiteY182" fmla="*/ 2320146 h 5129212"/>
              <a:gd name="connsiteX183" fmla="*/ 2852373 w 6573406"/>
              <a:gd name="connsiteY183" fmla="*/ 2323639 h 5129212"/>
              <a:gd name="connsiteX184" fmla="*/ 2847138 w 6573406"/>
              <a:gd name="connsiteY184" fmla="*/ 2327448 h 5129212"/>
              <a:gd name="connsiteX185" fmla="*/ 2842601 w 6573406"/>
              <a:gd name="connsiteY185" fmla="*/ 2331576 h 5129212"/>
              <a:gd name="connsiteX186" fmla="*/ 2837715 w 6573406"/>
              <a:gd name="connsiteY186" fmla="*/ 2336338 h 5129212"/>
              <a:gd name="connsiteX187" fmla="*/ 2833527 w 6573406"/>
              <a:gd name="connsiteY187" fmla="*/ 2340783 h 5129212"/>
              <a:gd name="connsiteX188" fmla="*/ 2829339 w 6573406"/>
              <a:gd name="connsiteY188" fmla="*/ 2345545 h 5129212"/>
              <a:gd name="connsiteX189" fmla="*/ 2825500 w 6573406"/>
              <a:gd name="connsiteY189" fmla="*/ 2350624 h 5129212"/>
              <a:gd name="connsiteX190" fmla="*/ 2822010 w 6573406"/>
              <a:gd name="connsiteY190" fmla="*/ 2355704 h 5129212"/>
              <a:gd name="connsiteX191" fmla="*/ 2818520 w 6573406"/>
              <a:gd name="connsiteY191" fmla="*/ 2361101 h 5129212"/>
              <a:gd name="connsiteX192" fmla="*/ 2815728 w 6573406"/>
              <a:gd name="connsiteY192" fmla="*/ 2366181 h 5129212"/>
              <a:gd name="connsiteX193" fmla="*/ 2812936 w 6573406"/>
              <a:gd name="connsiteY193" fmla="*/ 2371896 h 5129212"/>
              <a:gd name="connsiteX194" fmla="*/ 2810493 w 6573406"/>
              <a:gd name="connsiteY194" fmla="*/ 2377293 h 5129212"/>
              <a:gd name="connsiteX195" fmla="*/ 2808399 w 6573406"/>
              <a:gd name="connsiteY195" fmla="*/ 2383007 h 5129212"/>
              <a:gd name="connsiteX196" fmla="*/ 2806305 w 6573406"/>
              <a:gd name="connsiteY196" fmla="*/ 2388405 h 5129212"/>
              <a:gd name="connsiteX197" fmla="*/ 2804909 w 6573406"/>
              <a:gd name="connsiteY197" fmla="*/ 2394437 h 5129212"/>
              <a:gd name="connsiteX198" fmla="*/ 2803513 w 6573406"/>
              <a:gd name="connsiteY198" fmla="*/ 2400469 h 5129212"/>
              <a:gd name="connsiteX199" fmla="*/ 2802466 w 6573406"/>
              <a:gd name="connsiteY199" fmla="*/ 2406501 h 5129212"/>
              <a:gd name="connsiteX200" fmla="*/ 2801768 w 6573406"/>
              <a:gd name="connsiteY200" fmla="*/ 2412216 h 5129212"/>
              <a:gd name="connsiteX201" fmla="*/ 2801419 w 6573406"/>
              <a:gd name="connsiteY201" fmla="*/ 2418248 h 5129212"/>
              <a:gd name="connsiteX202" fmla="*/ 2801419 w 6573406"/>
              <a:gd name="connsiteY202" fmla="*/ 2424280 h 5129212"/>
              <a:gd name="connsiteX203" fmla="*/ 2801419 w 6573406"/>
              <a:gd name="connsiteY203" fmla="*/ 2429994 h 5129212"/>
              <a:gd name="connsiteX204" fmla="*/ 2801768 w 6573406"/>
              <a:gd name="connsiteY204" fmla="*/ 2436027 h 5129212"/>
              <a:gd name="connsiteX205" fmla="*/ 2802466 w 6573406"/>
              <a:gd name="connsiteY205" fmla="*/ 2442059 h 5129212"/>
              <a:gd name="connsiteX206" fmla="*/ 2803513 w 6573406"/>
              <a:gd name="connsiteY206" fmla="*/ 2447773 h 5129212"/>
              <a:gd name="connsiteX207" fmla="*/ 2804909 w 6573406"/>
              <a:gd name="connsiteY207" fmla="*/ 2453805 h 5129212"/>
              <a:gd name="connsiteX208" fmla="*/ 2806305 w 6573406"/>
              <a:gd name="connsiteY208" fmla="*/ 2459838 h 5129212"/>
              <a:gd name="connsiteX209" fmla="*/ 2808399 w 6573406"/>
              <a:gd name="connsiteY209" fmla="*/ 2465235 h 5129212"/>
              <a:gd name="connsiteX210" fmla="*/ 2810493 w 6573406"/>
              <a:gd name="connsiteY210" fmla="*/ 2470949 h 5129212"/>
              <a:gd name="connsiteX211" fmla="*/ 2812936 w 6573406"/>
              <a:gd name="connsiteY211" fmla="*/ 2476347 h 5129212"/>
              <a:gd name="connsiteX212" fmla="*/ 2815728 w 6573406"/>
              <a:gd name="connsiteY212" fmla="*/ 2482061 h 5129212"/>
              <a:gd name="connsiteX213" fmla="*/ 2818520 w 6573406"/>
              <a:gd name="connsiteY213" fmla="*/ 2487458 h 5129212"/>
              <a:gd name="connsiteX214" fmla="*/ 2822010 w 6573406"/>
              <a:gd name="connsiteY214" fmla="*/ 2492538 h 5129212"/>
              <a:gd name="connsiteX215" fmla="*/ 2825500 w 6573406"/>
              <a:gd name="connsiteY215" fmla="*/ 2497935 h 5129212"/>
              <a:gd name="connsiteX216" fmla="*/ 2829339 w 6573406"/>
              <a:gd name="connsiteY216" fmla="*/ 2502697 h 5129212"/>
              <a:gd name="connsiteX217" fmla="*/ 2833527 w 6573406"/>
              <a:gd name="connsiteY217" fmla="*/ 2507460 h 5129212"/>
              <a:gd name="connsiteX218" fmla="*/ 2837715 w 6573406"/>
              <a:gd name="connsiteY218" fmla="*/ 2512222 h 5129212"/>
              <a:gd name="connsiteX219" fmla="*/ 4276989 w 6573406"/>
              <a:gd name="connsiteY219" fmla="*/ 3949455 h 5129212"/>
              <a:gd name="connsiteX220" fmla="*/ 4281177 w 6573406"/>
              <a:gd name="connsiteY220" fmla="*/ 3953900 h 5129212"/>
              <a:gd name="connsiteX221" fmla="*/ 4285365 w 6573406"/>
              <a:gd name="connsiteY221" fmla="*/ 3958980 h 5129212"/>
              <a:gd name="connsiteX222" fmla="*/ 4289204 w 6573406"/>
              <a:gd name="connsiteY222" fmla="*/ 3963742 h 5129212"/>
              <a:gd name="connsiteX223" fmla="*/ 4292694 w 6573406"/>
              <a:gd name="connsiteY223" fmla="*/ 3968822 h 5129212"/>
              <a:gd name="connsiteX224" fmla="*/ 4296184 w 6573406"/>
              <a:gd name="connsiteY224" fmla="*/ 3974219 h 5129212"/>
              <a:gd name="connsiteX225" fmla="*/ 4298976 w 6573406"/>
              <a:gd name="connsiteY225" fmla="*/ 3979298 h 5129212"/>
              <a:gd name="connsiteX226" fmla="*/ 4301768 w 6573406"/>
              <a:gd name="connsiteY226" fmla="*/ 3985013 h 5129212"/>
              <a:gd name="connsiteX227" fmla="*/ 4304211 w 6573406"/>
              <a:gd name="connsiteY227" fmla="*/ 3990728 h 5129212"/>
              <a:gd name="connsiteX228" fmla="*/ 4306305 w 6573406"/>
              <a:gd name="connsiteY228" fmla="*/ 3996125 h 5129212"/>
              <a:gd name="connsiteX229" fmla="*/ 4308050 w 6573406"/>
              <a:gd name="connsiteY229" fmla="*/ 4001840 h 5129212"/>
              <a:gd name="connsiteX230" fmla="*/ 4309795 w 6573406"/>
              <a:gd name="connsiteY230" fmla="*/ 4007554 h 5129212"/>
              <a:gd name="connsiteX231" fmla="*/ 4311191 w 6573406"/>
              <a:gd name="connsiteY231" fmla="*/ 4013586 h 5129212"/>
              <a:gd name="connsiteX232" fmla="*/ 4311889 w 6573406"/>
              <a:gd name="connsiteY232" fmla="*/ 4019618 h 5129212"/>
              <a:gd name="connsiteX233" fmla="*/ 4312587 w 6573406"/>
              <a:gd name="connsiteY233" fmla="*/ 4025333 h 5129212"/>
              <a:gd name="connsiteX234" fmla="*/ 4313285 w 6573406"/>
              <a:gd name="connsiteY234" fmla="*/ 4031365 h 5129212"/>
              <a:gd name="connsiteX235" fmla="*/ 4313285 w 6573406"/>
              <a:gd name="connsiteY235" fmla="*/ 4037397 h 5129212"/>
              <a:gd name="connsiteX236" fmla="*/ 4313285 w 6573406"/>
              <a:gd name="connsiteY236" fmla="*/ 4043429 h 5129212"/>
              <a:gd name="connsiteX237" fmla="*/ 4312587 w 6573406"/>
              <a:gd name="connsiteY237" fmla="*/ 4049144 h 5129212"/>
              <a:gd name="connsiteX238" fmla="*/ 4311889 w 6573406"/>
              <a:gd name="connsiteY238" fmla="*/ 4055176 h 5129212"/>
              <a:gd name="connsiteX239" fmla="*/ 4311191 w 6573406"/>
              <a:gd name="connsiteY239" fmla="*/ 4061208 h 5129212"/>
              <a:gd name="connsiteX240" fmla="*/ 4309795 w 6573406"/>
              <a:gd name="connsiteY240" fmla="*/ 4066923 h 5129212"/>
              <a:gd name="connsiteX241" fmla="*/ 4308050 w 6573406"/>
              <a:gd name="connsiteY241" fmla="*/ 4072955 h 5129212"/>
              <a:gd name="connsiteX242" fmla="*/ 4306305 w 6573406"/>
              <a:gd name="connsiteY242" fmla="*/ 4078670 h 5129212"/>
              <a:gd name="connsiteX243" fmla="*/ 4304211 w 6573406"/>
              <a:gd name="connsiteY243" fmla="*/ 4084067 h 5129212"/>
              <a:gd name="connsiteX244" fmla="*/ 4301768 w 6573406"/>
              <a:gd name="connsiteY244" fmla="*/ 4089782 h 5129212"/>
              <a:gd name="connsiteX245" fmla="*/ 4298976 w 6573406"/>
              <a:gd name="connsiteY245" fmla="*/ 4095179 h 5129212"/>
              <a:gd name="connsiteX246" fmla="*/ 4296184 w 6573406"/>
              <a:gd name="connsiteY246" fmla="*/ 4100576 h 5129212"/>
              <a:gd name="connsiteX247" fmla="*/ 4292694 w 6573406"/>
              <a:gd name="connsiteY247" fmla="*/ 4105656 h 5129212"/>
              <a:gd name="connsiteX248" fmla="*/ 4289204 w 6573406"/>
              <a:gd name="connsiteY248" fmla="*/ 4111053 h 5129212"/>
              <a:gd name="connsiteX249" fmla="*/ 4285365 w 6573406"/>
              <a:gd name="connsiteY249" fmla="*/ 4115815 h 5129212"/>
              <a:gd name="connsiteX250" fmla="*/ 4281177 w 6573406"/>
              <a:gd name="connsiteY250" fmla="*/ 4120895 h 5129212"/>
              <a:gd name="connsiteX251" fmla="*/ 4276989 w 6573406"/>
              <a:gd name="connsiteY251" fmla="*/ 4125339 h 5129212"/>
              <a:gd name="connsiteX252" fmla="*/ 4272801 w 6573406"/>
              <a:gd name="connsiteY252" fmla="*/ 4129149 h 5129212"/>
              <a:gd name="connsiteX253" fmla="*/ 4268613 w 6573406"/>
              <a:gd name="connsiteY253" fmla="*/ 4132959 h 5129212"/>
              <a:gd name="connsiteX254" fmla="*/ 4264425 w 6573406"/>
              <a:gd name="connsiteY254" fmla="*/ 4136134 h 5129212"/>
              <a:gd name="connsiteX255" fmla="*/ 4259888 w 6573406"/>
              <a:gd name="connsiteY255" fmla="*/ 4139626 h 5129212"/>
              <a:gd name="connsiteX256" fmla="*/ 4255700 w 6573406"/>
              <a:gd name="connsiteY256" fmla="*/ 4142483 h 5129212"/>
              <a:gd name="connsiteX257" fmla="*/ 4250814 w 6573406"/>
              <a:gd name="connsiteY257" fmla="*/ 4145023 h 5129212"/>
              <a:gd name="connsiteX258" fmla="*/ 4246277 w 6573406"/>
              <a:gd name="connsiteY258" fmla="*/ 4147880 h 5129212"/>
              <a:gd name="connsiteX259" fmla="*/ 4241391 w 6573406"/>
              <a:gd name="connsiteY259" fmla="*/ 4150103 h 5129212"/>
              <a:gd name="connsiteX260" fmla="*/ 4236854 w 6573406"/>
              <a:gd name="connsiteY260" fmla="*/ 4152008 h 5129212"/>
              <a:gd name="connsiteX261" fmla="*/ 4231619 w 6573406"/>
              <a:gd name="connsiteY261" fmla="*/ 4154230 h 5129212"/>
              <a:gd name="connsiteX262" fmla="*/ 4226733 w 6573406"/>
              <a:gd name="connsiteY262" fmla="*/ 4156135 h 5129212"/>
              <a:gd name="connsiteX263" fmla="*/ 4221847 w 6573406"/>
              <a:gd name="connsiteY263" fmla="*/ 4157405 h 5129212"/>
              <a:gd name="connsiteX264" fmla="*/ 4216612 w 6573406"/>
              <a:gd name="connsiteY264" fmla="*/ 4158675 h 5129212"/>
              <a:gd name="connsiteX265" fmla="*/ 4211726 w 6573406"/>
              <a:gd name="connsiteY265" fmla="*/ 4159945 h 5129212"/>
              <a:gd name="connsiteX266" fmla="*/ 4206491 w 6573406"/>
              <a:gd name="connsiteY266" fmla="*/ 4160580 h 5129212"/>
              <a:gd name="connsiteX267" fmla="*/ 4201256 w 6573406"/>
              <a:gd name="connsiteY267" fmla="*/ 4161215 h 5129212"/>
              <a:gd name="connsiteX268" fmla="*/ 4196022 w 6573406"/>
              <a:gd name="connsiteY268" fmla="*/ 4161532 h 5129212"/>
              <a:gd name="connsiteX269" fmla="*/ 4191135 w 6573406"/>
              <a:gd name="connsiteY269" fmla="*/ 4161532 h 5129212"/>
              <a:gd name="connsiteX270" fmla="*/ 4185900 w 6573406"/>
              <a:gd name="connsiteY270" fmla="*/ 4161532 h 5129212"/>
              <a:gd name="connsiteX271" fmla="*/ 4180665 w 6573406"/>
              <a:gd name="connsiteY271" fmla="*/ 4161532 h 5129212"/>
              <a:gd name="connsiteX272" fmla="*/ 4175430 w 6573406"/>
              <a:gd name="connsiteY272" fmla="*/ 4160897 h 5129212"/>
              <a:gd name="connsiteX273" fmla="*/ 4170195 w 6573406"/>
              <a:gd name="connsiteY273" fmla="*/ 4160580 h 5129212"/>
              <a:gd name="connsiteX274" fmla="*/ 4165309 w 6573406"/>
              <a:gd name="connsiteY274" fmla="*/ 4159627 h 5129212"/>
              <a:gd name="connsiteX275" fmla="*/ 4159725 w 6573406"/>
              <a:gd name="connsiteY275" fmla="*/ 4158357 h 5129212"/>
              <a:gd name="connsiteX276" fmla="*/ 4154490 w 6573406"/>
              <a:gd name="connsiteY276" fmla="*/ 4157087 h 5129212"/>
              <a:gd name="connsiteX277" fmla="*/ 4149604 w 6573406"/>
              <a:gd name="connsiteY277" fmla="*/ 4155500 h 5129212"/>
              <a:gd name="connsiteX278" fmla="*/ 4144718 w 6573406"/>
              <a:gd name="connsiteY278" fmla="*/ 4153913 h 5129212"/>
              <a:gd name="connsiteX279" fmla="*/ 4139832 w 6573406"/>
              <a:gd name="connsiteY279" fmla="*/ 4151690 h 5129212"/>
              <a:gd name="connsiteX280" fmla="*/ 4134946 w 6573406"/>
              <a:gd name="connsiteY280" fmla="*/ 4149785 h 5129212"/>
              <a:gd name="connsiteX281" fmla="*/ 4130409 w 6573406"/>
              <a:gd name="connsiteY281" fmla="*/ 4147246 h 5129212"/>
              <a:gd name="connsiteX282" fmla="*/ 4125523 w 6573406"/>
              <a:gd name="connsiteY282" fmla="*/ 4144706 h 5129212"/>
              <a:gd name="connsiteX283" fmla="*/ 4120986 w 6573406"/>
              <a:gd name="connsiteY283" fmla="*/ 4142166 h 5129212"/>
              <a:gd name="connsiteX0" fmla="*/ 0 w 6573406"/>
              <a:gd name="connsiteY0" fmla="*/ 0 h 5129212"/>
              <a:gd name="connsiteX1" fmla="*/ 0 w 6573406"/>
              <a:gd name="connsiteY1" fmla="*/ 409574 h 5129212"/>
              <a:gd name="connsiteX2" fmla="*/ 0 w 6573406"/>
              <a:gd name="connsiteY2" fmla="*/ 467649 h 5129212"/>
              <a:gd name="connsiteX3" fmla="*/ 0 w 6573406"/>
              <a:gd name="connsiteY3" fmla="*/ 820687 h 5129212"/>
              <a:gd name="connsiteX4" fmla="*/ 0 w 6573406"/>
              <a:gd name="connsiteY4" fmla="*/ 5129212 h 5129212"/>
              <a:gd name="connsiteX5" fmla="*/ 6573406 w 6573406"/>
              <a:gd name="connsiteY5" fmla="*/ 5129212 h 5129212"/>
              <a:gd name="connsiteX6" fmla="*/ 3968474 w 6573406"/>
              <a:gd name="connsiteY6" fmla="*/ 2531906 h 5129212"/>
              <a:gd name="connsiteX7" fmla="*/ 3962541 w 6573406"/>
              <a:gd name="connsiteY7" fmla="*/ 2531906 h 5129212"/>
              <a:gd name="connsiteX8" fmla="*/ 3956259 w 6573406"/>
              <a:gd name="connsiteY8" fmla="*/ 2531588 h 5129212"/>
              <a:gd name="connsiteX9" fmla="*/ 3950326 w 6573406"/>
              <a:gd name="connsiteY9" fmla="*/ 2530953 h 5129212"/>
              <a:gd name="connsiteX10" fmla="*/ 3944393 w 6573406"/>
              <a:gd name="connsiteY10" fmla="*/ 2530001 h 5129212"/>
              <a:gd name="connsiteX11" fmla="*/ 3938460 w 6573406"/>
              <a:gd name="connsiteY11" fmla="*/ 2528731 h 5129212"/>
              <a:gd name="connsiteX12" fmla="*/ 3932527 w 6573406"/>
              <a:gd name="connsiteY12" fmla="*/ 2527143 h 5129212"/>
              <a:gd name="connsiteX13" fmla="*/ 3926943 w 6573406"/>
              <a:gd name="connsiteY13" fmla="*/ 2525239 h 5129212"/>
              <a:gd name="connsiteX14" fmla="*/ 3921010 w 6573406"/>
              <a:gd name="connsiteY14" fmla="*/ 2523334 h 5129212"/>
              <a:gd name="connsiteX15" fmla="*/ 3915426 w 6573406"/>
              <a:gd name="connsiteY15" fmla="*/ 2520794 h 5129212"/>
              <a:gd name="connsiteX16" fmla="*/ 3909842 w 6573406"/>
              <a:gd name="connsiteY16" fmla="*/ 2517937 h 5129212"/>
              <a:gd name="connsiteX17" fmla="*/ 3904258 w 6573406"/>
              <a:gd name="connsiteY17" fmla="*/ 2515079 h 5129212"/>
              <a:gd name="connsiteX18" fmla="*/ 3899023 w 6573406"/>
              <a:gd name="connsiteY18" fmla="*/ 2511587 h 5129212"/>
              <a:gd name="connsiteX19" fmla="*/ 3893788 w 6573406"/>
              <a:gd name="connsiteY19" fmla="*/ 2508095 h 5129212"/>
              <a:gd name="connsiteX20" fmla="*/ 3888902 w 6573406"/>
              <a:gd name="connsiteY20" fmla="*/ 2504285 h 5129212"/>
              <a:gd name="connsiteX21" fmla="*/ 3884016 w 6573406"/>
              <a:gd name="connsiteY21" fmla="*/ 2500158 h 5129212"/>
              <a:gd name="connsiteX22" fmla="*/ 3879130 w 6573406"/>
              <a:gd name="connsiteY22" fmla="*/ 2495713 h 5129212"/>
              <a:gd name="connsiteX23" fmla="*/ 3266286 w 6573406"/>
              <a:gd name="connsiteY23" fmla="*/ 1883611 h 5129212"/>
              <a:gd name="connsiteX24" fmla="*/ 3261400 w 6573406"/>
              <a:gd name="connsiteY24" fmla="*/ 1879484 h 5129212"/>
              <a:gd name="connsiteX25" fmla="*/ 3256864 w 6573406"/>
              <a:gd name="connsiteY25" fmla="*/ 1875356 h 5129212"/>
              <a:gd name="connsiteX26" fmla="*/ 3251628 w 6573406"/>
              <a:gd name="connsiteY26" fmla="*/ 1871547 h 5129212"/>
              <a:gd name="connsiteX27" fmla="*/ 3246742 w 6573406"/>
              <a:gd name="connsiteY27" fmla="*/ 1868054 h 5129212"/>
              <a:gd name="connsiteX28" fmla="*/ 3241508 w 6573406"/>
              <a:gd name="connsiteY28" fmla="*/ 1864562 h 5129212"/>
              <a:gd name="connsiteX29" fmla="*/ 3235924 w 6573406"/>
              <a:gd name="connsiteY29" fmla="*/ 1861705 h 5129212"/>
              <a:gd name="connsiteX30" fmla="*/ 3230688 w 6573406"/>
              <a:gd name="connsiteY30" fmla="*/ 1858847 h 5129212"/>
              <a:gd name="connsiteX31" fmla="*/ 3225104 w 6573406"/>
              <a:gd name="connsiteY31" fmla="*/ 1856308 h 5129212"/>
              <a:gd name="connsiteX32" fmla="*/ 3219172 w 6573406"/>
              <a:gd name="connsiteY32" fmla="*/ 1854403 h 5129212"/>
              <a:gd name="connsiteX33" fmla="*/ 3213588 w 6573406"/>
              <a:gd name="connsiteY33" fmla="*/ 1852180 h 5129212"/>
              <a:gd name="connsiteX34" fmla="*/ 3207654 w 6573406"/>
              <a:gd name="connsiteY34" fmla="*/ 1850910 h 5129212"/>
              <a:gd name="connsiteX35" fmla="*/ 3202070 w 6573406"/>
              <a:gd name="connsiteY35" fmla="*/ 1849323 h 5129212"/>
              <a:gd name="connsiteX36" fmla="*/ 3196138 w 6573406"/>
              <a:gd name="connsiteY36" fmla="*/ 1848371 h 5129212"/>
              <a:gd name="connsiteX37" fmla="*/ 3190205 w 6573406"/>
              <a:gd name="connsiteY37" fmla="*/ 1847736 h 5129212"/>
              <a:gd name="connsiteX38" fmla="*/ 3184272 w 6573406"/>
              <a:gd name="connsiteY38" fmla="*/ 1847418 h 5129212"/>
              <a:gd name="connsiteX39" fmla="*/ 3177990 w 6573406"/>
              <a:gd name="connsiteY39" fmla="*/ 1847418 h 5129212"/>
              <a:gd name="connsiteX40" fmla="*/ 3172057 w 6573406"/>
              <a:gd name="connsiteY40" fmla="*/ 1847418 h 5129212"/>
              <a:gd name="connsiteX41" fmla="*/ 3166124 w 6573406"/>
              <a:gd name="connsiteY41" fmla="*/ 1847736 h 5129212"/>
              <a:gd name="connsiteX42" fmla="*/ 3160191 w 6573406"/>
              <a:gd name="connsiteY42" fmla="*/ 1848371 h 5129212"/>
              <a:gd name="connsiteX43" fmla="*/ 3154258 w 6573406"/>
              <a:gd name="connsiteY43" fmla="*/ 1849323 h 5129212"/>
              <a:gd name="connsiteX44" fmla="*/ 3148325 w 6573406"/>
              <a:gd name="connsiteY44" fmla="*/ 1850910 h 5129212"/>
              <a:gd name="connsiteX45" fmla="*/ 3142741 w 6573406"/>
              <a:gd name="connsiteY45" fmla="*/ 1852180 h 5129212"/>
              <a:gd name="connsiteX46" fmla="*/ 3136808 w 6573406"/>
              <a:gd name="connsiteY46" fmla="*/ 1854403 h 5129212"/>
              <a:gd name="connsiteX47" fmla="*/ 3131224 w 6573406"/>
              <a:gd name="connsiteY47" fmla="*/ 1856308 h 5129212"/>
              <a:gd name="connsiteX48" fmla="*/ 3125640 w 6573406"/>
              <a:gd name="connsiteY48" fmla="*/ 1858847 h 5129212"/>
              <a:gd name="connsiteX49" fmla="*/ 3120405 w 6573406"/>
              <a:gd name="connsiteY49" fmla="*/ 1861705 h 5129212"/>
              <a:gd name="connsiteX50" fmla="*/ 3114821 w 6573406"/>
              <a:gd name="connsiteY50" fmla="*/ 1864562 h 5129212"/>
              <a:gd name="connsiteX51" fmla="*/ 3109586 w 6573406"/>
              <a:gd name="connsiteY51" fmla="*/ 1868054 h 5129212"/>
              <a:gd name="connsiteX52" fmla="*/ 3104351 w 6573406"/>
              <a:gd name="connsiteY52" fmla="*/ 1871547 h 5129212"/>
              <a:gd name="connsiteX53" fmla="*/ 3099465 w 6573406"/>
              <a:gd name="connsiteY53" fmla="*/ 1875356 h 5129212"/>
              <a:gd name="connsiteX54" fmla="*/ 3094579 w 6573406"/>
              <a:gd name="connsiteY54" fmla="*/ 1879484 h 5129212"/>
              <a:gd name="connsiteX55" fmla="*/ 3090042 w 6573406"/>
              <a:gd name="connsiteY55" fmla="*/ 1883611 h 5129212"/>
              <a:gd name="connsiteX56" fmla="*/ 3085505 w 6573406"/>
              <a:gd name="connsiteY56" fmla="*/ 1888373 h 5129212"/>
              <a:gd name="connsiteX57" fmla="*/ 3081666 w 6573406"/>
              <a:gd name="connsiteY57" fmla="*/ 1893135 h 5129212"/>
              <a:gd name="connsiteX58" fmla="*/ 3077827 w 6573406"/>
              <a:gd name="connsiteY58" fmla="*/ 1898215 h 5129212"/>
              <a:gd name="connsiteX59" fmla="*/ 3073988 w 6573406"/>
              <a:gd name="connsiteY59" fmla="*/ 1903295 h 5129212"/>
              <a:gd name="connsiteX60" fmla="*/ 3070847 w 6573406"/>
              <a:gd name="connsiteY60" fmla="*/ 1908374 h 5129212"/>
              <a:gd name="connsiteX61" fmla="*/ 3067706 w 6573406"/>
              <a:gd name="connsiteY61" fmla="*/ 1914089 h 5129212"/>
              <a:gd name="connsiteX62" fmla="*/ 3065263 w 6573406"/>
              <a:gd name="connsiteY62" fmla="*/ 1919169 h 5129212"/>
              <a:gd name="connsiteX63" fmla="*/ 3062820 w 6573406"/>
              <a:gd name="connsiteY63" fmla="*/ 1924883 h 5129212"/>
              <a:gd name="connsiteX64" fmla="*/ 3060726 w 6573406"/>
              <a:gd name="connsiteY64" fmla="*/ 1930281 h 5129212"/>
              <a:gd name="connsiteX65" fmla="*/ 3058632 w 6573406"/>
              <a:gd name="connsiteY65" fmla="*/ 1936313 h 5129212"/>
              <a:gd name="connsiteX66" fmla="*/ 3057236 w 6573406"/>
              <a:gd name="connsiteY66" fmla="*/ 1942345 h 5129212"/>
              <a:gd name="connsiteX67" fmla="*/ 3055840 w 6573406"/>
              <a:gd name="connsiteY67" fmla="*/ 1947742 h 5129212"/>
              <a:gd name="connsiteX68" fmla="*/ 3054793 w 6573406"/>
              <a:gd name="connsiteY68" fmla="*/ 1953774 h 5129212"/>
              <a:gd name="connsiteX69" fmla="*/ 3054095 w 6573406"/>
              <a:gd name="connsiteY69" fmla="*/ 1959806 h 5129212"/>
              <a:gd name="connsiteX70" fmla="*/ 3053746 w 6573406"/>
              <a:gd name="connsiteY70" fmla="*/ 1965521 h 5129212"/>
              <a:gd name="connsiteX71" fmla="*/ 3053746 w 6573406"/>
              <a:gd name="connsiteY71" fmla="*/ 1971870 h 5129212"/>
              <a:gd name="connsiteX72" fmla="*/ 3053746 w 6573406"/>
              <a:gd name="connsiteY72" fmla="*/ 1977903 h 5129212"/>
              <a:gd name="connsiteX73" fmla="*/ 3054095 w 6573406"/>
              <a:gd name="connsiteY73" fmla="*/ 1983617 h 5129212"/>
              <a:gd name="connsiteX74" fmla="*/ 3054793 w 6573406"/>
              <a:gd name="connsiteY74" fmla="*/ 1989649 h 5129212"/>
              <a:gd name="connsiteX75" fmla="*/ 3055840 w 6573406"/>
              <a:gd name="connsiteY75" fmla="*/ 1995681 h 5129212"/>
              <a:gd name="connsiteX76" fmla="*/ 3057236 w 6573406"/>
              <a:gd name="connsiteY76" fmla="*/ 2001079 h 5129212"/>
              <a:gd name="connsiteX77" fmla="*/ 3058632 w 6573406"/>
              <a:gd name="connsiteY77" fmla="*/ 2007111 h 5129212"/>
              <a:gd name="connsiteX78" fmla="*/ 3060726 w 6573406"/>
              <a:gd name="connsiteY78" fmla="*/ 2013143 h 5129212"/>
              <a:gd name="connsiteX79" fmla="*/ 3062820 w 6573406"/>
              <a:gd name="connsiteY79" fmla="*/ 2018540 h 5129212"/>
              <a:gd name="connsiteX80" fmla="*/ 3065263 w 6573406"/>
              <a:gd name="connsiteY80" fmla="*/ 2024255 h 5129212"/>
              <a:gd name="connsiteX81" fmla="*/ 3067706 w 6573406"/>
              <a:gd name="connsiteY81" fmla="*/ 2029334 h 5129212"/>
              <a:gd name="connsiteX82" fmla="*/ 3070847 w 6573406"/>
              <a:gd name="connsiteY82" fmla="*/ 2035049 h 5129212"/>
              <a:gd name="connsiteX83" fmla="*/ 3073988 w 6573406"/>
              <a:gd name="connsiteY83" fmla="*/ 2040446 h 5129212"/>
              <a:gd name="connsiteX84" fmla="*/ 3077827 w 6573406"/>
              <a:gd name="connsiteY84" fmla="*/ 2045208 h 5129212"/>
              <a:gd name="connsiteX85" fmla="*/ 3081666 w 6573406"/>
              <a:gd name="connsiteY85" fmla="*/ 2050288 h 5129212"/>
              <a:gd name="connsiteX86" fmla="*/ 3085505 w 6573406"/>
              <a:gd name="connsiteY86" fmla="*/ 2055368 h 5129212"/>
              <a:gd name="connsiteX87" fmla="*/ 3090042 w 6573406"/>
              <a:gd name="connsiteY87" fmla="*/ 2059812 h 5129212"/>
              <a:gd name="connsiteX88" fmla="*/ 3916473 w 6573406"/>
              <a:gd name="connsiteY88" fmla="*/ 2884626 h 5129212"/>
              <a:gd name="connsiteX89" fmla="*/ 3920661 w 6573406"/>
              <a:gd name="connsiteY89" fmla="*/ 2889706 h 5129212"/>
              <a:gd name="connsiteX90" fmla="*/ 3924849 w 6573406"/>
              <a:gd name="connsiteY90" fmla="*/ 2894151 h 5129212"/>
              <a:gd name="connsiteX91" fmla="*/ 3928688 w 6573406"/>
              <a:gd name="connsiteY91" fmla="*/ 2899548 h 5129212"/>
              <a:gd name="connsiteX92" fmla="*/ 3932178 w 6573406"/>
              <a:gd name="connsiteY92" fmla="*/ 2904310 h 5129212"/>
              <a:gd name="connsiteX93" fmla="*/ 3935668 w 6573406"/>
              <a:gd name="connsiteY93" fmla="*/ 2909390 h 5129212"/>
              <a:gd name="connsiteX94" fmla="*/ 3938460 w 6573406"/>
              <a:gd name="connsiteY94" fmla="*/ 2915104 h 5129212"/>
              <a:gd name="connsiteX95" fmla="*/ 3941252 w 6573406"/>
              <a:gd name="connsiteY95" fmla="*/ 2920502 h 5129212"/>
              <a:gd name="connsiteX96" fmla="*/ 3943695 w 6573406"/>
              <a:gd name="connsiteY96" fmla="*/ 2925899 h 5129212"/>
              <a:gd name="connsiteX97" fmla="*/ 3945789 w 6573406"/>
              <a:gd name="connsiteY97" fmla="*/ 2931613 h 5129212"/>
              <a:gd name="connsiteX98" fmla="*/ 3947534 w 6573406"/>
              <a:gd name="connsiteY98" fmla="*/ 2937328 h 5129212"/>
              <a:gd name="connsiteX99" fmla="*/ 3949279 w 6573406"/>
              <a:gd name="connsiteY99" fmla="*/ 2943360 h 5129212"/>
              <a:gd name="connsiteX100" fmla="*/ 3950675 w 6573406"/>
              <a:gd name="connsiteY100" fmla="*/ 2949075 h 5129212"/>
              <a:gd name="connsiteX101" fmla="*/ 3951373 w 6573406"/>
              <a:gd name="connsiteY101" fmla="*/ 2954789 h 5129212"/>
              <a:gd name="connsiteX102" fmla="*/ 3952071 w 6573406"/>
              <a:gd name="connsiteY102" fmla="*/ 2960822 h 5129212"/>
              <a:gd name="connsiteX103" fmla="*/ 3952769 w 6573406"/>
              <a:gd name="connsiteY103" fmla="*/ 2966854 h 5129212"/>
              <a:gd name="connsiteX104" fmla="*/ 3952769 w 6573406"/>
              <a:gd name="connsiteY104" fmla="*/ 2973203 h 5129212"/>
              <a:gd name="connsiteX105" fmla="*/ 3952769 w 6573406"/>
              <a:gd name="connsiteY105" fmla="*/ 2978918 h 5129212"/>
              <a:gd name="connsiteX106" fmla="*/ 3952071 w 6573406"/>
              <a:gd name="connsiteY106" fmla="*/ 2984950 h 5129212"/>
              <a:gd name="connsiteX107" fmla="*/ 3951373 w 6573406"/>
              <a:gd name="connsiteY107" fmla="*/ 2990982 h 5129212"/>
              <a:gd name="connsiteX108" fmla="*/ 3950675 w 6573406"/>
              <a:gd name="connsiteY108" fmla="*/ 2996697 h 5129212"/>
              <a:gd name="connsiteX109" fmla="*/ 3949279 w 6573406"/>
              <a:gd name="connsiteY109" fmla="*/ 3002411 h 5129212"/>
              <a:gd name="connsiteX110" fmla="*/ 3947534 w 6573406"/>
              <a:gd name="connsiteY110" fmla="*/ 3008444 h 5129212"/>
              <a:gd name="connsiteX111" fmla="*/ 3945789 w 6573406"/>
              <a:gd name="connsiteY111" fmla="*/ 3014158 h 5129212"/>
              <a:gd name="connsiteX112" fmla="*/ 3943695 w 6573406"/>
              <a:gd name="connsiteY112" fmla="*/ 3019873 h 5129212"/>
              <a:gd name="connsiteX113" fmla="*/ 3941252 w 6573406"/>
              <a:gd name="connsiteY113" fmla="*/ 3025270 h 5129212"/>
              <a:gd name="connsiteX114" fmla="*/ 3938460 w 6573406"/>
              <a:gd name="connsiteY114" fmla="*/ 3030667 h 5129212"/>
              <a:gd name="connsiteX115" fmla="*/ 3935668 w 6573406"/>
              <a:gd name="connsiteY115" fmla="*/ 3036064 h 5129212"/>
              <a:gd name="connsiteX116" fmla="*/ 3932178 w 6573406"/>
              <a:gd name="connsiteY116" fmla="*/ 3041462 h 5129212"/>
              <a:gd name="connsiteX117" fmla="*/ 3928688 w 6573406"/>
              <a:gd name="connsiteY117" fmla="*/ 3046224 h 5129212"/>
              <a:gd name="connsiteX118" fmla="*/ 3924849 w 6573406"/>
              <a:gd name="connsiteY118" fmla="*/ 3051621 h 5129212"/>
              <a:gd name="connsiteX119" fmla="*/ 3920661 w 6573406"/>
              <a:gd name="connsiteY119" fmla="*/ 3056066 h 5129212"/>
              <a:gd name="connsiteX120" fmla="*/ 3916473 w 6573406"/>
              <a:gd name="connsiteY120" fmla="*/ 3060828 h 5129212"/>
              <a:gd name="connsiteX121" fmla="*/ 3911587 w 6573406"/>
              <a:gd name="connsiteY121" fmla="*/ 3065273 h 5129212"/>
              <a:gd name="connsiteX122" fmla="*/ 3906701 w 6573406"/>
              <a:gd name="connsiteY122" fmla="*/ 3069400 h 5129212"/>
              <a:gd name="connsiteX123" fmla="*/ 3901815 w 6573406"/>
              <a:gd name="connsiteY123" fmla="*/ 3073210 h 5129212"/>
              <a:gd name="connsiteX124" fmla="*/ 3896929 w 6573406"/>
              <a:gd name="connsiteY124" fmla="*/ 3077019 h 5129212"/>
              <a:gd name="connsiteX125" fmla="*/ 3891694 w 6573406"/>
              <a:gd name="connsiteY125" fmla="*/ 3080194 h 5129212"/>
              <a:gd name="connsiteX126" fmla="*/ 3886110 w 6573406"/>
              <a:gd name="connsiteY126" fmla="*/ 3083051 h 5129212"/>
              <a:gd name="connsiteX127" fmla="*/ 3880177 w 6573406"/>
              <a:gd name="connsiteY127" fmla="*/ 3085909 h 5129212"/>
              <a:gd name="connsiteX128" fmla="*/ 3874593 w 6573406"/>
              <a:gd name="connsiteY128" fmla="*/ 3088131 h 5129212"/>
              <a:gd name="connsiteX129" fmla="*/ 3869009 w 6573406"/>
              <a:gd name="connsiteY129" fmla="*/ 3090354 h 5129212"/>
              <a:gd name="connsiteX130" fmla="*/ 3863425 w 6573406"/>
              <a:gd name="connsiteY130" fmla="*/ 3092258 h 5129212"/>
              <a:gd name="connsiteX131" fmla="*/ 3857492 w 6573406"/>
              <a:gd name="connsiteY131" fmla="*/ 3093846 h 5129212"/>
              <a:gd name="connsiteX132" fmla="*/ 3851559 w 6573406"/>
              <a:gd name="connsiteY132" fmla="*/ 3095116 h 5129212"/>
              <a:gd name="connsiteX133" fmla="*/ 3845626 w 6573406"/>
              <a:gd name="connsiteY133" fmla="*/ 3096068 h 5129212"/>
              <a:gd name="connsiteX134" fmla="*/ 3839693 w 6573406"/>
              <a:gd name="connsiteY134" fmla="*/ 3097021 h 5129212"/>
              <a:gd name="connsiteX135" fmla="*/ 3833760 w 6573406"/>
              <a:gd name="connsiteY135" fmla="*/ 3097338 h 5129212"/>
              <a:gd name="connsiteX136" fmla="*/ 3827827 w 6573406"/>
              <a:gd name="connsiteY136" fmla="*/ 3097338 h 5129212"/>
              <a:gd name="connsiteX137" fmla="*/ 3821894 w 6573406"/>
              <a:gd name="connsiteY137" fmla="*/ 3097338 h 5129212"/>
              <a:gd name="connsiteX138" fmla="*/ 3815961 w 6573406"/>
              <a:gd name="connsiteY138" fmla="*/ 3097021 h 5129212"/>
              <a:gd name="connsiteX139" fmla="*/ 3810028 w 6573406"/>
              <a:gd name="connsiteY139" fmla="*/ 3096068 h 5129212"/>
              <a:gd name="connsiteX140" fmla="*/ 3804095 w 6573406"/>
              <a:gd name="connsiteY140" fmla="*/ 3095116 h 5129212"/>
              <a:gd name="connsiteX141" fmla="*/ 3798162 w 6573406"/>
              <a:gd name="connsiteY141" fmla="*/ 3093846 h 5129212"/>
              <a:gd name="connsiteX142" fmla="*/ 3792578 w 6573406"/>
              <a:gd name="connsiteY142" fmla="*/ 3092258 h 5129212"/>
              <a:gd name="connsiteX143" fmla="*/ 3786645 w 6573406"/>
              <a:gd name="connsiteY143" fmla="*/ 3090354 h 5129212"/>
              <a:gd name="connsiteX144" fmla="*/ 3781061 w 6573406"/>
              <a:gd name="connsiteY144" fmla="*/ 3088131 h 5129212"/>
              <a:gd name="connsiteX145" fmla="*/ 3775477 w 6573406"/>
              <a:gd name="connsiteY145" fmla="*/ 3085909 h 5129212"/>
              <a:gd name="connsiteX146" fmla="*/ 3769893 w 6573406"/>
              <a:gd name="connsiteY146" fmla="*/ 3083051 h 5129212"/>
              <a:gd name="connsiteX147" fmla="*/ 3764658 w 6573406"/>
              <a:gd name="connsiteY147" fmla="*/ 3080194 h 5129212"/>
              <a:gd name="connsiteX148" fmla="*/ 3759423 w 6573406"/>
              <a:gd name="connsiteY148" fmla="*/ 3077019 h 5129212"/>
              <a:gd name="connsiteX149" fmla="*/ 3754188 w 6573406"/>
              <a:gd name="connsiteY149" fmla="*/ 3073210 h 5129212"/>
              <a:gd name="connsiteX150" fmla="*/ 3749302 w 6573406"/>
              <a:gd name="connsiteY150" fmla="*/ 3069400 h 5129212"/>
              <a:gd name="connsiteX151" fmla="*/ 3744416 w 6573406"/>
              <a:gd name="connsiteY151" fmla="*/ 3065273 h 5129212"/>
              <a:gd name="connsiteX152" fmla="*/ 3739879 w 6573406"/>
              <a:gd name="connsiteY152" fmla="*/ 3060828 h 5129212"/>
              <a:gd name="connsiteX153" fmla="*/ 3013960 w 6573406"/>
              <a:gd name="connsiteY153" fmla="*/ 2336338 h 5129212"/>
              <a:gd name="connsiteX154" fmla="*/ 3009423 w 6573406"/>
              <a:gd name="connsiteY154" fmla="*/ 2331576 h 5129212"/>
              <a:gd name="connsiteX155" fmla="*/ 3004537 w 6573406"/>
              <a:gd name="connsiteY155" fmla="*/ 2327448 h 5129212"/>
              <a:gd name="connsiteX156" fmla="*/ 2999651 w 6573406"/>
              <a:gd name="connsiteY156" fmla="*/ 2323639 h 5129212"/>
              <a:gd name="connsiteX157" fmla="*/ 2994416 w 6573406"/>
              <a:gd name="connsiteY157" fmla="*/ 2320146 h 5129212"/>
              <a:gd name="connsiteX158" fmla="*/ 2989181 w 6573406"/>
              <a:gd name="connsiteY158" fmla="*/ 2316971 h 5129212"/>
              <a:gd name="connsiteX159" fmla="*/ 2983946 w 6573406"/>
              <a:gd name="connsiteY159" fmla="*/ 2313797 h 5129212"/>
              <a:gd name="connsiteX160" fmla="*/ 2978362 w 6573406"/>
              <a:gd name="connsiteY160" fmla="*/ 2310939 h 5129212"/>
              <a:gd name="connsiteX161" fmla="*/ 2972778 w 6573406"/>
              <a:gd name="connsiteY161" fmla="*/ 2308717 h 5129212"/>
              <a:gd name="connsiteX162" fmla="*/ 2967194 w 6573406"/>
              <a:gd name="connsiteY162" fmla="*/ 2306495 h 5129212"/>
              <a:gd name="connsiteX163" fmla="*/ 2961261 w 6573406"/>
              <a:gd name="connsiteY163" fmla="*/ 2304907 h 5129212"/>
              <a:gd name="connsiteX164" fmla="*/ 2955677 w 6573406"/>
              <a:gd name="connsiteY164" fmla="*/ 2303002 h 5129212"/>
              <a:gd name="connsiteX165" fmla="*/ 2949744 w 6573406"/>
              <a:gd name="connsiteY165" fmla="*/ 2302050 h 5129212"/>
              <a:gd name="connsiteX166" fmla="*/ 2943811 w 6573406"/>
              <a:gd name="connsiteY166" fmla="*/ 2301097 h 5129212"/>
              <a:gd name="connsiteX167" fmla="*/ 2937878 w 6573406"/>
              <a:gd name="connsiteY167" fmla="*/ 2300145 h 5129212"/>
              <a:gd name="connsiteX168" fmla="*/ 2931945 w 6573406"/>
              <a:gd name="connsiteY168" fmla="*/ 2299828 h 5129212"/>
              <a:gd name="connsiteX169" fmla="*/ 2926012 w 6573406"/>
              <a:gd name="connsiteY169" fmla="*/ 2299510 h 5129212"/>
              <a:gd name="connsiteX170" fmla="*/ 2919730 w 6573406"/>
              <a:gd name="connsiteY170" fmla="*/ 2299828 h 5129212"/>
              <a:gd name="connsiteX171" fmla="*/ 2913797 w 6573406"/>
              <a:gd name="connsiteY171" fmla="*/ 2300145 h 5129212"/>
              <a:gd name="connsiteX172" fmla="*/ 2907864 w 6573406"/>
              <a:gd name="connsiteY172" fmla="*/ 2301097 h 5129212"/>
              <a:gd name="connsiteX173" fmla="*/ 2901931 w 6573406"/>
              <a:gd name="connsiteY173" fmla="*/ 2302050 h 5129212"/>
              <a:gd name="connsiteX174" fmla="*/ 2896347 w 6573406"/>
              <a:gd name="connsiteY174" fmla="*/ 2303002 h 5129212"/>
              <a:gd name="connsiteX175" fmla="*/ 2890414 w 6573406"/>
              <a:gd name="connsiteY175" fmla="*/ 2304907 h 5129212"/>
              <a:gd name="connsiteX176" fmla="*/ 2884830 w 6573406"/>
              <a:gd name="connsiteY176" fmla="*/ 2306495 h 5129212"/>
              <a:gd name="connsiteX177" fmla="*/ 2878897 w 6573406"/>
              <a:gd name="connsiteY177" fmla="*/ 2308717 h 5129212"/>
              <a:gd name="connsiteX178" fmla="*/ 2873313 w 6573406"/>
              <a:gd name="connsiteY178" fmla="*/ 2310939 h 5129212"/>
              <a:gd name="connsiteX179" fmla="*/ 2868078 w 6573406"/>
              <a:gd name="connsiteY179" fmla="*/ 2313797 h 5129212"/>
              <a:gd name="connsiteX180" fmla="*/ 2862494 w 6573406"/>
              <a:gd name="connsiteY180" fmla="*/ 2316971 h 5129212"/>
              <a:gd name="connsiteX181" fmla="*/ 2857259 w 6573406"/>
              <a:gd name="connsiteY181" fmla="*/ 2320146 h 5129212"/>
              <a:gd name="connsiteX182" fmla="*/ 2852373 w 6573406"/>
              <a:gd name="connsiteY182" fmla="*/ 2323639 h 5129212"/>
              <a:gd name="connsiteX183" fmla="*/ 2847138 w 6573406"/>
              <a:gd name="connsiteY183" fmla="*/ 2327448 h 5129212"/>
              <a:gd name="connsiteX184" fmla="*/ 2842601 w 6573406"/>
              <a:gd name="connsiteY184" fmla="*/ 2331576 h 5129212"/>
              <a:gd name="connsiteX185" fmla="*/ 2837715 w 6573406"/>
              <a:gd name="connsiteY185" fmla="*/ 2336338 h 5129212"/>
              <a:gd name="connsiteX186" fmla="*/ 2833527 w 6573406"/>
              <a:gd name="connsiteY186" fmla="*/ 2340783 h 5129212"/>
              <a:gd name="connsiteX187" fmla="*/ 2829339 w 6573406"/>
              <a:gd name="connsiteY187" fmla="*/ 2345545 h 5129212"/>
              <a:gd name="connsiteX188" fmla="*/ 2825500 w 6573406"/>
              <a:gd name="connsiteY188" fmla="*/ 2350624 h 5129212"/>
              <a:gd name="connsiteX189" fmla="*/ 2822010 w 6573406"/>
              <a:gd name="connsiteY189" fmla="*/ 2355704 h 5129212"/>
              <a:gd name="connsiteX190" fmla="*/ 2818520 w 6573406"/>
              <a:gd name="connsiteY190" fmla="*/ 2361101 h 5129212"/>
              <a:gd name="connsiteX191" fmla="*/ 2815728 w 6573406"/>
              <a:gd name="connsiteY191" fmla="*/ 2366181 h 5129212"/>
              <a:gd name="connsiteX192" fmla="*/ 2812936 w 6573406"/>
              <a:gd name="connsiteY192" fmla="*/ 2371896 h 5129212"/>
              <a:gd name="connsiteX193" fmla="*/ 2810493 w 6573406"/>
              <a:gd name="connsiteY193" fmla="*/ 2377293 h 5129212"/>
              <a:gd name="connsiteX194" fmla="*/ 2808399 w 6573406"/>
              <a:gd name="connsiteY194" fmla="*/ 2383007 h 5129212"/>
              <a:gd name="connsiteX195" fmla="*/ 2806305 w 6573406"/>
              <a:gd name="connsiteY195" fmla="*/ 2388405 h 5129212"/>
              <a:gd name="connsiteX196" fmla="*/ 2804909 w 6573406"/>
              <a:gd name="connsiteY196" fmla="*/ 2394437 h 5129212"/>
              <a:gd name="connsiteX197" fmla="*/ 2803513 w 6573406"/>
              <a:gd name="connsiteY197" fmla="*/ 2400469 h 5129212"/>
              <a:gd name="connsiteX198" fmla="*/ 2802466 w 6573406"/>
              <a:gd name="connsiteY198" fmla="*/ 2406501 h 5129212"/>
              <a:gd name="connsiteX199" fmla="*/ 2801768 w 6573406"/>
              <a:gd name="connsiteY199" fmla="*/ 2412216 h 5129212"/>
              <a:gd name="connsiteX200" fmla="*/ 2801419 w 6573406"/>
              <a:gd name="connsiteY200" fmla="*/ 2418248 h 5129212"/>
              <a:gd name="connsiteX201" fmla="*/ 2801419 w 6573406"/>
              <a:gd name="connsiteY201" fmla="*/ 2424280 h 5129212"/>
              <a:gd name="connsiteX202" fmla="*/ 2801419 w 6573406"/>
              <a:gd name="connsiteY202" fmla="*/ 2429994 h 5129212"/>
              <a:gd name="connsiteX203" fmla="*/ 2801768 w 6573406"/>
              <a:gd name="connsiteY203" fmla="*/ 2436027 h 5129212"/>
              <a:gd name="connsiteX204" fmla="*/ 2802466 w 6573406"/>
              <a:gd name="connsiteY204" fmla="*/ 2442059 h 5129212"/>
              <a:gd name="connsiteX205" fmla="*/ 2803513 w 6573406"/>
              <a:gd name="connsiteY205" fmla="*/ 2447773 h 5129212"/>
              <a:gd name="connsiteX206" fmla="*/ 2804909 w 6573406"/>
              <a:gd name="connsiteY206" fmla="*/ 2453805 h 5129212"/>
              <a:gd name="connsiteX207" fmla="*/ 2806305 w 6573406"/>
              <a:gd name="connsiteY207" fmla="*/ 2459838 h 5129212"/>
              <a:gd name="connsiteX208" fmla="*/ 2808399 w 6573406"/>
              <a:gd name="connsiteY208" fmla="*/ 2465235 h 5129212"/>
              <a:gd name="connsiteX209" fmla="*/ 2810493 w 6573406"/>
              <a:gd name="connsiteY209" fmla="*/ 2470949 h 5129212"/>
              <a:gd name="connsiteX210" fmla="*/ 2812936 w 6573406"/>
              <a:gd name="connsiteY210" fmla="*/ 2476347 h 5129212"/>
              <a:gd name="connsiteX211" fmla="*/ 2815728 w 6573406"/>
              <a:gd name="connsiteY211" fmla="*/ 2482061 h 5129212"/>
              <a:gd name="connsiteX212" fmla="*/ 2818520 w 6573406"/>
              <a:gd name="connsiteY212" fmla="*/ 2487458 h 5129212"/>
              <a:gd name="connsiteX213" fmla="*/ 2822010 w 6573406"/>
              <a:gd name="connsiteY213" fmla="*/ 2492538 h 5129212"/>
              <a:gd name="connsiteX214" fmla="*/ 2825500 w 6573406"/>
              <a:gd name="connsiteY214" fmla="*/ 2497935 h 5129212"/>
              <a:gd name="connsiteX215" fmla="*/ 2829339 w 6573406"/>
              <a:gd name="connsiteY215" fmla="*/ 2502697 h 5129212"/>
              <a:gd name="connsiteX216" fmla="*/ 2833527 w 6573406"/>
              <a:gd name="connsiteY216" fmla="*/ 2507460 h 5129212"/>
              <a:gd name="connsiteX217" fmla="*/ 2837715 w 6573406"/>
              <a:gd name="connsiteY217" fmla="*/ 2512222 h 5129212"/>
              <a:gd name="connsiteX218" fmla="*/ 4276989 w 6573406"/>
              <a:gd name="connsiteY218" fmla="*/ 3949455 h 5129212"/>
              <a:gd name="connsiteX219" fmla="*/ 4281177 w 6573406"/>
              <a:gd name="connsiteY219" fmla="*/ 3953900 h 5129212"/>
              <a:gd name="connsiteX220" fmla="*/ 4285365 w 6573406"/>
              <a:gd name="connsiteY220" fmla="*/ 3958980 h 5129212"/>
              <a:gd name="connsiteX221" fmla="*/ 4289204 w 6573406"/>
              <a:gd name="connsiteY221" fmla="*/ 3963742 h 5129212"/>
              <a:gd name="connsiteX222" fmla="*/ 4292694 w 6573406"/>
              <a:gd name="connsiteY222" fmla="*/ 3968822 h 5129212"/>
              <a:gd name="connsiteX223" fmla="*/ 4296184 w 6573406"/>
              <a:gd name="connsiteY223" fmla="*/ 3974219 h 5129212"/>
              <a:gd name="connsiteX224" fmla="*/ 4298976 w 6573406"/>
              <a:gd name="connsiteY224" fmla="*/ 3979298 h 5129212"/>
              <a:gd name="connsiteX225" fmla="*/ 4301768 w 6573406"/>
              <a:gd name="connsiteY225" fmla="*/ 3985013 h 5129212"/>
              <a:gd name="connsiteX226" fmla="*/ 4304211 w 6573406"/>
              <a:gd name="connsiteY226" fmla="*/ 3990728 h 5129212"/>
              <a:gd name="connsiteX227" fmla="*/ 4306305 w 6573406"/>
              <a:gd name="connsiteY227" fmla="*/ 3996125 h 5129212"/>
              <a:gd name="connsiteX228" fmla="*/ 4308050 w 6573406"/>
              <a:gd name="connsiteY228" fmla="*/ 4001840 h 5129212"/>
              <a:gd name="connsiteX229" fmla="*/ 4309795 w 6573406"/>
              <a:gd name="connsiteY229" fmla="*/ 4007554 h 5129212"/>
              <a:gd name="connsiteX230" fmla="*/ 4311191 w 6573406"/>
              <a:gd name="connsiteY230" fmla="*/ 4013586 h 5129212"/>
              <a:gd name="connsiteX231" fmla="*/ 4311889 w 6573406"/>
              <a:gd name="connsiteY231" fmla="*/ 4019618 h 5129212"/>
              <a:gd name="connsiteX232" fmla="*/ 4312587 w 6573406"/>
              <a:gd name="connsiteY232" fmla="*/ 4025333 h 5129212"/>
              <a:gd name="connsiteX233" fmla="*/ 4313285 w 6573406"/>
              <a:gd name="connsiteY233" fmla="*/ 4031365 h 5129212"/>
              <a:gd name="connsiteX234" fmla="*/ 4313285 w 6573406"/>
              <a:gd name="connsiteY234" fmla="*/ 4037397 h 5129212"/>
              <a:gd name="connsiteX235" fmla="*/ 4313285 w 6573406"/>
              <a:gd name="connsiteY235" fmla="*/ 4043429 h 5129212"/>
              <a:gd name="connsiteX236" fmla="*/ 4312587 w 6573406"/>
              <a:gd name="connsiteY236" fmla="*/ 4049144 h 5129212"/>
              <a:gd name="connsiteX237" fmla="*/ 4311889 w 6573406"/>
              <a:gd name="connsiteY237" fmla="*/ 4055176 h 5129212"/>
              <a:gd name="connsiteX238" fmla="*/ 4311191 w 6573406"/>
              <a:gd name="connsiteY238" fmla="*/ 4061208 h 5129212"/>
              <a:gd name="connsiteX239" fmla="*/ 4309795 w 6573406"/>
              <a:gd name="connsiteY239" fmla="*/ 4066923 h 5129212"/>
              <a:gd name="connsiteX240" fmla="*/ 4308050 w 6573406"/>
              <a:gd name="connsiteY240" fmla="*/ 4072955 h 5129212"/>
              <a:gd name="connsiteX241" fmla="*/ 4306305 w 6573406"/>
              <a:gd name="connsiteY241" fmla="*/ 4078670 h 5129212"/>
              <a:gd name="connsiteX242" fmla="*/ 4304211 w 6573406"/>
              <a:gd name="connsiteY242" fmla="*/ 4084067 h 5129212"/>
              <a:gd name="connsiteX243" fmla="*/ 4301768 w 6573406"/>
              <a:gd name="connsiteY243" fmla="*/ 4089782 h 5129212"/>
              <a:gd name="connsiteX244" fmla="*/ 4298976 w 6573406"/>
              <a:gd name="connsiteY244" fmla="*/ 4095179 h 5129212"/>
              <a:gd name="connsiteX245" fmla="*/ 4296184 w 6573406"/>
              <a:gd name="connsiteY245" fmla="*/ 4100576 h 5129212"/>
              <a:gd name="connsiteX246" fmla="*/ 4292694 w 6573406"/>
              <a:gd name="connsiteY246" fmla="*/ 4105656 h 5129212"/>
              <a:gd name="connsiteX247" fmla="*/ 4289204 w 6573406"/>
              <a:gd name="connsiteY247" fmla="*/ 4111053 h 5129212"/>
              <a:gd name="connsiteX248" fmla="*/ 4285365 w 6573406"/>
              <a:gd name="connsiteY248" fmla="*/ 4115815 h 5129212"/>
              <a:gd name="connsiteX249" fmla="*/ 4281177 w 6573406"/>
              <a:gd name="connsiteY249" fmla="*/ 4120895 h 5129212"/>
              <a:gd name="connsiteX250" fmla="*/ 4276989 w 6573406"/>
              <a:gd name="connsiteY250" fmla="*/ 4125339 h 5129212"/>
              <a:gd name="connsiteX251" fmla="*/ 4272801 w 6573406"/>
              <a:gd name="connsiteY251" fmla="*/ 4129149 h 5129212"/>
              <a:gd name="connsiteX252" fmla="*/ 4268613 w 6573406"/>
              <a:gd name="connsiteY252" fmla="*/ 4132959 h 5129212"/>
              <a:gd name="connsiteX253" fmla="*/ 4264425 w 6573406"/>
              <a:gd name="connsiteY253" fmla="*/ 4136134 h 5129212"/>
              <a:gd name="connsiteX254" fmla="*/ 4259888 w 6573406"/>
              <a:gd name="connsiteY254" fmla="*/ 4139626 h 5129212"/>
              <a:gd name="connsiteX255" fmla="*/ 4255700 w 6573406"/>
              <a:gd name="connsiteY255" fmla="*/ 4142483 h 5129212"/>
              <a:gd name="connsiteX256" fmla="*/ 4250814 w 6573406"/>
              <a:gd name="connsiteY256" fmla="*/ 4145023 h 5129212"/>
              <a:gd name="connsiteX257" fmla="*/ 4246277 w 6573406"/>
              <a:gd name="connsiteY257" fmla="*/ 4147880 h 5129212"/>
              <a:gd name="connsiteX258" fmla="*/ 4241391 w 6573406"/>
              <a:gd name="connsiteY258" fmla="*/ 4150103 h 5129212"/>
              <a:gd name="connsiteX259" fmla="*/ 4236854 w 6573406"/>
              <a:gd name="connsiteY259" fmla="*/ 4152008 h 5129212"/>
              <a:gd name="connsiteX260" fmla="*/ 4231619 w 6573406"/>
              <a:gd name="connsiteY260" fmla="*/ 4154230 h 5129212"/>
              <a:gd name="connsiteX261" fmla="*/ 4226733 w 6573406"/>
              <a:gd name="connsiteY261" fmla="*/ 4156135 h 5129212"/>
              <a:gd name="connsiteX262" fmla="*/ 4221847 w 6573406"/>
              <a:gd name="connsiteY262" fmla="*/ 4157405 h 5129212"/>
              <a:gd name="connsiteX263" fmla="*/ 4216612 w 6573406"/>
              <a:gd name="connsiteY263" fmla="*/ 4158675 h 5129212"/>
              <a:gd name="connsiteX264" fmla="*/ 4211726 w 6573406"/>
              <a:gd name="connsiteY264" fmla="*/ 4159945 h 5129212"/>
              <a:gd name="connsiteX265" fmla="*/ 4206491 w 6573406"/>
              <a:gd name="connsiteY265" fmla="*/ 4160580 h 5129212"/>
              <a:gd name="connsiteX266" fmla="*/ 4201256 w 6573406"/>
              <a:gd name="connsiteY266" fmla="*/ 4161215 h 5129212"/>
              <a:gd name="connsiteX267" fmla="*/ 4196022 w 6573406"/>
              <a:gd name="connsiteY267" fmla="*/ 4161532 h 5129212"/>
              <a:gd name="connsiteX268" fmla="*/ 4191135 w 6573406"/>
              <a:gd name="connsiteY268" fmla="*/ 4161532 h 5129212"/>
              <a:gd name="connsiteX269" fmla="*/ 4185900 w 6573406"/>
              <a:gd name="connsiteY269" fmla="*/ 4161532 h 5129212"/>
              <a:gd name="connsiteX270" fmla="*/ 4180665 w 6573406"/>
              <a:gd name="connsiteY270" fmla="*/ 4161532 h 5129212"/>
              <a:gd name="connsiteX271" fmla="*/ 4175430 w 6573406"/>
              <a:gd name="connsiteY271" fmla="*/ 4160897 h 5129212"/>
              <a:gd name="connsiteX272" fmla="*/ 4170195 w 6573406"/>
              <a:gd name="connsiteY272" fmla="*/ 4160580 h 5129212"/>
              <a:gd name="connsiteX273" fmla="*/ 4165309 w 6573406"/>
              <a:gd name="connsiteY273" fmla="*/ 4159627 h 5129212"/>
              <a:gd name="connsiteX274" fmla="*/ 4159725 w 6573406"/>
              <a:gd name="connsiteY274" fmla="*/ 4158357 h 5129212"/>
              <a:gd name="connsiteX275" fmla="*/ 4154490 w 6573406"/>
              <a:gd name="connsiteY275" fmla="*/ 4157087 h 5129212"/>
              <a:gd name="connsiteX276" fmla="*/ 4149604 w 6573406"/>
              <a:gd name="connsiteY276" fmla="*/ 4155500 h 5129212"/>
              <a:gd name="connsiteX277" fmla="*/ 4144718 w 6573406"/>
              <a:gd name="connsiteY277" fmla="*/ 4153913 h 5129212"/>
              <a:gd name="connsiteX278" fmla="*/ 4139832 w 6573406"/>
              <a:gd name="connsiteY278" fmla="*/ 4151690 h 5129212"/>
              <a:gd name="connsiteX279" fmla="*/ 4134946 w 6573406"/>
              <a:gd name="connsiteY279" fmla="*/ 4149785 h 5129212"/>
              <a:gd name="connsiteX280" fmla="*/ 4130409 w 6573406"/>
              <a:gd name="connsiteY280" fmla="*/ 4147246 h 5129212"/>
              <a:gd name="connsiteX281" fmla="*/ 4125523 w 6573406"/>
              <a:gd name="connsiteY281" fmla="*/ 4144706 h 5129212"/>
              <a:gd name="connsiteX282" fmla="*/ 4120986 w 6573406"/>
              <a:gd name="connsiteY282" fmla="*/ 4142166 h 5129212"/>
              <a:gd name="connsiteX283" fmla="*/ 0 w 6573406"/>
              <a:gd name="connsiteY283" fmla="*/ 0 h 5129212"/>
              <a:gd name="connsiteX0" fmla="*/ 0 w 6573406"/>
              <a:gd name="connsiteY0" fmla="*/ 0 h 5129212"/>
              <a:gd name="connsiteX1" fmla="*/ 0 w 6573406"/>
              <a:gd name="connsiteY1" fmla="*/ 409574 h 5129212"/>
              <a:gd name="connsiteX2" fmla="*/ 0 w 6573406"/>
              <a:gd name="connsiteY2" fmla="*/ 467649 h 5129212"/>
              <a:gd name="connsiteX3" fmla="*/ 0 w 6573406"/>
              <a:gd name="connsiteY3" fmla="*/ 5129212 h 5129212"/>
              <a:gd name="connsiteX4" fmla="*/ 6573406 w 6573406"/>
              <a:gd name="connsiteY4" fmla="*/ 5129212 h 5129212"/>
              <a:gd name="connsiteX5" fmla="*/ 3968474 w 6573406"/>
              <a:gd name="connsiteY5" fmla="*/ 2531906 h 5129212"/>
              <a:gd name="connsiteX6" fmla="*/ 3962541 w 6573406"/>
              <a:gd name="connsiteY6" fmla="*/ 2531906 h 5129212"/>
              <a:gd name="connsiteX7" fmla="*/ 3956259 w 6573406"/>
              <a:gd name="connsiteY7" fmla="*/ 2531588 h 5129212"/>
              <a:gd name="connsiteX8" fmla="*/ 3950326 w 6573406"/>
              <a:gd name="connsiteY8" fmla="*/ 2530953 h 5129212"/>
              <a:gd name="connsiteX9" fmla="*/ 3944393 w 6573406"/>
              <a:gd name="connsiteY9" fmla="*/ 2530001 h 5129212"/>
              <a:gd name="connsiteX10" fmla="*/ 3938460 w 6573406"/>
              <a:gd name="connsiteY10" fmla="*/ 2528731 h 5129212"/>
              <a:gd name="connsiteX11" fmla="*/ 3932527 w 6573406"/>
              <a:gd name="connsiteY11" fmla="*/ 2527143 h 5129212"/>
              <a:gd name="connsiteX12" fmla="*/ 3926943 w 6573406"/>
              <a:gd name="connsiteY12" fmla="*/ 2525239 h 5129212"/>
              <a:gd name="connsiteX13" fmla="*/ 3921010 w 6573406"/>
              <a:gd name="connsiteY13" fmla="*/ 2523334 h 5129212"/>
              <a:gd name="connsiteX14" fmla="*/ 3915426 w 6573406"/>
              <a:gd name="connsiteY14" fmla="*/ 2520794 h 5129212"/>
              <a:gd name="connsiteX15" fmla="*/ 3909842 w 6573406"/>
              <a:gd name="connsiteY15" fmla="*/ 2517937 h 5129212"/>
              <a:gd name="connsiteX16" fmla="*/ 3904258 w 6573406"/>
              <a:gd name="connsiteY16" fmla="*/ 2515079 h 5129212"/>
              <a:gd name="connsiteX17" fmla="*/ 3899023 w 6573406"/>
              <a:gd name="connsiteY17" fmla="*/ 2511587 h 5129212"/>
              <a:gd name="connsiteX18" fmla="*/ 3893788 w 6573406"/>
              <a:gd name="connsiteY18" fmla="*/ 2508095 h 5129212"/>
              <a:gd name="connsiteX19" fmla="*/ 3888902 w 6573406"/>
              <a:gd name="connsiteY19" fmla="*/ 2504285 h 5129212"/>
              <a:gd name="connsiteX20" fmla="*/ 3884016 w 6573406"/>
              <a:gd name="connsiteY20" fmla="*/ 2500158 h 5129212"/>
              <a:gd name="connsiteX21" fmla="*/ 3879130 w 6573406"/>
              <a:gd name="connsiteY21" fmla="*/ 2495713 h 5129212"/>
              <a:gd name="connsiteX22" fmla="*/ 3266286 w 6573406"/>
              <a:gd name="connsiteY22" fmla="*/ 1883611 h 5129212"/>
              <a:gd name="connsiteX23" fmla="*/ 3261400 w 6573406"/>
              <a:gd name="connsiteY23" fmla="*/ 1879484 h 5129212"/>
              <a:gd name="connsiteX24" fmla="*/ 3256864 w 6573406"/>
              <a:gd name="connsiteY24" fmla="*/ 1875356 h 5129212"/>
              <a:gd name="connsiteX25" fmla="*/ 3251628 w 6573406"/>
              <a:gd name="connsiteY25" fmla="*/ 1871547 h 5129212"/>
              <a:gd name="connsiteX26" fmla="*/ 3246742 w 6573406"/>
              <a:gd name="connsiteY26" fmla="*/ 1868054 h 5129212"/>
              <a:gd name="connsiteX27" fmla="*/ 3241508 w 6573406"/>
              <a:gd name="connsiteY27" fmla="*/ 1864562 h 5129212"/>
              <a:gd name="connsiteX28" fmla="*/ 3235924 w 6573406"/>
              <a:gd name="connsiteY28" fmla="*/ 1861705 h 5129212"/>
              <a:gd name="connsiteX29" fmla="*/ 3230688 w 6573406"/>
              <a:gd name="connsiteY29" fmla="*/ 1858847 h 5129212"/>
              <a:gd name="connsiteX30" fmla="*/ 3225104 w 6573406"/>
              <a:gd name="connsiteY30" fmla="*/ 1856308 h 5129212"/>
              <a:gd name="connsiteX31" fmla="*/ 3219172 w 6573406"/>
              <a:gd name="connsiteY31" fmla="*/ 1854403 h 5129212"/>
              <a:gd name="connsiteX32" fmla="*/ 3213588 w 6573406"/>
              <a:gd name="connsiteY32" fmla="*/ 1852180 h 5129212"/>
              <a:gd name="connsiteX33" fmla="*/ 3207654 w 6573406"/>
              <a:gd name="connsiteY33" fmla="*/ 1850910 h 5129212"/>
              <a:gd name="connsiteX34" fmla="*/ 3202070 w 6573406"/>
              <a:gd name="connsiteY34" fmla="*/ 1849323 h 5129212"/>
              <a:gd name="connsiteX35" fmla="*/ 3196138 w 6573406"/>
              <a:gd name="connsiteY35" fmla="*/ 1848371 h 5129212"/>
              <a:gd name="connsiteX36" fmla="*/ 3190205 w 6573406"/>
              <a:gd name="connsiteY36" fmla="*/ 1847736 h 5129212"/>
              <a:gd name="connsiteX37" fmla="*/ 3184272 w 6573406"/>
              <a:gd name="connsiteY37" fmla="*/ 1847418 h 5129212"/>
              <a:gd name="connsiteX38" fmla="*/ 3177990 w 6573406"/>
              <a:gd name="connsiteY38" fmla="*/ 1847418 h 5129212"/>
              <a:gd name="connsiteX39" fmla="*/ 3172057 w 6573406"/>
              <a:gd name="connsiteY39" fmla="*/ 1847418 h 5129212"/>
              <a:gd name="connsiteX40" fmla="*/ 3166124 w 6573406"/>
              <a:gd name="connsiteY40" fmla="*/ 1847736 h 5129212"/>
              <a:gd name="connsiteX41" fmla="*/ 3160191 w 6573406"/>
              <a:gd name="connsiteY41" fmla="*/ 1848371 h 5129212"/>
              <a:gd name="connsiteX42" fmla="*/ 3154258 w 6573406"/>
              <a:gd name="connsiteY42" fmla="*/ 1849323 h 5129212"/>
              <a:gd name="connsiteX43" fmla="*/ 3148325 w 6573406"/>
              <a:gd name="connsiteY43" fmla="*/ 1850910 h 5129212"/>
              <a:gd name="connsiteX44" fmla="*/ 3142741 w 6573406"/>
              <a:gd name="connsiteY44" fmla="*/ 1852180 h 5129212"/>
              <a:gd name="connsiteX45" fmla="*/ 3136808 w 6573406"/>
              <a:gd name="connsiteY45" fmla="*/ 1854403 h 5129212"/>
              <a:gd name="connsiteX46" fmla="*/ 3131224 w 6573406"/>
              <a:gd name="connsiteY46" fmla="*/ 1856308 h 5129212"/>
              <a:gd name="connsiteX47" fmla="*/ 3125640 w 6573406"/>
              <a:gd name="connsiteY47" fmla="*/ 1858847 h 5129212"/>
              <a:gd name="connsiteX48" fmla="*/ 3120405 w 6573406"/>
              <a:gd name="connsiteY48" fmla="*/ 1861705 h 5129212"/>
              <a:gd name="connsiteX49" fmla="*/ 3114821 w 6573406"/>
              <a:gd name="connsiteY49" fmla="*/ 1864562 h 5129212"/>
              <a:gd name="connsiteX50" fmla="*/ 3109586 w 6573406"/>
              <a:gd name="connsiteY50" fmla="*/ 1868054 h 5129212"/>
              <a:gd name="connsiteX51" fmla="*/ 3104351 w 6573406"/>
              <a:gd name="connsiteY51" fmla="*/ 1871547 h 5129212"/>
              <a:gd name="connsiteX52" fmla="*/ 3099465 w 6573406"/>
              <a:gd name="connsiteY52" fmla="*/ 1875356 h 5129212"/>
              <a:gd name="connsiteX53" fmla="*/ 3094579 w 6573406"/>
              <a:gd name="connsiteY53" fmla="*/ 1879484 h 5129212"/>
              <a:gd name="connsiteX54" fmla="*/ 3090042 w 6573406"/>
              <a:gd name="connsiteY54" fmla="*/ 1883611 h 5129212"/>
              <a:gd name="connsiteX55" fmla="*/ 3085505 w 6573406"/>
              <a:gd name="connsiteY55" fmla="*/ 1888373 h 5129212"/>
              <a:gd name="connsiteX56" fmla="*/ 3081666 w 6573406"/>
              <a:gd name="connsiteY56" fmla="*/ 1893135 h 5129212"/>
              <a:gd name="connsiteX57" fmla="*/ 3077827 w 6573406"/>
              <a:gd name="connsiteY57" fmla="*/ 1898215 h 5129212"/>
              <a:gd name="connsiteX58" fmla="*/ 3073988 w 6573406"/>
              <a:gd name="connsiteY58" fmla="*/ 1903295 h 5129212"/>
              <a:gd name="connsiteX59" fmla="*/ 3070847 w 6573406"/>
              <a:gd name="connsiteY59" fmla="*/ 1908374 h 5129212"/>
              <a:gd name="connsiteX60" fmla="*/ 3067706 w 6573406"/>
              <a:gd name="connsiteY60" fmla="*/ 1914089 h 5129212"/>
              <a:gd name="connsiteX61" fmla="*/ 3065263 w 6573406"/>
              <a:gd name="connsiteY61" fmla="*/ 1919169 h 5129212"/>
              <a:gd name="connsiteX62" fmla="*/ 3062820 w 6573406"/>
              <a:gd name="connsiteY62" fmla="*/ 1924883 h 5129212"/>
              <a:gd name="connsiteX63" fmla="*/ 3060726 w 6573406"/>
              <a:gd name="connsiteY63" fmla="*/ 1930281 h 5129212"/>
              <a:gd name="connsiteX64" fmla="*/ 3058632 w 6573406"/>
              <a:gd name="connsiteY64" fmla="*/ 1936313 h 5129212"/>
              <a:gd name="connsiteX65" fmla="*/ 3057236 w 6573406"/>
              <a:gd name="connsiteY65" fmla="*/ 1942345 h 5129212"/>
              <a:gd name="connsiteX66" fmla="*/ 3055840 w 6573406"/>
              <a:gd name="connsiteY66" fmla="*/ 1947742 h 5129212"/>
              <a:gd name="connsiteX67" fmla="*/ 3054793 w 6573406"/>
              <a:gd name="connsiteY67" fmla="*/ 1953774 h 5129212"/>
              <a:gd name="connsiteX68" fmla="*/ 3054095 w 6573406"/>
              <a:gd name="connsiteY68" fmla="*/ 1959806 h 5129212"/>
              <a:gd name="connsiteX69" fmla="*/ 3053746 w 6573406"/>
              <a:gd name="connsiteY69" fmla="*/ 1965521 h 5129212"/>
              <a:gd name="connsiteX70" fmla="*/ 3053746 w 6573406"/>
              <a:gd name="connsiteY70" fmla="*/ 1971870 h 5129212"/>
              <a:gd name="connsiteX71" fmla="*/ 3053746 w 6573406"/>
              <a:gd name="connsiteY71" fmla="*/ 1977903 h 5129212"/>
              <a:gd name="connsiteX72" fmla="*/ 3054095 w 6573406"/>
              <a:gd name="connsiteY72" fmla="*/ 1983617 h 5129212"/>
              <a:gd name="connsiteX73" fmla="*/ 3054793 w 6573406"/>
              <a:gd name="connsiteY73" fmla="*/ 1989649 h 5129212"/>
              <a:gd name="connsiteX74" fmla="*/ 3055840 w 6573406"/>
              <a:gd name="connsiteY74" fmla="*/ 1995681 h 5129212"/>
              <a:gd name="connsiteX75" fmla="*/ 3057236 w 6573406"/>
              <a:gd name="connsiteY75" fmla="*/ 2001079 h 5129212"/>
              <a:gd name="connsiteX76" fmla="*/ 3058632 w 6573406"/>
              <a:gd name="connsiteY76" fmla="*/ 2007111 h 5129212"/>
              <a:gd name="connsiteX77" fmla="*/ 3060726 w 6573406"/>
              <a:gd name="connsiteY77" fmla="*/ 2013143 h 5129212"/>
              <a:gd name="connsiteX78" fmla="*/ 3062820 w 6573406"/>
              <a:gd name="connsiteY78" fmla="*/ 2018540 h 5129212"/>
              <a:gd name="connsiteX79" fmla="*/ 3065263 w 6573406"/>
              <a:gd name="connsiteY79" fmla="*/ 2024255 h 5129212"/>
              <a:gd name="connsiteX80" fmla="*/ 3067706 w 6573406"/>
              <a:gd name="connsiteY80" fmla="*/ 2029334 h 5129212"/>
              <a:gd name="connsiteX81" fmla="*/ 3070847 w 6573406"/>
              <a:gd name="connsiteY81" fmla="*/ 2035049 h 5129212"/>
              <a:gd name="connsiteX82" fmla="*/ 3073988 w 6573406"/>
              <a:gd name="connsiteY82" fmla="*/ 2040446 h 5129212"/>
              <a:gd name="connsiteX83" fmla="*/ 3077827 w 6573406"/>
              <a:gd name="connsiteY83" fmla="*/ 2045208 h 5129212"/>
              <a:gd name="connsiteX84" fmla="*/ 3081666 w 6573406"/>
              <a:gd name="connsiteY84" fmla="*/ 2050288 h 5129212"/>
              <a:gd name="connsiteX85" fmla="*/ 3085505 w 6573406"/>
              <a:gd name="connsiteY85" fmla="*/ 2055368 h 5129212"/>
              <a:gd name="connsiteX86" fmla="*/ 3090042 w 6573406"/>
              <a:gd name="connsiteY86" fmla="*/ 2059812 h 5129212"/>
              <a:gd name="connsiteX87" fmla="*/ 3916473 w 6573406"/>
              <a:gd name="connsiteY87" fmla="*/ 2884626 h 5129212"/>
              <a:gd name="connsiteX88" fmla="*/ 3920661 w 6573406"/>
              <a:gd name="connsiteY88" fmla="*/ 2889706 h 5129212"/>
              <a:gd name="connsiteX89" fmla="*/ 3924849 w 6573406"/>
              <a:gd name="connsiteY89" fmla="*/ 2894151 h 5129212"/>
              <a:gd name="connsiteX90" fmla="*/ 3928688 w 6573406"/>
              <a:gd name="connsiteY90" fmla="*/ 2899548 h 5129212"/>
              <a:gd name="connsiteX91" fmla="*/ 3932178 w 6573406"/>
              <a:gd name="connsiteY91" fmla="*/ 2904310 h 5129212"/>
              <a:gd name="connsiteX92" fmla="*/ 3935668 w 6573406"/>
              <a:gd name="connsiteY92" fmla="*/ 2909390 h 5129212"/>
              <a:gd name="connsiteX93" fmla="*/ 3938460 w 6573406"/>
              <a:gd name="connsiteY93" fmla="*/ 2915104 h 5129212"/>
              <a:gd name="connsiteX94" fmla="*/ 3941252 w 6573406"/>
              <a:gd name="connsiteY94" fmla="*/ 2920502 h 5129212"/>
              <a:gd name="connsiteX95" fmla="*/ 3943695 w 6573406"/>
              <a:gd name="connsiteY95" fmla="*/ 2925899 h 5129212"/>
              <a:gd name="connsiteX96" fmla="*/ 3945789 w 6573406"/>
              <a:gd name="connsiteY96" fmla="*/ 2931613 h 5129212"/>
              <a:gd name="connsiteX97" fmla="*/ 3947534 w 6573406"/>
              <a:gd name="connsiteY97" fmla="*/ 2937328 h 5129212"/>
              <a:gd name="connsiteX98" fmla="*/ 3949279 w 6573406"/>
              <a:gd name="connsiteY98" fmla="*/ 2943360 h 5129212"/>
              <a:gd name="connsiteX99" fmla="*/ 3950675 w 6573406"/>
              <a:gd name="connsiteY99" fmla="*/ 2949075 h 5129212"/>
              <a:gd name="connsiteX100" fmla="*/ 3951373 w 6573406"/>
              <a:gd name="connsiteY100" fmla="*/ 2954789 h 5129212"/>
              <a:gd name="connsiteX101" fmla="*/ 3952071 w 6573406"/>
              <a:gd name="connsiteY101" fmla="*/ 2960822 h 5129212"/>
              <a:gd name="connsiteX102" fmla="*/ 3952769 w 6573406"/>
              <a:gd name="connsiteY102" fmla="*/ 2966854 h 5129212"/>
              <a:gd name="connsiteX103" fmla="*/ 3952769 w 6573406"/>
              <a:gd name="connsiteY103" fmla="*/ 2973203 h 5129212"/>
              <a:gd name="connsiteX104" fmla="*/ 3952769 w 6573406"/>
              <a:gd name="connsiteY104" fmla="*/ 2978918 h 5129212"/>
              <a:gd name="connsiteX105" fmla="*/ 3952071 w 6573406"/>
              <a:gd name="connsiteY105" fmla="*/ 2984950 h 5129212"/>
              <a:gd name="connsiteX106" fmla="*/ 3951373 w 6573406"/>
              <a:gd name="connsiteY106" fmla="*/ 2990982 h 5129212"/>
              <a:gd name="connsiteX107" fmla="*/ 3950675 w 6573406"/>
              <a:gd name="connsiteY107" fmla="*/ 2996697 h 5129212"/>
              <a:gd name="connsiteX108" fmla="*/ 3949279 w 6573406"/>
              <a:gd name="connsiteY108" fmla="*/ 3002411 h 5129212"/>
              <a:gd name="connsiteX109" fmla="*/ 3947534 w 6573406"/>
              <a:gd name="connsiteY109" fmla="*/ 3008444 h 5129212"/>
              <a:gd name="connsiteX110" fmla="*/ 3945789 w 6573406"/>
              <a:gd name="connsiteY110" fmla="*/ 3014158 h 5129212"/>
              <a:gd name="connsiteX111" fmla="*/ 3943695 w 6573406"/>
              <a:gd name="connsiteY111" fmla="*/ 3019873 h 5129212"/>
              <a:gd name="connsiteX112" fmla="*/ 3941252 w 6573406"/>
              <a:gd name="connsiteY112" fmla="*/ 3025270 h 5129212"/>
              <a:gd name="connsiteX113" fmla="*/ 3938460 w 6573406"/>
              <a:gd name="connsiteY113" fmla="*/ 3030667 h 5129212"/>
              <a:gd name="connsiteX114" fmla="*/ 3935668 w 6573406"/>
              <a:gd name="connsiteY114" fmla="*/ 3036064 h 5129212"/>
              <a:gd name="connsiteX115" fmla="*/ 3932178 w 6573406"/>
              <a:gd name="connsiteY115" fmla="*/ 3041462 h 5129212"/>
              <a:gd name="connsiteX116" fmla="*/ 3928688 w 6573406"/>
              <a:gd name="connsiteY116" fmla="*/ 3046224 h 5129212"/>
              <a:gd name="connsiteX117" fmla="*/ 3924849 w 6573406"/>
              <a:gd name="connsiteY117" fmla="*/ 3051621 h 5129212"/>
              <a:gd name="connsiteX118" fmla="*/ 3920661 w 6573406"/>
              <a:gd name="connsiteY118" fmla="*/ 3056066 h 5129212"/>
              <a:gd name="connsiteX119" fmla="*/ 3916473 w 6573406"/>
              <a:gd name="connsiteY119" fmla="*/ 3060828 h 5129212"/>
              <a:gd name="connsiteX120" fmla="*/ 3911587 w 6573406"/>
              <a:gd name="connsiteY120" fmla="*/ 3065273 h 5129212"/>
              <a:gd name="connsiteX121" fmla="*/ 3906701 w 6573406"/>
              <a:gd name="connsiteY121" fmla="*/ 3069400 h 5129212"/>
              <a:gd name="connsiteX122" fmla="*/ 3901815 w 6573406"/>
              <a:gd name="connsiteY122" fmla="*/ 3073210 h 5129212"/>
              <a:gd name="connsiteX123" fmla="*/ 3896929 w 6573406"/>
              <a:gd name="connsiteY123" fmla="*/ 3077019 h 5129212"/>
              <a:gd name="connsiteX124" fmla="*/ 3891694 w 6573406"/>
              <a:gd name="connsiteY124" fmla="*/ 3080194 h 5129212"/>
              <a:gd name="connsiteX125" fmla="*/ 3886110 w 6573406"/>
              <a:gd name="connsiteY125" fmla="*/ 3083051 h 5129212"/>
              <a:gd name="connsiteX126" fmla="*/ 3880177 w 6573406"/>
              <a:gd name="connsiteY126" fmla="*/ 3085909 h 5129212"/>
              <a:gd name="connsiteX127" fmla="*/ 3874593 w 6573406"/>
              <a:gd name="connsiteY127" fmla="*/ 3088131 h 5129212"/>
              <a:gd name="connsiteX128" fmla="*/ 3869009 w 6573406"/>
              <a:gd name="connsiteY128" fmla="*/ 3090354 h 5129212"/>
              <a:gd name="connsiteX129" fmla="*/ 3863425 w 6573406"/>
              <a:gd name="connsiteY129" fmla="*/ 3092258 h 5129212"/>
              <a:gd name="connsiteX130" fmla="*/ 3857492 w 6573406"/>
              <a:gd name="connsiteY130" fmla="*/ 3093846 h 5129212"/>
              <a:gd name="connsiteX131" fmla="*/ 3851559 w 6573406"/>
              <a:gd name="connsiteY131" fmla="*/ 3095116 h 5129212"/>
              <a:gd name="connsiteX132" fmla="*/ 3845626 w 6573406"/>
              <a:gd name="connsiteY132" fmla="*/ 3096068 h 5129212"/>
              <a:gd name="connsiteX133" fmla="*/ 3839693 w 6573406"/>
              <a:gd name="connsiteY133" fmla="*/ 3097021 h 5129212"/>
              <a:gd name="connsiteX134" fmla="*/ 3833760 w 6573406"/>
              <a:gd name="connsiteY134" fmla="*/ 3097338 h 5129212"/>
              <a:gd name="connsiteX135" fmla="*/ 3827827 w 6573406"/>
              <a:gd name="connsiteY135" fmla="*/ 3097338 h 5129212"/>
              <a:gd name="connsiteX136" fmla="*/ 3821894 w 6573406"/>
              <a:gd name="connsiteY136" fmla="*/ 3097338 h 5129212"/>
              <a:gd name="connsiteX137" fmla="*/ 3815961 w 6573406"/>
              <a:gd name="connsiteY137" fmla="*/ 3097021 h 5129212"/>
              <a:gd name="connsiteX138" fmla="*/ 3810028 w 6573406"/>
              <a:gd name="connsiteY138" fmla="*/ 3096068 h 5129212"/>
              <a:gd name="connsiteX139" fmla="*/ 3804095 w 6573406"/>
              <a:gd name="connsiteY139" fmla="*/ 3095116 h 5129212"/>
              <a:gd name="connsiteX140" fmla="*/ 3798162 w 6573406"/>
              <a:gd name="connsiteY140" fmla="*/ 3093846 h 5129212"/>
              <a:gd name="connsiteX141" fmla="*/ 3792578 w 6573406"/>
              <a:gd name="connsiteY141" fmla="*/ 3092258 h 5129212"/>
              <a:gd name="connsiteX142" fmla="*/ 3786645 w 6573406"/>
              <a:gd name="connsiteY142" fmla="*/ 3090354 h 5129212"/>
              <a:gd name="connsiteX143" fmla="*/ 3781061 w 6573406"/>
              <a:gd name="connsiteY143" fmla="*/ 3088131 h 5129212"/>
              <a:gd name="connsiteX144" fmla="*/ 3775477 w 6573406"/>
              <a:gd name="connsiteY144" fmla="*/ 3085909 h 5129212"/>
              <a:gd name="connsiteX145" fmla="*/ 3769893 w 6573406"/>
              <a:gd name="connsiteY145" fmla="*/ 3083051 h 5129212"/>
              <a:gd name="connsiteX146" fmla="*/ 3764658 w 6573406"/>
              <a:gd name="connsiteY146" fmla="*/ 3080194 h 5129212"/>
              <a:gd name="connsiteX147" fmla="*/ 3759423 w 6573406"/>
              <a:gd name="connsiteY147" fmla="*/ 3077019 h 5129212"/>
              <a:gd name="connsiteX148" fmla="*/ 3754188 w 6573406"/>
              <a:gd name="connsiteY148" fmla="*/ 3073210 h 5129212"/>
              <a:gd name="connsiteX149" fmla="*/ 3749302 w 6573406"/>
              <a:gd name="connsiteY149" fmla="*/ 3069400 h 5129212"/>
              <a:gd name="connsiteX150" fmla="*/ 3744416 w 6573406"/>
              <a:gd name="connsiteY150" fmla="*/ 3065273 h 5129212"/>
              <a:gd name="connsiteX151" fmla="*/ 3739879 w 6573406"/>
              <a:gd name="connsiteY151" fmla="*/ 3060828 h 5129212"/>
              <a:gd name="connsiteX152" fmla="*/ 3013960 w 6573406"/>
              <a:gd name="connsiteY152" fmla="*/ 2336338 h 5129212"/>
              <a:gd name="connsiteX153" fmla="*/ 3009423 w 6573406"/>
              <a:gd name="connsiteY153" fmla="*/ 2331576 h 5129212"/>
              <a:gd name="connsiteX154" fmla="*/ 3004537 w 6573406"/>
              <a:gd name="connsiteY154" fmla="*/ 2327448 h 5129212"/>
              <a:gd name="connsiteX155" fmla="*/ 2999651 w 6573406"/>
              <a:gd name="connsiteY155" fmla="*/ 2323639 h 5129212"/>
              <a:gd name="connsiteX156" fmla="*/ 2994416 w 6573406"/>
              <a:gd name="connsiteY156" fmla="*/ 2320146 h 5129212"/>
              <a:gd name="connsiteX157" fmla="*/ 2989181 w 6573406"/>
              <a:gd name="connsiteY157" fmla="*/ 2316971 h 5129212"/>
              <a:gd name="connsiteX158" fmla="*/ 2983946 w 6573406"/>
              <a:gd name="connsiteY158" fmla="*/ 2313797 h 5129212"/>
              <a:gd name="connsiteX159" fmla="*/ 2978362 w 6573406"/>
              <a:gd name="connsiteY159" fmla="*/ 2310939 h 5129212"/>
              <a:gd name="connsiteX160" fmla="*/ 2972778 w 6573406"/>
              <a:gd name="connsiteY160" fmla="*/ 2308717 h 5129212"/>
              <a:gd name="connsiteX161" fmla="*/ 2967194 w 6573406"/>
              <a:gd name="connsiteY161" fmla="*/ 2306495 h 5129212"/>
              <a:gd name="connsiteX162" fmla="*/ 2961261 w 6573406"/>
              <a:gd name="connsiteY162" fmla="*/ 2304907 h 5129212"/>
              <a:gd name="connsiteX163" fmla="*/ 2955677 w 6573406"/>
              <a:gd name="connsiteY163" fmla="*/ 2303002 h 5129212"/>
              <a:gd name="connsiteX164" fmla="*/ 2949744 w 6573406"/>
              <a:gd name="connsiteY164" fmla="*/ 2302050 h 5129212"/>
              <a:gd name="connsiteX165" fmla="*/ 2943811 w 6573406"/>
              <a:gd name="connsiteY165" fmla="*/ 2301097 h 5129212"/>
              <a:gd name="connsiteX166" fmla="*/ 2937878 w 6573406"/>
              <a:gd name="connsiteY166" fmla="*/ 2300145 h 5129212"/>
              <a:gd name="connsiteX167" fmla="*/ 2931945 w 6573406"/>
              <a:gd name="connsiteY167" fmla="*/ 2299828 h 5129212"/>
              <a:gd name="connsiteX168" fmla="*/ 2926012 w 6573406"/>
              <a:gd name="connsiteY168" fmla="*/ 2299510 h 5129212"/>
              <a:gd name="connsiteX169" fmla="*/ 2919730 w 6573406"/>
              <a:gd name="connsiteY169" fmla="*/ 2299828 h 5129212"/>
              <a:gd name="connsiteX170" fmla="*/ 2913797 w 6573406"/>
              <a:gd name="connsiteY170" fmla="*/ 2300145 h 5129212"/>
              <a:gd name="connsiteX171" fmla="*/ 2907864 w 6573406"/>
              <a:gd name="connsiteY171" fmla="*/ 2301097 h 5129212"/>
              <a:gd name="connsiteX172" fmla="*/ 2901931 w 6573406"/>
              <a:gd name="connsiteY172" fmla="*/ 2302050 h 5129212"/>
              <a:gd name="connsiteX173" fmla="*/ 2896347 w 6573406"/>
              <a:gd name="connsiteY173" fmla="*/ 2303002 h 5129212"/>
              <a:gd name="connsiteX174" fmla="*/ 2890414 w 6573406"/>
              <a:gd name="connsiteY174" fmla="*/ 2304907 h 5129212"/>
              <a:gd name="connsiteX175" fmla="*/ 2884830 w 6573406"/>
              <a:gd name="connsiteY175" fmla="*/ 2306495 h 5129212"/>
              <a:gd name="connsiteX176" fmla="*/ 2878897 w 6573406"/>
              <a:gd name="connsiteY176" fmla="*/ 2308717 h 5129212"/>
              <a:gd name="connsiteX177" fmla="*/ 2873313 w 6573406"/>
              <a:gd name="connsiteY177" fmla="*/ 2310939 h 5129212"/>
              <a:gd name="connsiteX178" fmla="*/ 2868078 w 6573406"/>
              <a:gd name="connsiteY178" fmla="*/ 2313797 h 5129212"/>
              <a:gd name="connsiteX179" fmla="*/ 2862494 w 6573406"/>
              <a:gd name="connsiteY179" fmla="*/ 2316971 h 5129212"/>
              <a:gd name="connsiteX180" fmla="*/ 2857259 w 6573406"/>
              <a:gd name="connsiteY180" fmla="*/ 2320146 h 5129212"/>
              <a:gd name="connsiteX181" fmla="*/ 2852373 w 6573406"/>
              <a:gd name="connsiteY181" fmla="*/ 2323639 h 5129212"/>
              <a:gd name="connsiteX182" fmla="*/ 2847138 w 6573406"/>
              <a:gd name="connsiteY182" fmla="*/ 2327448 h 5129212"/>
              <a:gd name="connsiteX183" fmla="*/ 2842601 w 6573406"/>
              <a:gd name="connsiteY183" fmla="*/ 2331576 h 5129212"/>
              <a:gd name="connsiteX184" fmla="*/ 2837715 w 6573406"/>
              <a:gd name="connsiteY184" fmla="*/ 2336338 h 5129212"/>
              <a:gd name="connsiteX185" fmla="*/ 2833527 w 6573406"/>
              <a:gd name="connsiteY185" fmla="*/ 2340783 h 5129212"/>
              <a:gd name="connsiteX186" fmla="*/ 2829339 w 6573406"/>
              <a:gd name="connsiteY186" fmla="*/ 2345545 h 5129212"/>
              <a:gd name="connsiteX187" fmla="*/ 2825500 w 6573406"/>
              <a:gd name="connsiteY187" fmla="*/ 2350624 h 5129212"/>
              <a:gd name="connsiteX188" fmla="*/ 2822010 w 6573406"/>
              <a:gd name="connsiteY188" fmla="*/ 2355704 h 5129212"/>
              <a:gd name="connsiteX189" fmla="*/ 2818520 w 6573406"/>
              <a:gd name="connsiteY189" fmla="*/ 2361101 h 5129212"/>
              <a:gd name="connsiteX190" fmla="*/ 2815728 w 6573406"/>
              <a:gd name="connsiteY190" fmla="*/ 2366181 h 5129212"/>
              <a:gd name="connsiteX191" fmla="*/ 2812936 w 6573406"/>
              <a:gd name="connsiteY191" fmla="*/ 2371896 h 5129212"/>
              <a:gd name="connsiteX192" fmla="*/ 2810493 w 6573406"/>
              <a:gd name="connsiteY192" fmla="*/ 2377293 h 5129212"/>
              <a:gd name="connsiteX193" fmla="*/ 2808399 w 6573406"/>
              <a:gd name="connsiteY193" fmla="*/ 2383007 h 5129212"/>
              <a:gd name="connsiteX194" fmla="*/ 2806305 w 6573406"/>
              <a:gd name="connsiteY194" fmla="*/ 2388405 h 5129212"/>
              <a:gd name="connsiteX195" fmla="*/ 2804909 w 6573406"/>
              <a:gd name="connsiteY195" fmla="*/ 2394437 h 5129212"/>
              <a:gd name="connsiteX196" fmla="*/ 2803513 w 6573406"/>
              <a:gd name="connsiteY196" fmla="*/ 2400469 h 5129212"/>
              <a:gd name="connsiteX197" fmla="*/ 2802466 w 6573406"/>
              <a:gd name="connsiteY197" fmla="*/ 2406501 h 5129212"/>
              <a:gd name="connsiteX198" fmla="*/ 2801768 w 6573406"/>
              <a:gd name="connsiteY198" fmla="*/ 2412216 h 5129212"/>
              <a:gd name="connsiteX199" fmla="*/ 2801419 w 6573406"/>
              <a:gd name="connsiteY199" fmla="*/ 2418248 h 5129212"/>
              <a:gd name="connsiteX200" fmla="*/ 2801419 w 6573406"/>
              <a:gd name="connsiteY200" fmla="*/ 2424280 h 5129212"/>
              <a:gd name="connsiteX201" fmla="*/ 2801419 w 6573406"/>
              <a:gd name="connsiteY201" fmla="*/ 2429994 h 5129212"/>
              <a:gd name="connsiteX202" fmla="*/ 2801768 w 6573406"/>
              <a:gd name="connsiteY202" fmla="*/ 2436027 h 5129212"/>
              <a:gd name="connsiteX203" fmla="*/ 2802466 w 6573406"/>
              <a:gd name="connsiteY203" fmla="*/ 2442059 h 5129212"/>
              <a:gd name="connsiteX204" fmla="*/ 2803513 w 6573406"/>
              <a:gd name="connsiteY204" fmla="*/ 2447773 h 5129212"/>
              <a:gd name="connsiteX205" fmla="*/ 2804909 w 6573406"/>
              <a:gd name="connsiteY205" fmla="*/ 2453805 h 5129212"/>
              <a:gd name="connsiteX206" fmla="*/ 2806305 w 6573406"/>
              <a:gd name="connsiteY206" fmla="*/ 2459838 h 5129212"/>
              <a:gd name="connsiteX207" fmla="*/ 2808399 w 6573406"/>
              <a:gd name="connsiteY207" fmla="*/ 2465235 h 5129212"/>
              <a:gd name="connsiteX208" fmla="*/ 2810493 w 6573406"/>
              <a:gd name="connsiteY208" fmla="*/ 2470949 h 5129212"/>
              <a:gd name="connsiteX209" fmla="*/ 2812936 w 6573406"/>
              <a:gd name="connsiteY209" fmla="*/ 2476347 h 5129212"/>
              <a:gd name="connsiteX210" fmla="*/ 2815728 w 6573406"/>
              <a:gd name="connsiteY210" fmla="*/ 2482061 h 5129212"/>
              <a:gd name="connsiteX211" fmla="*/ 2818520 w 6573406"/>
              <a:gd name="connsiteY211" fmla="*/ 2487458 h 5129212"/>
              <a:gd name="connsiteX212" fmla="*/ 2822010 w 6573406"/>
              <a:gd name="connsiteY212" fmla="*/ 2492538 h 5129212"/>
              <a:gd name="connsiteX213" fmla="*/ 2825500 w 6573406"/>
              <a:gd name="connsiteY213" fmla="*/ 2497935 h 5129212"/>
              <a:gd name="connsiteX214" fmla="*/ 2829339 w 6573406"/>
              <a:gd name="connsiteY214" fmla="*/ 2502697 h 5129212"/>
              <a:gd name="connsiteX215" fmla="*/ 2833527 w 6573406"/>
              <a:gd name="connsiteY215" fmla="*/ 2507460 h 5129212"/>
              <a:gd name="connsiteX216" fmla="*/ 2837715 w 6573406"/>
              <a:gd name="connsiteY216" fmla="*/ 2512222 h 5129212"/>
              <a:gd name="connsiteX217" fmla="*/ 4276989 w 6573406"/>
              <a:gd name="connsiteY217" fmla="*/ 3949455 h 5129212"/>
              <a:gd name="connsiteX218" fmla="*/ 4281177 w 6573406"/>
              <a:gd name="connsiteY218" fmla="*/ 3953900 h 5129212"/>
              <a:gd name="connsiteX219" fmla="*/ 4285365 w 6573406"/>
              <a:gd name="connsiteY219" fmla="*/ 3958980 h 5129212"/>
              <a:gd name="connsiteX220" fmla="*/ 4289204 w 6573406"/>
              <a:gd name="connsiteY220" fmla="*/ 3963742 h 5129212"/>
              <a:gd name="connsiteX221" fmla="*/ 4292694 w 6573406"/>
              <a:gd name="connsiteY221" fmla="*/ 3968822 h 5129212"/>
              <a:gd name="connsiteX222" fmla="*/ 4296184 w 6573406"/>
              <a:gd name="connsiteY222" fmla="*/ 3974219 h 5129212"/>
              <a:gd name="connsiteX223" fmla="*/ 4298976 w 6573406"/>
              <a:gd name="connsiteY223" fmla="*/ 3979298 h 5129212"/>
              <a:gd name="connsiteX224" fmla="*/ 4301768 w 6573406"/>
              <a:gd name="connsiteY224" fmla="*/ 3985013 h 5129212"/>
              <a:gd name="connsiteX225" fmla="*/ 4304211 w 6573406"/>
              <a:gd name="connsiteY225" fmla="*/ 3990728 h 5129212"/>
              <a:gd name="connsiteX226" fmla="*/ 4306305 w 6573406"/>
              <a:gd name="connsiteY226" fmla="*/ 3996125 h 5129212"/>
              <a:gd name="connsiteX227" fmla="*/ 4308050 w 6573406"/>
              <a:gd name="connsiteY227" fmla="*/ 4001840 h 5129212"/>
              <a:gd name="connsiteX228" fmla="*/ 4309795 w 6573406"/>
              <a:gd name="connsiteY228" fmla="*/ 4007554 h 5129212"/>
              <a:gd name="connsiteX229" fmla="*/ 4311191 w 6573406"/>
              <a:gd name="connsiteY229" fmla="*/ 4013586 h 5129212"/>
              <a:gd name="connsiteX230" fmla="*/ 4311889 w 6573406"/>
              <a:gd name="connsiteY230" fmla="*/ 4019618 h 5129212"/>
              <a:gd name="connsiteX231" fmla="*/ 4312587 w 6573406"/>
              <a:gd name="connsiteY231" fmla="*/ 4025333 h 5129212"/>
              <a:gd name="connsiteX232" fmla="*/ 4313285 w 6573406"/>
              <a:gd name="connsiteY232" fmla="*/ 4031365 h 5129212"/>
              <a:gd name="connsiteX233" fmla="*/ 4313285 w 6573406"/>
              <a:gd name="connsiteY233" fmla="*/ 4037397 h 5129212"/>
              <a:gd name="connsiteX234" fmla="*/ 4313285 w 6573406"/>
              <a:gd name="connsiteY234" fmla="*/ 4043429 h 5129212"/>
              <a:gd name="connsiteX235" fmla="*/ 4312587 w 6573406"/>
              <a:gd name="connsiteY235" fmla="*/ 4049144 h 5129212"/>
              <a:gd name="connsiteX236" fmla="*/ 4311889 w 6573406"/>
              <a:gd name="connsiteY236" fmla="*/ 4055176 h 5129212"/>
              <a:gd name="connsiteX237" fmla="*/ 4311191 w 6573406"/>
              <a:gd name="connsiteY237" fmla="*/ 4061208 h 5129212"/>
              <a:gd name="connsiteX238" fmla="*/ 4309795 w 6573406"/>
              <a:gd name="connsiteY238" fmla="*/ 4066923 h 5129212"/>
              <a:gd name="connsiteX239" fmla="*/ 4308050 w 6573406"/>
              <a:gd name="connsiteY239" fmla="*/ 4072955 h 5129212"/>
              <a:gd name="connsiteX240" fmla="*/ 4306305 w 6573406"/>
              <a:gd name="connsiteY240" fmla="*/ 4078670 h 5129212"/>
              <a:gd name="connsiteX241" fmla="*/ 4304211 w 6573406"/>
              <a:gd name="connsiteY241" fmla="*/ 4084067 h 5129212"/>
              <a:gd name="connsiteX242" fmla="*/ 4301768 w 6573406"/>
              <a:gd name="connsiteY242" fmla="*/ 4089782 h 5129212"/>
              <a:gd name="connsiteX243" fmla="*/ 4298976 w 6573406"/>
              <a:gd name="connsiteY243" fmla="*/ 4095179 h 5129212"/>
              <a:gd name="connsiteX244" fmla="*/ 4296184 w 6573406"/>
              <a:gd name="connsiteY244" fmla="*/ 4100576 h 5129212"/>
              <a:gd name="connsiteX245" fmla="*/ 4292694 w 6573406"/>
              <a:gd name="connsiteY245" fmla="*/ 4105656 h 5129212"/>
              <a:gd name="connsiteX246" fmla="*/ 4289204 w 6573406"/>
              <a:gd name="connsiteY246" fmla="*/ 4111053 h 5129212"/>
              <a:gd name="connsiteX247" fmla="*/ 4285365 w 6573406"/>
              <a:gd name="connsiteY247" fmla="*/ 4115815 h 5129212"/>
              <a:gd name="connsiteX248" fmla="*/ 4281177 w 6573406"/>
              <a:gd name="connsiteY248" fmla="*/ 4120895 h 5129212"/>
              <a:gd name="connsiteX249" fmla="*/ 4276989 w 6573406"/>
              <a:gd name="connsiteY249" fmla="*/ 4125339 h 5129212"/>
              <a:gd name="connsiteX250" fmla="*/ 4272801 w 6573406"/>
              <a:gd name="connsiteY250" fmla="*/ 4129149 h 5129212"/>
              <a:gd name="connsiteX251" fmla="*/ 4268613 w 6573406"/>
              <a:gd name="connsiteY251" fmla="*/ 4132959 h 5129212"/>
              <a:gd name="connsiteX252" fmla="*/ 4264425 w 6573406"/>
              <a:gd name="connsiteY252" fmla="*/ 4136134 h 5129212"/>
              <a:gd name="connsiteX253" fmla="*/ 4259888 w 6573406"/>
              <a:gd name="connsiteY253" fmla="*/ 4139626 h 5129212"/>
              <a:gd name="connsiteX254" fmla="*/ 4255700 w 6573406"/>
              <a:gd name="connsiteY254" fmla="*/ 4142483 h 5129212"/>
              <a:gd name="connsiteX255" fmla="*/ 4250814 w 6573406"/>
              <a:gd name="connsiteY255" fmla="*/ 4145023 h 5129212"/>
              <a:gd name="connsiteX256" fmla="*/ 4246277 w 6573406"/>
              <a:gd name="connsiteY256" fmla="*/ 4147880 h 5129212"/>
              <a:gd name="connsiteX257" fmla="*/ 4241391 w 6573406"/>
              <a:gd name="connsiteY257" fmla="*/ 4150103 h 5129212"/>
              <a:gd name="connsiteX258" fmla="*/ 4236854 w 6573406"/>
              <a:gd name="connsiteY258" fmla="*/ 4152008 h 5129212"/>
              <a:gd name="connsiteX259" fmla="*/ 4231619 w 6573406"/>
              <a:gd name="connsiteY259" fmla="*/ 4154230 h 5129212"/>
              <a:gd name="connsiteX260" fmla="*/ 4226733 w 6573406"/>
              <a:gd name="connsiteY260" fmla="*/ 4156135 h 5129212"/>
              <a:gd name="connsiteX261" fmla="*/ 4221847 w 6573406"/>
              <a:gd name="connsiteY261" fmla="*/ 4157405 h 5129212"/>
              <a:gd name="connsiteX262" fmla="*/ 4216612 w 6573406"/>
              <a:gd name="connsiteY262" fmla="*/ 4158675 h 5129212"/>
              <a:gd name="connsiteX263" fmla="*/ 4211726 w 6573406"/>
              <a:gd name="connsiteY263" fmla="*/ 4159945 h 5129212"/>
              <a:gd name="connsiteX264" fmla="*/ 4206491 w 6573406"/>
              <a:gd name="connsiteY264" fmla="*/ 4160580 h 5129212"/>
              <a:gd name="connsiteX265" fmla="*/ 4201256 w 6573406"/>
              <a:gd name="connsiteY265" fmla="*/ 4161215 h 5129212"/>
              <a:gd name="connsiteX266" fmla="*/ 4196022 w 6573406"/>
              <a:gd name="connsiteY266" fmla="*/ 4161532 h 5129212"/>
              <a:gd name="connsiteX267" fmla="*/ 4191135 w 6573406"/>
              <a:gd name="connsiteY267" fmla="*/ 4161532 h 5129212"/>
              <a:gd name="connsiteX268" fmla="*/ 4185900 w 6573406"/>
              <a:gd name="connsiteY268" fmla="*/ 4161532 h 5129212"/>
              <a:gd name="connsiteX269" fmla="*/ 4180665 w 6573406"/>
              <a:gd name="connsiteY269" fmla="*/ 4161532 h 5129212"/>
              <a:gd name="connsiteX270" fmla="*/ 4175430 w 6573406"/>
              <a:gd name="connsiteY270" fmla="*/ 4160897 h 5129212"/>
              <a:gd name="connsiteX271" fmla="*/ 4170195 w 6573406"/>
              <a:gd name="connsiteY271" fmla="*/ 4160580 h 5129212"/>
              <a:gd name="connsiteX272" fmla="*/ 4165309 w 6573406"/>
              <a:gd name="connsiteY272" fmla="*/ 4159627 h 5129212"/>
              <a:gd name="connsiteX273" fmla="*/ 4159725 w 6573406"/>
              <a:gd name="connsiteY273" fmla="*/ 4158357 h 5129212"/>
              <a:gd name="connsiteX274" fmla="*/ 4154490 w 6573406"/>
              <a:gd name="connsiteY274" fmla="*/ 4157087 h 5129212"/>
              <a:gd name="connsiteX275" fmla="*/ 4149604 w 6573406"/>
              <a:gd name="connsiteY275" fmla="*/ 4155500 h 5129212"/>
              <a:gd name="connsiteX276" fmla="*/ 4144718 w 6573406"/>
              <a:gd name="connsiteY276" fmla="*/ 4153913 h 5129212"/>
              <a:gd name="connsiteX277" fmla="*/ 4139832 w 6573406"/>
              <a:gd name="connsiteY277" fmla="*/ 4151690 h 5129212"/>
              <a:gd name="connsiteX278" fmla="*/ 4134946 w 6573406"/>
              <a:gd name="connsiteY278" fmla="*/ 4149785 h 5129212"/>
              <a:gd name="connsiteX279" fmla="*/ 4130409 w 6573406"/>
              <a:gd name="connsiteY279" fmla="*/ 4147246 h 5129212"/>
              <a:gd name="connsiteX280" fmla="*/ 4125523 w 6573406"/>
              <a:gd name="connsiteY280" fmla="*/ 4144706 h 5129212"/>
              <a:gd name="connsiteX281" fmla="*/ 4120986 w 6573406"/>
              <a:gd name="connsiteY281" fmla="*/ 4142166 h 5129212"/>
              <a:gd name="connsiteX282" fmla="*/ 0 w 6573406"/>
              <a:gd name="connsiteY282" fmla="*/ 0 h 5129212"/>
              <a:gd name="connsiteX0" fmla="*/ 0 w 6573406"/>
              <a:gd name="connsiteY0" fmla="*/ 0 h 5129212"/>
              <a:gd name="connsiteX1" fmla="*/ 0 w 6573406"/>
              <a:gd name="connsiteY1" fmla="*/ 409574 h 5129212"/>
              <a:gd name="connsiteX2" fmla="*/ 0 w 6573406"/>
              <a:gd name="connsiteY2" fmla="*/ 5129212 h 5129212"/>
              <a:gd name="connsiteX3" fmla="*/ 6573406 w 6573406"/>
              <a:gd name="connsiteY3" fmla="*/ 5129212 h 5129212"/>
              <a:gd name="connsiteX4" fmla="*/ 3968474 w 6573406"/>
              <a:gd name="connsiteY4" fmla="*/ 2531906 h 5129212"/>
              <a:gd name="connsiteX5" fmla="*/ 3962541 w 6573406"/>
              <a:gd name="connsiteY5" fmla="*/ 2531906 h 5129212"/>
              <a:gd name="connsiteX6" fmla="*/ 3956259 w 6573406"/>
              <a:gd name="connsiteY6" fmla="*/ 2531588 h 5129212"/>
              <a:gd name="connsiteX7" fmla="*/ 3950326 w 6573406"/>
              <a:gd name="connsiteY7" fmla="*/ 2530953 h 5129212"/>
              <a:gd name="connsiteX8" fmla="*/ 3944393 w 6573406"/>
              <a:gd name="connsiteY8" fmla="*/ 2530001 h 5129212"/>
              <a:gd name="connsiteX9" fmla="*/ 3938460 w 6573406"/>
              <a:gd name="connsiteY9" fmla="*/ 2528731 h 5129212"/>
              <a:gd name="connsiteX10" fmla="*/ 3932527 w 6573406"/>
              <a:gd name="connsiteY10" fmla="*/ 2527143 h 5129212"/>
              <a:gd name="connsiteX11" fmla="*/ 3926943 w 6573406"/>
              <a:gd name="connsiteY11" fmla="*/ 2525239 h 5129212"/>
              <a:gd name="connsiteX12" fmla="*/ 3921010 w 6573406"/>
              <a:gd name="connsiteY12" fmla="*/ 2523334 h 5129212"/>
              <a:gd name="connsiteX13" fmla="*/ 3915426 w 6573406"/>
              <a:gd name="connsiteY13" fmla="*/ 2520794 h 5129212"/>
              <a:gd name="connsiteX14" fmla="*/ 3909842 w 6573406"/>
              <a:gd name="connsiteY14" fmla="*/ 2517937 h 5129212"/>
              <a:gd name="connsiteX15" fmla="*/ 3904258 w 6573406"/>
              <a:gd name="connsiteY15" fmla="*/ 2515079 h 5129212"/>
              <a:gd name="connsiteX16" fmla="*/ 3899023 w 6573406"/>
              <a:gd name="connsiteY16" fmla="*/ 2511587 h 5129212"/>
              <a:gd name="connsiteX17" fmla="*/ 3893788 w 6573406"/>
              <a:gd name="connsiteY17" fmla="*/ 2508095 h 5129212"/>
              <a:gd name="connsiteX18" fmla="*/ 3888902 w 6573406"/>
              <a:gd name="connsiteY18" fmla="*/ 2504285 h 5129212"/>
              <a:gd name="connsiteX19" fmla="*/ 3884016 w 6573406"/>
              <a:gd name="connsiteY19" fmla="*/ 2500158 h 5129212"/>
              <a:gd name="connsiteX20" fmla="*/ 3879130 w 6573406"/>
              <a:gd name="connsiteY20" fmla="*/ 2495713 h 5129212"/>
              <a:gd name="connsiteX21" fmla="*/ 3266286 w 6573406"/>
              <a:gd name="connsiteY21" fmla="*/ 1883611 h 5129212"/>
              <a:gd name="connsiteX22" fmla="*/ 3261400 w 6573406"/>
              <a:gd name="connsiteY22" fmla="*/ 1879484 h 5129212"/>
              <a:gd name="connsiteX23" fmla="*/ 3256864 w 6573406"/>
              <a:gd name="connsiteY23" fmla="*/ 1875356 h 5129212"/>
              <a:gd name="connsiteX24" fmla="*/ 3251628 w 6573406"/>
              <a:gd name="connsiteY24" fmla="*/ 1871547 h 5129212"/>
              <a:gd name="connsiteX25" fmla="*/ 3246742 w 6573406"/>
              <a:gd name="connsiteY25" fmla="*/ 1868054 h 5129212"/>
              <a:gd name="connsiteX26" fmla="*/ 3241508 w 6573406"/>
              <a:gd name="connsiteY26" fmla="*/ 1864562 h 5129212"/>
              <a:gd name="connsiteX27" fmla="*/ 3235924 w 6573406"/>
              <a:gd name="connsiteY27" fmla="*/ 1861705 h 5129212"/>
              <a:gd name="connsiteX28" fmla="*/ 3230688 w 6573406"/>
              <a:gd name="connsiteY28" fmla="*/ 1858847 h 5129212"/>
              <a:gd name="connsiteX29" fmla="*/ 3225104 w 6573406"/>
              <a:gd name="connsiteY29" fmla="*/ 1856308 h 5129212"/>
              <a:gd name="connsiteX30" fmla="*/ 3219172 w 6573406"/>
              <a:gd name="connsiteY30" fmla="*/ 1854403 h 5129212"/>
              <a:gd name="connsiteX31" fmla="*/ 3213588 w 6573406"/>
              <a:gd name="connsiteY31" fmla="*/ 1852180 h 5129212"/>
              <a:gd name="connsiteX32" fmla="*/ 3207654 w 6573406"/>
              <a:gd name="connsiteY32" fmla="*/ 1850910 h 5129212"/>
              <a:gd name="connsiteX33" fmla="*/ 3202070 w 6573406"/>
              <a:gd name="connsiteY33" fmla="*/ 1849323 h 5129212"/>
              <a:gd name="connsiteX34" fmla="*/ 3196138 w 6573406"/>
              <a:gd name="connsiteY34" fmla="*/ 1848371 h 5129212"/>
              <a:gd name="connsiteX35" fmla="*/ 3190205 w 6573406"/>
              <a:gd name="connsiteY35" fmla="*/ 1847736 h 5129212"/>
              <a:gd name="connsiteX36" fmla="*/ 3184272 w 6573406"/>
              <a:gd name="connsiteY36" fmla="*/ 1847418 h 5129212"/>
              <a:gd name="connsiteX37" fmla="*/ 3177990 w 6573406"/>
              <a:gd name="connsiteY37" fmla="*/ 1847418 h 5129212"/>
              <a:gd name="connsiteX38" fmla="*/ 3172057 w 6573406"/>
              <a:gd name="connsiteY38" fmla="*/ 1847418 h 5129212"/>
              <a:gd name="connsiteX39" fmla="*/ 3166124 w 6573406"/>
              <a:gd name="connsiteY39" fmla="*/ 1847736 h 5129212"/>
              <a:gd name="connsiteX40" fmla="*/ 3160191 w 6573406"/>
              <a:gd name="connsiteY40" fmla="*/ 1848371 h 5129212"/>
              <a:gd name="connsiteX41" fmla="*/ 3154258 w 6573406"/>
              <a:gd name="connsiteY41" fmla="*/ 1849323 h 5129212"/>
              <a:gd name="connsiteX42" fmla="*/ 3148325 w 6573406"/>
              <a:gd name="connsiteY42" fmla="*/ 1850910 h 5129212"/>
              <a:gd name="connsiteX43" fmla="*/ 3142741 w 6573406"/>
              <a:gd name="connsiteY43" fmla="*/ 1852180 h 5129212"/>
              <a:gd name="connsiteX44" fmla="*/ 3136808 w 6573406"/>
              <a:gd name="connsiteY44" fmla="*/ 1854403 h 5129212"/>
              <a:gd name="connsiteX45" fmla="*/ 3131224 w 6573406"/>
              <a:gd name="connsiteY45" fmla="*/ 1856308 h 5129212"/>
              <a:gd name="connsiteX46" fmla="*/ 3125640 w 6573406"/>
              <a:gd name="connsiteY46" fmla="*/ 1858847 h 5129212"/>
              <a:gd name="connsiteX47" fmla="*/ 3120405 w 6573406"/>
              <a:gd name="connsiteY47" fmla="*/ 1861705 h 5129212"/>
              <a:gd name="connsiteX48" fmla="*/ 3114821 w 6573406"/>
              <a:gd name="connsiteY48" fmla="*/ 1864562 h 5129212"/>
              <a:gd name="connsiteX49" fmla="*/ 3109586 w 6573406"/>
              <a:gd name="connsiteY49" fmla="*/ 1868054 h 5129212"/>
              <a:gd name="connsiteX50" fmla="*/ 3104351 w 6573406"/>
              <a:gd name="connsiteY50" fmla="*/ 1871547 h 5129212"/>
              <a:gd name="connsiteX51" fmla="*/ 3099465 w 6573406"/>
              <a:gd name="connsiteY51" fmla="*/ 1875356 h 5129212"/>
              <a:gd name="connsiteX52" fmla="*/ 3094579 w 6573406"/>
              <a:gd name="connsiteY52" fmla="*/ 1879484 h 5129212"/>
              <a:gd name="connsiteX53" fmla="*/ 3090042 w 6573406"/>
              <a:gd name="connsiteY53" fmla="*/ 1883611 h 5129212"/>
              <a:gd name="connsiteX54" fmla="*/ 3085505 w 6573406"/>
              <a:gd name="connsiteY54" fmla="*/ 1888373 h 5129212"/>
              <a:gd name="connsiteX55" fmla="*/ 3081666 w 6573406"/>
              <a:gd name="connsiteY55" fmla="*/ 1893135 h 5129212"/>
              <a:gd name="connsiteX56" fmla="*/ 3077827 w 6573406"/>
              <a:gd name="connsiteY56" fmla="*/ 1898215 h 5129212"/>
              <a:gd name="connsiteX57" fmla="*/ 3073988 w 6573406"/>
              <a:gd name="connsiteY57" fmla="*/ 1903295 h 5129212"/>
              <a:gd name="connsiteX58" fmla="*/ 3070847 w 6573406"/>
              <a:gd name="connsiteY58" fmla="*/ 1908374 h 5129212"/>
              <a:gd name="connsiteX59" fmla="*/ 3067706 w 6573406"/>
              <a:gd name="connsiteY59" fmla="*/ 1914089 h 5129212"/>
              <a:gd name="connsiteX60" fmla="*/ 3065263 w 6573406"/>
              <a:gd name="connsiteY60" fmla="*/ 1919169 h 5129212"/>
              <a:gd name="connsiteX61" fmla="*/ 3062820 w 6573406"/>
              <a:gd name="connsiteY61" fmla="*/ 1924883 h 5129212"/>
              <a:gd name="connsiteX62" fmla="*/ 3060726 w 6573406"/>
              <a:gd name="connsiteY62" fmla="*/ 1930281 h 5129212"/>
              <a:gd name="connsiteX63" fmla="*/ 3058632 w 6573406"/>
              <a:gd name="connsiteY63" fmla="*/ 1936313 h 5129212"/>
              <a:gd name="connsiteX64" fmla="*/ 3057236 w 6573406"/>
              <a:gd name="connsiteY64" fmla="*/ 1942345 h 5129212"/>
              <a:gd name="connsiteX65" fmla="*/ 3055840 w 6573406"/>
              <a:gd name="connsiteY65" fmla="*/ 1947742 h 5129212"/>
              <a:gd name="connsiteX66" fmla="*/ 3054793 w 6573406"/>
              <a:gd name="connsiteY66" fmla="*/ 1953774 h 5129212"/>
              <a:gd name="connsiteX67" fmla="*/ 3054095 w 6573406"/>
              <a:gd name="connsiteY67" fmla="*/ 1959806 h 5129212"/>
              <a:gd name="connsiteX68" fmla="*/ 3053746 w 6573406"/>
              <a:gd name="connsiteY68" fmla="*/ 1965521 h 5129212"/>
              <a:gd name="connsiteX69" fmla="*/ 3053746 w 6573406"/>
              <a:gd name="connsiteY69" fmla="*/ 1971870 h 5129212"/>
              <a:gd name="connsiteX70" fmla="*/ 3053746 w 6573406"/>
              <a:gd name="connsiteY70" fmla="*/ 1977903 h 5129212"/>
              <a:gd name="connsiteX71" fmla="*/ 3054095 w 6573406"/>
              <a:gd name="connsiteY71" fmla="*/ 1983617 h 5129212"/>
              <a:gd name="connsiteX72" fmla="*/ 3054793 w 6573406"/>
              <a:gd name="connsiteY72" fmla="*/ 1989649 h 5129212"/>
              <a:gd name="connsiteX73" fmla="*/ 3055840 w 6573406"/>
              <a:gd name="connsiteY73" fmla="*/ 1995681 h 5129212"/>
              <a:gd name="connsiteX74" fmla="*/ 3057236 w 6573406"/>
              <a:gd name="connsiteY74" fmla="*/ 2001079 h 5129212"/>
              <a:gd name="connsiteX75" fmla="*/ 3058632 w 6573406"/>
              <a:gd name="connsiteY75" fmla="*/ 2007111 h 5129212"/>
              <a:gd name="connsiteX76" fmla="*/ 3060726 w 6573406"/>
              <a:gd name="connsiteY76" fmla="*/ 2013143 h 5129212"/>
              <a:gd name="connsiteX77" fmla="*/ 3062820 w 6573406"/>
              <a:gd name="connsiteY77" fmla="*/ 2018540 h 5129212"/>
              <a:gd name="connsiteX78" fmla="*/ 3065263 w 6573406"/>
              <a:gd name="connsiteY78" fmla="*/ 2024255 h 5129212"/>
              <a:gd name="connsiteX79" fmla="*/ 3067706 w 6573406"/>
              <a:gd name="connsiteY79" fmla="*/ 2029334 h 5129212"/>
              <a:gd name="connsiteX80" fmla="*/ 3070847 w 6573406"/>
              <a:gd name="connsiteY80" fmla="*/ 2035049 h 5129212"/>
              <a:gd name="connsiteX81" fmla="*/ 3073988 w 6573406"/>
              <a:gd name="connsiteY81" fmla="*/ 2040446 h 5129212"/>
              <a:gd name="connsiteX82" fmla="*/ 3077827 w 6573406"/>
              <a:gd name="connsiteY82" fmla="*/ 2045208 h 5129212"/>
              <a:gd name="connsiteX83" fmla="*/ 3081666 w 6573406"/>
              <a:gd name="connsiteY83" fmla="*/ 2050288 h 5129212"/>
              <a:gd name="connsiteX84" fmla="*/ 3085505 w 6573406"/>
              <a:gd name="connsiteY84" fmla="*/ 2055368 h 5129212"/>
              <a:gd name="connsiteX85" fmla="*/ 3090042 w 6573406"/>
              <a:gd name="connsiteY85" fmla="*/ 2059812 h 5129212"/>
              <a:gd name="connsiteX86" fmla="*/ 3916473 w 6573406"/>
              <a:gd name="connsiteY86" fmla="*/ 2884626 h 5129212"/>
              <a:gd name="connsiteX87" fmla="*/ 3920661 w 6573406"/>
              <a:gd name="connsiteY87" fmla="*/ 2889706 h 5129212"/>
              <a:gd name="connsiteX88" fmla="*/ 3924849 w 6573406"/>
              <a:gd name="connsiteY88" fmla="*/ 2894151 h 5129212"/>
              <a:gd name="connsiteX89" fmla="*/ 3928688 w 6573406"/>
              <a:gd name="connsiteY89" fmla="*/ 2899548 h 5129212"/>
              <a:gd name="connsiteX90" fmla="*/ 3932178 w 6573406"/>
              <a:gd name="connsiteY90" fmla="*/ 2904310 h 5129212"/>
              <a:gd name="connsiteX91" fmla="*/ 3935668 w 6573406"/>
              <a:gd name="connsiteY91" fmla="*/ 2909390 h 5129212"/>
              <a:gd name="connsiteX92" fmla="*/ 3938460 w 6573406"/>
              <a:gd name="connsiteY92" fmla="*/ 2915104 h 5129212"/>
              <a:gd name="connsiteX93" fmla="*/ 3941252 w 6573406"/>
              <a:gd name="connsiteY93" fmla="*/ 2920502 h 5129212"/>
              <a:gd name="connsiteX94" fmla="*/ 3943695 w 6573406"/>
              <a:gd name="connsiteY94" fmla="*/ 2925899 h 5129212"/>
              <a:gd name="connsiteX95" fmla="*/ 3945789 w 6573406"/>
              <a:gd name="connsiteY95" fmla="*/ 2931613 h 5129212"/>
              <a:gd name="connsiteX96" fmla="*/ 3947534 w 6573406"/>
              <a:gd name="connsiteY96" fmla="*/ 2937328 h 5129212"/>
              <a:gd name="connsiteX97" fmla="*/ 3949279 w 6573406"/>
              <a:gd name="connsiteY97" fmla="*/ 2943360 h 5129212"/>
              <a:gd name="connsiteX98" fmla="*/ 3950675 w 6573406"/>
              <a:gd name="connsiteY98" fmla="*/ 2949075 h 5129212"/>
              <a:gd name="connsiteX99" fmla="*/ 3951373 w 6573406"/>
              <a:gd name="connsiteY99" fmla="*/ 2954789 h 5129212"/>
              <a:gd name="connsiteX100" fmla="*/ 3952071 w 6573406"/>
              <a:gd name="connsiteY100" fmla="*/ 2960822 h 5129212"/>
              <a:gd name="connsiteX101" fmla="*/ 3952769 w 6573406"/>
              <a:gd name="connsiteY101" fmla="*/ 2966854 h 5129212"/>
              <a:gd name="connsiteX102" fmla="*/ 3952769 w 6573406"/>
              <a:gd name="connsiteY102" fmla="*/ 2973203 h 5129212"/>
              <a:gd name="connsiteX103" fmla="*/ 3952769 w 6573406"/>
              <a:gd name="connsiteY103" fmla="*/ 2978918 h 5129212"/>
              <a:gd name="connsiteX104" fmla="*/ 3952071 w 6573406"/>
              <a:gd name="connsiteY104" fmla="*/ 2984950 h 5129212"/>
              <a:gd name="connsiteX105" fmla="*/ 3951373 w 6573406"/>
              <a:gd name="connsiteY105" fmla="*/ 2990982 h 5129212"/>
              <a:gd name="connsiteX106" fmla="*/ 3950675 w 6573406"/>
              <a:gd name="connsiteY106" fmla="*/ 2996697 h 5129212"/>
              <a:gd name="connsiteX107" fmla="*/ 3949279 w 6573406"/>
              <a:gd name="connsiteY107" fmla="*/ 3002411 h 5129212"/>
              <a:gd name="connsiteX108" fmla="*/ 3947534 w 6573406"/>
              <a:gd name="connsiteY108" fmla="*/ 3008444 h 5129212"/>
              <a:gd name="connsiteX109" fmla="*/ 3945789 w 6573406"/>
              <a:gd name="connsiteY109" fmla="*/ 3014158 h 5129212"/>
              <a:gd name="connsiteX110" fmla="*/ 3943695 w 6573406"/>
              <a:gd name="connsiteY110" fmla="*/ 3019873 h 5129212"/>
              <a:gd name="connsiteX111" fmla="*/ 3941252 w 6573406"/>
              <a:gd name="connsiteY111" fmla="*/ 3025270 h 5129212"/>
              <a:gd name="connsiteX112" fmla="*/ 3938460 w 6573406"/>
              <a:gd name="connsiteY112" fmla="*/ 3030667 h 5129212"/>
              <a:gd name="connsiteX113" fmla="*/ 3935668 w 6573406"/>
              <a:gd name="connsiteY113" fmla="*/ 3036064 h 5129212"/>
              <a:gd name="connsiteX114" fmla="*/ 3932178 w 6573406"/>
              <a:gd name="connsiteY114" fmla="*/ 3041462 h 5129212"/>
              <a:gd name="connsiteX115" fmla="*/ 3928688 w 6573406"/>
              <a:gd name="connsiteY115" fmla="*/ 3046224 h 5129212"/>
              <a:gd name="connsiteX116" fmla="*/ 3924849 w 6573406"/>
              <a:gd name="connsiteY116" fmla="*/ 3051621 h 5129212"/>
              <a:gd name="connsiteX117" fmla="*/ 3920661 w 6573406"/>
              <a:gd name="connsiteY117" fmla="*/ 3056066 h 5129212"/>
              <a:gd name="connsiteX118" fmla="*/ 3916473 w 6573406"/>
              <a:gd name="connsiteY118" fmla="*/ 3060828 h 5129212"/>
              <a:gd name="connsiteX119" fmla="*/ 3911587 w 6573406"/>
              <a:gd name="connsiteY119" fmla="*/ 3065273 h 5129212"/>
              <a:gd name="connsiteX120" fmla="*/ 3906701 w 6573406"/>
              <a:gd name="connsiteY120" fmla="*/ 3069400 h 5129212"/>
              <a:gd name="connsiteX121" fmla="*/ 3901815 w 6573406"/>
              <a:gd name="connsiteY121" fmla="*/ 3073210 h 5129212"/>
              <a:gd name="connsiteX122" fmla="*/ 3896929 w 6573406"/>
              <a:gd name="connsiteY122" fmla="*/ 3077019 h 5129212"/>
              <a:gd name="connsiteX123" fmla="*/ 3891694 w 6573406"/>
              <a:gd name="connsiteY123" fmla="*/ 3080194 h 5129212"/>
              <a:gd name="connsiteX124" fmla="*/ 3886110 w 6573406"/>
              <a:gd name="connsiteY124" fmla="*/ 3083051 h 5129212"/>
              <a:gd name="connsiteX125" fmla="*/ 3880177 w 6573406"/>
              <a:gd name="connsiteY125" fmla="*/ 3085909 h 5129212"/>
              <a:gd name="connsiteX126" fmla="*/ 3874593 w 6573406"/>
              <a:gd name="connsiteY126" fmla="*/ 3088131 h 5129212"/>
              <a:gd name="connsiteX127" fmla="*/ 3869009 w 6573406"/>
              <a:gd name="connsiteY127" fmla="*/ 3090354 h 5129212"/>
              <a:gd name="connsiteX128" fmla="*/ 3863425 w 6573406"/>
              <a:gd name="connsiteY128" fmla="*/ 3092258 h 5129212"/>
              <a:gd name="connsiteX129" fmla="*/ 3857492 w 6573406"/>
              <a:gd name="connsiteY129" fmla="*/ 3093846 h 5129212"/>
              <a:gd name="connsiteX130" fmla="*/ 3851559 w 6573406"/>
              <a:gd name="connsiteY130" fmla="*/ 3095116 h 5129212"/>
              <a:gd name="connsiteX131" fmla="*/ 3845626 w 6573406"/>
              <a:gd name="connsiteY131" fmla="*/ 3096068 h 5129212"/>
              <a:gd name="connsiteX132" fmla="*/ 3839693 w 6573406"/>
              <a:gd name="connsiteY132" fmla="*/ 3097021 h 5129212"/>
              <a:gd name="connsiteX133" fmla="*/ 3833760 w 6573406"/>
              <a:gd name="connsiteY133" fmla="*/ 3097338 h 5129212"/>
              <a:gd name="connsiteX134" fmla="*/ 3827827 w 6573406"/>
              <a:gd name="connsiteY134" fmla="*/ 3097338 h 5129212"/>
              <a:gd name="connsiteX135" fmla="*/ 3821894 w 6573406"/>
              <a:gd name="connsiteY135" fmla="*/ 3097338 h 5129212"/>
              <a:gd name="connsiteX136" fmla="*/ 3815961 w 6573406"/>
              <a:gd name="connsiteY136" fmla="*/ 3097021 h 5129212"/>
              <a:gd name="connsiteX137" fmla="*/ 3810028 w 6573406"/>
              <a:gd name="connsiteY137" fmla="*/ 3096068 h 5129212"/>
              <a:gd name="connsiteX138" fmla="*/ 3804095 w 6573406"/>
              <a:gd name="connsiteY138" fmla="*/ 3095116 h 5129212"/>
              <a:gd name="connsiteX139" fmla="*/ 3798162 w 6573406"/>
              <a:gd name="connsiteY139" fmla="*/ 3093846 h 5129212"/>
              <a:gd name="connsiteX140" fmla="*/ 3792578 w 6573406"/>
              <a:gd name="connsiteY140" fmla="*/ 3092258 h 5129212"/>
              <a:gd name="connsiteX141" fmla="*/ 3786645 w 6573406"/>
              <a:gd name="connsiteY141" fmla="*/ 3090354 h 5129212"/>
              <a:gd name="connsiteX142" fmla="*/ 3781061 w 6573406"/>
              <a:gd name="connsiteY142" fmla="*/ 3088131 h 5129212"/>
              <a:gd name="connsiteX143" fmla="*/ 3775477 w 6573406"/>
              <a:gd name="connsiteY143" fmla="*/ 3085909 h 5129212"/>
              <a:gd name="connsiteX144" fmla="*/ 3769893 w 6573406"/>
              <a:gd name="connsiteY144" fmla="*/ 3083051 h 5129212"/>
              <a:gd name="connsiteX145" fmla="*/ 3764658 w 6573406"/>
              <a:gd name="connsiteY145" fmla="*/ 3080194 h 5129212"/>
              <a:gd name="connsiteX146" fmla="*/ 3759423 w 6573406"/>
              <a:gd name="connsiteY146" fmla="*/ 3077019 h 5129212"/>
              <a:gd name="connsiteX147" fmla="*/ 3754188 w 6573406"/>
              <a:gd name="connsiteY147" fmla="*/ 3073210 h 5129212"/>
              <a:gd name="connsiteX148" fmla="*/ 3749302 w 6573406"/>
              <a:gd name="connsiteY148" fmla="*/ 3069400 h 5129212"/>
              <a:gd name="connsiteX149" fmla="*/ 3744416 w 6573406"/>
              <a:gd name="connsiteY149" fmla="*/ 3065273 h 5129212"/>
              <a:gd name="connsiteX150" fmla="*/ 3739879 w 6573406"/>
              <a:gd name="connsiteY150" fmla="*/ 3060828 h 5129212"/>
              <a:gd name="connsiteX151" fmla="*/ 3013960 w 6573406"/>
              <a:gd name="connsiteY151" fmla="*/ 2336338 h 5129212"/>
              <a:gd name="connsiteX152" fmla="*/ 3009423 w 6573406"/>
              <a:gd name="connsiteY152" fmla="*/ 2331576 h 5129212"/>
              <a:gd name="connsiteX153" fmla="*/ 3004537 w 6573406"/>
              <a:gd name="connsiteY153" fmla="*/ 2327448 h 5129212"/>
              <a:gd name="connsiteX154" fmla="*/ 2999651 w 6573406"/>
              <a:gd name="connsiteY154" fmla="*/ 2323639 h 5129212"/>
              <a:gd name="connsiteX155" fmla="*/ 2994416 w 6573406"/>
              <a:gd name="connsiteY155" fmla="*/ 2320146 h 5129212"/>
              <a:gd name="connsiteX156" fmla="*/ 2989181 w 6573406"/>
              <a:gd name="connsiteY156" fmla="*/ 2316971 h 5129212"/>
              <a:gd name="connsiteX157" fmla="*/ 2983946 w 6573406"/>
              <a:gd name="connsiteY157" fmla="*/ 2313797 h 5129212"/>
              <a:gd name="connsiteX158" fmla="*/ 2978362 w 6573406"/>
              <a:gd name="connsiteY158" fmla="*/ 2310939 h 5129212"/>
              <a:gd name="connsiteX159" fmla="*/ 2972778 w 6573406"/>
              <a:gd name="connsiteY159" fmla="*/ 2308717 h 5129212"/>
              <a:gd name="connsiteX160" fmla="*/ 2967194 w 6573406"/>
              <a:gd name="connsiteY160" fmla="*/ 2306495 h 5129212"/>
              <a:gd name="connsiteX161" fmla="*/ 2961261 w 6573406"/>
              <a:gd name="connsiteY161" fmla="*/ 2304907 h 5129212"/>
              <a:gd name="connsiteX162" fmla="*/ 2955677 w 6573406"/>
              <a:gd name="connsiteY162" fmla="*/ 2303002 h 5129212"/>
              <a:gd name="connsiteX163" fmla="*/ 2949744 w 6573406"/>
              <a:gd name="connsiteY163" fmla="*/ 2302050 h 5129212"/>
              <a:gd name="connsiteX164" fmla="*/ 2943811 w 6573406"/>
              <a:gd name="connsiteY164" fmla="*/ 2301097 h 5129212"/>
              <a:gd name="connsiteX165" fmla="*/ 2937878 w 6573406"/>
              <a:gd name="connsiteY165" fmla="*/ 2300145 h 5129212"/>
              <a:gd name="connsiteX166" fmla="*/ 2931945 w 6573406"/>
              <a:gd name="connsiteY166" fmla="*/ 2299828 h 5129212"/>
              <a:gd name="connsiteX167" fmla="*/ 2926012 w 6573406"/>
              <a:gd name="connsiteY167" fmla="*/ 2299510 h 5129212"/>
              <a:gd name="connsiteX168" fmla="*/ 2919730 w 6573406"/>
              <a:gd name="connsiteY168" fmla="*/ 2299828 h 5129212"/>
              <a:gd name="connsiteX169" fmla="*/ 2913797 w 6573406"/>
              <a:gd name="connsiteY169" fmla="*/ 2300145 h 5129212"/>
              <a:gd name="connsiteX170" fmla="*/ 2907864 w 6573406"/>
              <a:gd name="connsiteY170" fmla="*/ 2301097 h 5129212"/>
              <a:gd name="connsiteX171" fmla="*/ 2901931 w 6573406"/>
              <a:gd name="connsiteY171" fmla="*/ 2302050 h 5129212"/>
              <a:gd name="connsiteX172" fmla="*/ 2896347 w 6573406"/>
              <a:gd name="connsiteY172" fmla="*/ 2303002 h 5129212"/>
              <a:gd name="connsiteX173" fmla="*/ 2890414 w 6573406"/>
              <a:gd name="connsiteY173" fmla="*/ 2304907 h 5129212"/>
              <a:gd name="connsiteX174" fmla="*/ 2884830 w 6573406"/>
              <a:gd name="connsiteY174" fmla="*/ 2306495 h 5129212"/>
              <a:gd name="connsiteX175" fmla="*/ 2878897 w 6573406"/>
              <a:gd name="connsiteY175" fmla="*/ 2308717 h 5129212"/>
              <a:gd name="connsiteX176" fmla="*/ 2873313 w 6573406"/>
              <a:gd name="connsiteY176" fmla="*/ 2310939 h 5129212"/>
              <a:gd name="connsiteX177" fmla="*/ 2868078 w 6573406"/>
              <a:gd name="connsiteY177" fmla="*/ 2313797 h 5129212"/>
              <a:gd name="connsiteX178" fmla="*/ 2862494 w 6573406"/>
              <a:gd name="connsiteY178" fmla="*/ 2316971 h 5129212"/>
              <a:gd name="connsiteX179" fmla="*/ 2857259 w 6573406"/>
              <a:gd name="connsiteY179" fmla="*/ 2320146 h 5129212"/>
              <a:gd name="connsiteX180" fmla="*/ 2852373 w 6573406"/>
              <a:gd name="connsiteY180" fmla="*/ 2323639 h 5129212"/>
              <a:gd name="connsiteX181" fmla="*/ 2847138 w 6573406"/>
              <a:gd name="connsiteY181" fmla="*/ 2327448 h 5129212"/>
              <a:gd name="connsiteX182" fmla="*/ 2842601 w 6573406"/>
              <a:gd name="connsiteY182" fmla="*/ 2331576 h 5129212"/>
              <a:gd name="connsiteX183" fmla="*/ 2837715 w 6573406"/>
              <a:gd name="connsiteY183" fmla="*/ 2336338 h 5129212"/>
              <a:gd name="connsiteX184" fmla="*/ 2833527 w 6573406"/>
              <a:gd name="connsiteY184" fmla="*/ 2340783 h 5129212"/>
              <a:gd name="connsiteX185" fmla="*/ 2829339 w 6573406"/>
              <a:gd name="connsiteY185" fmla="*/ 2345545 h 5129212"/>
              <a:gd name="connsiteX186" fmla="*/ 2825500 w 6573406"/>
              <a:gd name="connsiteY186" fmla="*/ 2350624 h 5129212"/>
              <a:gd name="connsiteX187" fmla="*/ 2822010 w 6573406"/>
              <a:gd name="connsiteY187" fmla="*/ 2355704 h 5129212"/>
              <a:gd name="connsiteX188" fmla="*/ 2818520 w 6573406"/>
              <a:gd name="connsiteY188" fmla="*/ 2361101 h 5129212"/>
              <a:gd name="connsiteX189" fmla="*/ 2815728 w 6573406"/>
              <a:gd name="connsiteY189" fmla="*/ 2366181 h 5129212"/>
              <a:gd name="connsiteX190" fmla="*/ 2812936 w 6573406"/>
              <a:gd name="connsiteY190" fmla="*/ 2371896 h 5129212"/>
              <a:gd name="connsiteX191" fmla="*/ 2810493 w 6573406"/>
              <a:gd name="connsiteY191" fmla="*/ 2377293 h 5129212"/>
              <a:gd name="connsiteX192" fmla="*/ 2808399 w 6573406"/>
              <a:gd name="connsiteY192" fmla="*/ 2383007 h 5129212"/>
              <a:gd name="connsiteX193" fmla="*/ 2806305 w 6573406"/>
              <a:gd name="connsiteY193" fmla="*/ 2388405 h 5129212"/>
              <a:gd name="connsiteX194" fmla="*/ 2804909 w 6573406"/>
              <a:gd name="connsiteY194" fmla="*/ 2394437 h 5129212"/>
              <a:gd name="connsiteX195" fmla="*/ 2803513 w 6573406"/>
              <a:gd name="connsiteY195" fmla="*/ 2400469 h 5129212"/>
              <a:gd name="connsiteX196" fmla="*/ 2802466 w 6573406"/>
              <a:gd name="connsiteY196" fmla="*/ 2406501 h 5129212"/>
              <a:gd name="connsiteX197" fmla="*/ 2801768 w 6573406"/>
              <a:gd name="connsiteY197" fmla="*/ 2412216 h 5129212"/>
              <a:gd name="connsiteX198" fmla="*/ 2801419 w 6573406"/>
              <a:gd name="connsiteY198" fmla="*/ 2418248 h 5129212"/>
              <a:gd name="connsiteX199" fmla="*/ 2801419 w 6573406"/>
              <a:gd name="connsiteY199" fmla="*/ 2424280 h 5129212"/>
              <a:gd name="connsiteX200" fmla="*/ 2801419 w 6573406"/>
              <a:gd name="connsiteY200" fmla="*/ 2429994 h 5129212"/>
              <a:gd name="connsiteX201" fmla="*/ 2801768 w 6573406"/>
              <a:gd name="connsiteY201" fmla="*/ 2436027 h 5129212"/>
              <a:gd name="connsiteX202" fmla="*/ 2802466 w 6573406"/>
              <a:gd name="connsiteY202" fmla="*/ 2442059 h 5129212"/>
              <a:gd name="connsiteX203" fmla="*/ 2803513 w 6573406"/>
              <a:gd name="connsiteY203" fmla="*/ 2447773 h 5129212"/>
              <a:gd name="connsiteX204" fmla="*/ 2804909 w 6573406"/>
              <a:gd name="connsiteY204" fmla="*/ 2453805 h 5129212"/>
              <a:gd name="connsiteX205" fmla="*/ 2806305 w 6573406"/>
              <a:gd name="connsiteY205" fmla="*/ 2459838 h 5129212"/>
              <a:gd name="connsiteX206" fmla="*/ 2808399 w 6573406"/>
              <a:gd name="connsiteY206" fmla="*/ 2465235 h 5129212"/>
              <a:gd name="connsiteX207" fmla="*/ 2810493 w 6573406"/>
              <a:gd name="connsiteY207" fmla="*/ 2470949 h 5129212"/>
              <a:gd name="connsiteX208" fmla="*/ 2812936 w 6573406"/>
              <a:gd name="connsiteY208" fmla="*/ 2476347 h 5129212"/>
              <a:gd name="connsiteX209" fmla="*/ 2815728 w 6573406"/>
              <a:gd name="connsiteY209" fmla="*/ 2482061 h 5129212"/>
              <a:gd name="connsiteX210" fmla="*/ 2818520 w 6573406"/>
              <a:gd name="connsiteY210" fmla="*/ 2487458 h 5129212"/>
              <a:gd name="connsiteX211" fmla="*/ 2822010 w 6573406"/>
              <a:gd name="connsiteY211" fmla="*/ 2492538 h 5129212"/>
              <a:gd name="connsiteX212" fmla="*/ 2825500 w 6573406"/>
              <a:gd name="connsiteY212" fmla="*/ 2497935 h 5129212"/>
              <a:gd name="connsiteX213" fmla="*/ 2829339 w 6573406"/>
              <a:gd name="connsiteY213" fmla="*/ 2502697 h 5129212"/>
              <a:gd name="connsiteX214" fmla="*/ 2833527 w 6573406"/>
              <a:gd name="connsiteY214" fmla="*/ 2507460 h 5129212"/>
              <a:gd name="connsiteX215" fmla="*/ 2837715 w 6573406"/>
              <a:gd name="connsiteY215" fmla="*/ 2512222 h 5129212"/>
              <a:gd name="connsiteX216" fmla="*/ 4276989 w 6573406"/>
              <a:gd name="connsiteY216" fmla="*/ 3949455 h 5129212"/>
              <a:gd name="connsiteX217" fmla="*/ 4281177 w 6573406"/>
              <a:gd name="connsiteY217" fmla="*/ 3953900 h 5129212"/>
              <a:gd name="connsiteX218" fmla="*/ 4285365 w 6573406"/>
              <a:gd name="connsiteY218" fmla="*/ 3958980 h 5129212"/>
              <a:gd name="connsiteX219" fmla="*/ 4289204 w 6573406"/>
              <a:gd name="connsiteY219" fmla="*/ 3963742 h 5129212"/>
              <a:gd name="connsiteX220" fmla="*/ 4292694 w 6573406"/>
              <a:gd name="connsiteY220" fmla="*/ 3968822 h 5129212"/>
              <a:gd name="connsiteX221" fmla="*/ 4296184 w 6573406"/>
              <a:gd name="connsiteY221" fmla="*/ 3974219 h 5129212"/>
              <a:gd name="connsiteX222" fmla="*/ 4298976 w 6573406"/>
              <a:gd name="connsiteY222" fmla="*/ 3979298 h 5129212"/>
              <a:gd name="connsiteX223" fmla="*/ 4301768 w 6573406"/>
              <a:gd name="connsiteY223" fmla="*/ 3985013 h 5129212"/>
              <a:gd name="connsiteX224" fmla="*/ 4304211 w 6573406"/>
              <a:gd name="connsiteY224" fmla="*/ 3990728 h 5129212"/>
              <a:gd name="connsiteX225" fmla="*/ 4306305 w 6573406"/>
              <a:gd name="connsiteY225" fmla="*/ 3996125 h 5129212"/>
              <a:gd name="connsiteX226" fmla="*/ 4308050 w 6573406"/>
              <a:gd name="connsiteY226" fmla="*/ 4001840 h 5129212"/>
              <a:gd name="connsiteX227" fmla="*/ 4309795 w 6573406"/>
              <a:gd name="connsiteY227" fmla="*/ 4007554 h 5129212"/>
              <a:gd name="connsiteX228" fmla="*/ 4311191 w 6573406"/>
              <a:gd name="connsiteY228" fmla="*/ 4013586 h 5129212"/>
              <a:gd name="connsiteX229" fmla="*/ 4311889 w 6573406"/>
              <a:gd name="connsiteY229" fmla="*/ 4019618 h 5129212"/>
              <a:gd name="connsiteX230" fmla="*/ 4312587 w 6573406"/>
              <a:gd name="connsiteY230" fmla="*/ 4025333 h 5129212"/>
              <a:gd name="connsiteX231" fmla="*/ 4313285 w 6573406"/>
              <a:gd name="connsiteY231" fmla="*/ 4031365 h 5129212"/>
              <a:gd name="connsiteX232" fmla="*/ 4313285 w 6573406"/>
              <a:gd name="connsiteY232" fmla="*/ 4037397 h 5129212"/>
              <a:gd name="connsiteX233" fmla="*/ 4313285 w 6573406"/>
              <a:gd name="connsiteY233" fmla="*/ 4043429 h 5129212"/>
              <a:gd name="connsiteX234" fmla="*/ 4312587 w 6573406"/>
              <a:gd name="connsiteY234" fmla="*/ 4049144 h 5129212"/>
              <a:gd name="connsiteX235" fmla="*/ 4311889 w 6573406"/>
              <a:gd name="connsiteY235" fmla="*/ 4055176 h 5129212"/>
              <a:gd name="connsiteX236" fmla="*/ 4311191 w 6573406"/>
              <a:gd name="connsiteY236" fmla="*/ 4061208 h 5129212"/>
              <a:gd name="connsiteX237" fmla="*/ 4309795 w 6573406"/>
              <a:gd name="connsiteY237" fmla="*/ 4066923 h 5129212"/>
              <a:gd name="connsiteX238" fmla="*/ 4308050 w 6573406"/>
              <a:gd name="connsiteY238" fmla="*/ 4072955 h 5129212"/>
              <a:gd name="connsiteX239" fmla="*/ 4306305 w 6573406"/>
              <a:gd name="connsiteY239" fmla="*/ 4078670 h 5129212"/>
              <a:gd name="connsiteX240" fmla="*/ 4304211 w 6573406"/>
              <a:gd name="connsiteY240" fmla="*/ 4084067 h 5129212"/>
              <a:gd name="connsiteX241" fmla="*/ 4301768 w 6573406"/>
              <a:gd name="connsiteY241" fmla="*/ 4089782 h 5129212"/>
              <a:gd name="connsiteX242" fmla="*/ 4298976 w 6573406"/>
              <a:gd name="connsiteY242" fmla="*/ 4095179 h 5129212"/>
              <a:gd name="connsiteX243" fmla="*/ 4296184 w 6573406"/>
              <a:gd name="connsiteY243" fmla="*/ 4100576 h 5129212"/>
              <a:gd name="connsiteX244" fmla="*/ 4292694 w 6573406"/>
              <a:gd name="connsiteY244" fmla="*/ 4105656 h 5129212"/>
              <a:gd name="connsiteX245" fmla="*/ 4289204 w 6573406"/>
              <a:gd name="connsiteY245" fmla="*/ 4111053 h 5129212"/>
              <a:gd name="connsiteX246" fmla="*/ 4285365 w 6573406"/>
              <a:gd name="connsiteY246" fmla="*/ 4115815 h 5129212"/>
              <a:gd name="connsiteX247" fmla="*/ 4281177 w 6573406"/>
              <a:gd name="connsiteY247" fmla="*/ 4120895 h 5129212"/>
              <a:gd name="connsiteX248" fmla="*/ 4276989 w 6573406"/>
              <a:gd name="connsiteY248" fmla="*/ 4125339 h 5129212"/>
              <a:gd name="connsiteX249" fmla="*/ 4272801 w 6573406"/>
              <a:gd name="connsiteY249" fmla="*/ 4129149 h 5129212"/>
              <a:gd name="connsiteX250" fmla="*/ 4268613 w 6573406"/>
              <a:gd name="connsiteY250" fmla="*/ 4132959 h 5129212"/>
              <a:gd name="connsiteX251" fmla="*/ 4264425 w 6573406"/>
              <a:gd name="connsiteY251" fmla="*/ 4136134 h 5129212"/>
              <a:gd name="connsiteX252" fmla="*/ 4259888 w 6573406"/>
              <a:gd name="connsiteY252" fmla="*/ 4139626 h 5129212"/>
              <a:gd name="connsiteX253" fmla="*/ 4255700 w 6573406"/>
              <a:gd name="connsiteY253" fmla="*/ 4142483 h 5129212"/>
              <a:gd name="connsiteX254" fmla="*/ 4250814 w 6573406"/>
              <a:gd name="connsiteY254" fmla="*/ 4145023 h 5129212"/>
              <a:gd name="connsiteX255" fmla="*/ 4246277 w 6573406"/>
              <a:gd name="connsiteY255" fmla="*/ 4147880 h 5129212"/>
              <a:gd name="connsiteX256" fmla="*/ 4241391 w 6573406"/>
              <a:gd name="connsiteY256" fmla="*/ 4150103 h 5129212"/>
              <a:gd name="connsiteX257" fmla="*/ 4236854 w 6573406"/>
              <a:gd name="connsiteY257" fmla="*/ 4152008 h 5129212"/>
              <a:gd name="connsiteX258" fmla="*/ 4231619 w 6573406"/>
              <a:gd name="connsiteY258" fmla="*/ 4154230 h 5129212"/>
              <a:gd name="connsiteX259" fmla="*/ 4226733 w 6573406"/>
              <a:gd name="connsiteY259" fmla="*/ 4156135 h 5129212"/>
              <a:gd name="connsiteX260" fmla="*/ 4221847 w 6573406"/>
              <a:gd name="connsiteY260" fmla="*/ 4157405 h 5129212"/>
              <a:gd name="connsiteX261" fmla="*/ 4216612 w 6573406"/>
              <a:gd name="connsiteY261" fmla="*/ 4158675 h 5129212"/>
              <a:gd name="connsiteX262" fmla="*/ 4211726 w 6573406"/>
              <a:gd name="connsiteY262" fmla="*/ 4159945 h 5129212"/>
              <a:gd name="connsiteX263" fmla="*/ 4206491 w 6573406"/>
              <a:gd name="connsiteY263" fmla="*/ 4160580 h 5129212"/>
              <a:gd name="connsiteX264" fmla="*/ 4201256 w 6573406"/>
              <a:gd name="connsiteY264" fmla="*/ 4161215 h 5129212"/>
              <a:gd name="connsiteX265" fmla="*/ 4196022 w 6573406"/>
              <a:gd name="connsiteY265" fmla="*/ 4161532 h 5129212"/>
              <a:gd name="connsiteX266" fmla="*/ 4191135 w 6573406"/>
              <a:gd name="connsiteY266" fmla="*/ 4161532 h 5129212"/>
              <a:gd name="connsiteX267" fmla="*/ 4185900 w 6573406"/>
              <a:gd name="connsiteY267" fmla="*/ 4161532 h 5129212"/>
              <a:gd name="connsiteX268" fmla="*/ 4180665 w 6573406"/>
              <a:gd name="connsiteY268" fmla="*/ 4161532 h 5129212"/>
              <a:gd name="connsiteX269" fmla="*/ 4175430 w 6573406"/>
              <a:gd name="connsiteY269" fmla="*/ 4160897 h 5129212"/>
              <a:gd name="connsiteX270" fmla="*/ 4170195 w 6573406"/>
              <a:gd name="connsiteY270" fmla="*/ 4160580 h 5129212"/>
              <a:gd name="connsiteX271" fmla="*/ 4165309 w 6573406"/>
              <a:gd name="connsiteY271" fmla="*/ 4159627 h 5129212"/>
              <a:gd name="connsiteX272" fmla="*/ 4159725 w 6573406"/>
              <a:gd name="connsiteY272" fmla="*/ 4158357 h 5129212"/>
              <a:gd name="connsiteX273" fmla="*/ 4154490 w 6573406"/>
              <a:gd name="connsiteY273" fmla="*/ 4157087 h 5129212"/>
              <a:gd name="connsiteX274" fmla="*/ 4149604 w 6573406"/>
              <a:gd name="connsiteY274" fmla="*/ 4155500 h 5129212"/>
              <a:gd name="connsiteX275" fmla="*/ 4144718 w 6573406"/>
              <a:gd name="connsiteY275" fmla="*/ 4153913 h 5129212"/>
              <a:gd name="connsiteX276" fmla="*/ 4139832 w 6573406"/>
              <a:gd name="connsiteY276" fmla="*/ 4151690 h 5129212"/>
              <a:gd name="connsiteX277" fmla="*/ 4134946 w 6573406"/>
              <a:gd name="connsiteY277" fmla="*/ 4149785 h 5129212"/>
              <a:gd name="connsiteX278" fmla="*/ 4130409 w 6573406"/>
              <a:gd name="connsiteY278" fmla="*/ 4147246 h 5129212"/>
              <a:gd name="connsiteX279" fmla="*/ 4125523 w 6573406"/>
              <a:gd name="connsiteY279" fmla="*/ 4144706 h 5129212"/>
              <a:gd name="connsiteX280" fmla="*/ 4120986 w 6573406"/>
              <a:gd name="connsiteY280" fmla="*/ 4142166 h 5129212"/>
              <a:gd name="connsiteX281" fmla="*/ 0 w 6573406"/>
              <a:gd name="connsiteY281" fmla="*/ 0 h 5129212"/>
              <a:gd name="connsiteX0" fmla="*/ 0 w 6573406"/>
              <a:gd name="connsiteY0" fmla="*/ 0 h 5129212"/>
              <a:gd name="connsiteX1" fmla="*/ 0 w 6573406"/>
              <a:gd name="connsiteY1" fmla="*/ 5129212 h 5129212"/>
              <a:gd name="connsiteX2" fmla="*/ 6573406 w 6573406"/>
              <a:gd name="connsiteY2" fmla="*/ 5129212 h 5129212"/>
              <a:gd name="connsiteX3" fmla="*/ 3968474 w 6573406"/>
              <a:gd name="connsiteY3" fmla="*/ 2531906 h 5129212"/>
              <a:gd name="connsiteX4" fmla="*/ 3962541 w 6573406"/>
              <a:gd name="connsiteY4" fmla="*/ 2531906 h 5129212"/>
              <a:gd name="connsiteX5" fmla="*/ 3956259 w 6573406"/>
              <a:gd name="connsiteY5" fmla="*/ 2531588 h 5129212"/>
              <a:gd name="connsiteX6" fmla="*/ 3950326 w 6573406"/>
              <a:gd name="connsiteY6" fmla="*/ 2530953 h 5129212"/>
              <a:gd name="connsiteX7" fmla="*/ 3944393 w 6573406"/>
              <a:gd name="connsiteY7" fmla="*/ 2530001 h 5129212"/>
              <a:gd name="connsiteX8" fmla="*/ 3938460 w 6573406"/>
              <a:gd name="connsiteY8" fmla="*/ 2528731 h 5129212"/>
              <a:gd name="connsiteX9" fmla="*/ 3932527 w 6573406"/>
              <a:gd name="connsiteY9" fmla="*/ 2527143 h 5129212"/>
              <a:gd name="connsiteX10" fmla="*/ 3926943 w 6573406"/>
              <a:gd name="connsiteY10" fmla="*/ 2525239 h 5129212"/>
              <a:gd name="connsiteX11" fmla="*/ 3921010 w 6573406"/>
              <a:gd name="connsiteY11" fmla="*/ 2523334 h 5129212"/>
              <a:gd name="connsiteX12" fmla="*/ 3915426 w 6573406"/>
              <a:gd name="connsiteY12" fmla="*/ 2520794 h 5129212"/>
              <a:gd name="connsiteX13" fmla="*/ 3909842 w 6573406"/>
              <a:gd name="connsiteY13" fmla="*/ 2517937 h 5129212"/>
              <a:gd name="connsiteX14" fmla="*/ 3904258 w 6573406"/>
              <a:gd name="connsiteY14" fmla="*/ 2515079 h 5129212"/>
              <a:gd name="connsiteX15" fmla="*/ 3899023 w 6573406"/>
              <a:gd name="connsiteY15" fmla="*/ 2511587 h 5129212"/>
              <a:gd name="connsiteX16" fmla="*/ 3893788 w 6573406"/>
              <a:gd name="connsiteY16" fmla="*/ 2508095 h 5129212"/>
              <a:gd name="connsiteX17" fmla="*/ 3888902 w 6573406"/>
              <a:gd name="connsiteY17" fmla="*/ 2504285 h 5129212"/>
              <a:gd name="connsiteX18" fmla="*/ 3884016 w 6573406"/>
              <a:gd name="connsiteY18" fmla="*/ 2500158 h 5129212"/>
              <a:gd name="connsiteX19" fmla="*/ 3879130 w 6573406"/>
              <a:gd name="connsiteY19" fmla="*/ 2495713 h 5129212"/>
              <a:gd name="connsiteX20" fmla="*/ 3266286 w 6573406"/>
              <a:gd name="connsiteY20" fmla="*/ 1883611 h 5129212"/>
              <a:gd name="connsiteX21" fmla="*/ 3261400 w 6573406"/>
              <a:gd name="connsiteY21" fmla="*/ 1879484 h 5129212"/>
              <a:gd name="connsiteX22" fmla="*/ 3256864 w 6573406"/>
              <a:gd name="connsiteY22" fmla="*/ 1875356 h 5129212"/>
              <a:gd name="connsiteX23" fmla="*/ 3251628 w 6573406"/>
              <a:gd name="connsiteY23" fmla="*/ 1871547 h 5129212"/>
              <a:gd name="connsiteX24" fmla="*/ 3246742 w 6573406"/>
              <a:gd name="connsiteY24" fmla="*/ 1868054 h 5129212"/>
              <a:gd name="connsiteX25" fmla="*/ 3241508 w 6573406"/>
              <a:gd name="connsiteY25" fmla="*/ 1864562 h 5129212"/>
              <a:gd name="connsiteX26" fmla="*/ 3235924 w 6573406"/>
              <a:gd name="connsiteY26" fmla="*/ 1861705 h 5129212"/>
              <a:gd name="connsiteX27" fmla="*/ 3230688 w 6573406"/>
              <a:gd name="connsiteY27" fmla="*/ 1858847 h 5129212"/>
              <a:gd name="connsiteX28" fmla="*/ 3225104 w 6573406"/>
              <a:gd name="connsiteY28" fmla="*/ 1856308 h 5129212"/>
              <a:gd name="connsiteX29" fmla="*/ 3219172 w 6573406"/>
              <a:gd name="connsiteY29" fmla="*/ 1854403 h 5129212"/>
              <a:gd name="connsiteX30" fmla="*/ 3213588 w 6573406"/>
              <a:gd name="connsiteY30" fmla="*/ 1852180 h 5129212"/>
              <a:gd name="connsiteX31" fmla="*/ 3207654 w 6573406"/>
              <a:gd name="connsiteY31" fmla="*/ 1850910 h 5129212"/>
              <a:gd name="connsiteX32" fmla="*/ 3202070 w 6573406"/>
              <a:gd name="connsiteY32" fmla="*/ 1849323 h 5129212"/>
              <a:gd name="connsiteX33" fmla="*/ 3196138 w 6573406"/>
              <a:gd name="connsiteY33" fmla="*/ 1848371 h 5129212"/>
              <a:gd name="connsiteX34" fmla="*/ 3190205 w 6573406"/>
              <a:gd name="connsiteY34" fmla="*/ 1847736 h 5129212"/>
              <a:gd name="connsiteX35" fmla="*/ 3184272 w 6573406"/>
              <a:gd name="connsiteY35" fmla="*/ 1847418 h 5129212"/>
              <a:gd name="connsiteX36" fmla="*/ 3177990 w 6573406"/>
              <a:gd name="connsiteY36" fmla="*/ 1847418 h 5129212"/>
              <a:gd name="connsiteX37" fmla="*/ 3172057 w 6573406"/>
              <a:gd name="connsiteY37" fmla="*/ 1847418 h 5129212"/>
              <a:gd name="connsiteX38" fmla="*/ 3166124 w 6573406"/>
              <a:gd name="connsiteY38" fmla="*/ 1847736 h 5129212"/>
              <a:gd name="connsiteX39" fmla="*/ 3160191 w 6573406"/>
              <a:gd name="connsiteY39" fmla="*/ 1848371 h 5129212"/>
              <a:gd name="connsiteX40" fmla="*/ 3154258 w 6573406"/>
              <a:gd name="connsiteY40" fmla="*/ 1849323 h 5129212"/>
              <a:gd name="connsiteX41" fmla="*/ 3148325 w 6573406"/>
              <a:gd name="connsiteY41" fmla="*/ 1850910 h 5129212"/>
              <a:gd name="connsiteX42" fmla="*/ 3142741 w 6573406"/>
              <a:gd name="connsiteY42" fmla="*/ 1852180 h 5129212"/>
              <a:gd name="connsiteX43" fmla="*/ 3136808 w 6573406"/>
              <a:gd name="connsiteY43" fmla="*/ 1854403 h 5129212"/>
              <a:gd name="connsiteX44" fmla="*/ 3131224 w 6573406"/>
              <a:gd name="connsiteY44" fmla="*/ 1856308 h 5129212"/>
              <a:gd name="connsiteX45" fmla="*/ 3125640 w 6573406"/>
              <a:gd name="connsiteY45" fmla="*/ 1858847 h 5129212"/>
              <a:gd name="connsiteX46" fmla="*/ 3120405 w 6573406"/>
              <a:gd name="connsiteY46" fmla="*/ 1861705 h 5129212"/>
              <a:gd name="connsiteX47" fmla="*/ 3114821 w 6573406"/>
              <a:gd name="connsiteY47" fmla="*/ 1864562 h 5129212"/>
              <a:gd name="connsiteX48" fmla="*/ 3109586 w 6573406"/>
              <a:gd name="connsiteY48" fmla="*/ 1868054 h 5129212"/>
              <a:gd name="connsiteX49" fmla="*/ 3104351 w 6573406"/>
              <a:gd name="connsiteY49" fmla="*/ 1871547 h 5129212"/>
              <a:gd name="connsiteX50" fmla="*/ 3099465 w 6573406"/>
              <a:gd name="connsiteY50" fmla="*/ 1875356 h 5129212"/>
              <a:gd name="connsiteX51" fmla="*/ 3094579 w 6573406"/>
              <a:gd name="connsiteY51" fmla="*/ 1879484 h 5129212"/>
              <a:gd name="connsiteX52" fmla="*/ 3090042 w 6573406"/>
              <a:gd name="connsiteY52" fmla="*/ 1883611 h 5129212"/>
              <a:gd name="connsiteX53" fmla="*/ 3085505 w 6573406"/>
              <a:gd name="connsiteY53" fmla="*/ 1888373 h 5129212"/>
              <a:gd name="connsiteX54" fmla="*/ 3081666 w 6573406"/>
              <a:gd name="connsiteY54" fmla="*/ 1893135 h 5129212"/>
              <a:gd name="connsiteX55" fmla="*/ 3077827 w 6573406"/>
              <a:gd name="connsiteY55" fmla="*/ 1898215 h 5129212"/>
              <a:gd name="connsiteX56" fmla="*/ 3073988 w 6573406"/>
              <a:gd name="connsiteY56" fmla="*/ 1903295 h 5129212"/>
              <a:gd name="connsiteX57" fmla="*/ 3070847 w 6573406"/>
              <a:gd name="connsiteY57" fmla="*/ 1908374 h 5129212"/>
              <a:gd name="connsiteX58" fmla="*/ 3067706 w 6573406"/>
              <a:gd name="connsiteY58" fmla="*/ 1914089 h 5129212"/>
              <a:gd name="connsiteX59" fmla="*/ 3065263 w 6573406"/>
              <a:gd name="connsiteY59" fmla="*/ 1919169 h 5129212"/>
              <a:gd name="connsiteX60" fmla="*/ 3062820 w 6573406"/>
              <a:gd name="connsiteY60" fmla="*/ 1924883 h 5129212"/>
              <a:gd name="connsiteX61" fmla="*/ 3060726 w 6573406"/>
              <a:gd name="connsiteY61" fmla="*/ 1930281 h 5129212"/>
              <a:gd name="connsiteX62" fmla="*/ 3058632 w 6573406"/>
              <a:gd name="connsiteY62" fmla="*/ 1936313 h 5129212"/>
              <a:gd name="connsiteX63" fmla="*/ 3057236 w 6573406"/>
              <a:gd name="connsiteY63" fmla="*/ 1942345 h 5129212"/>
              <a:gd name="connsiteX64" fmla="*/ 3055840 w 6573406"/>
              <a:gd name="connsiteY64" fmla="*/ 1947742 h 5129212"/>
              <a:gd name="connsiteX65" fmla="*/ 3054793 w 6573406"/>
              <a:gd name="connsiteY65" fmla="*/ 1953774 h 5129212"/>
              <a:gd name="connsiteX66" fmla="*/ 3054095 w 6573406"/>
              <a:gd name="connsiteY66" fmla="*/ 1959806 h 5129212"/>
              <a:gd name="connsiteX67" fmla="*/ 3053746 w 6573406"/>
              <a:gd name="connsiteY67" fmla="*/ 1965521 h 5129212"/>
              <a:gd name="connsiteX68" fmla="*/ 3053746 w 6573406"/>
              <a:gd name="connsiteY68" fmla="*/ 1971870 h 5129212"/>
              <a:gd name="connsiteX69" fmla="*/ 3053746 w 6573406"/>
              <a:gd name="connsiteY69" fmla="*/ 1977903 h 5129212"/>
              <a:gd name="connsiteX70" fmla="*/ 3054095 w 6573406"/>
              <a:gd name="connsiteY70" fmla="*/ 1983617 h 5129212"/>
              <a:gd name="connsiteX71" fmla="*/ 3054793 w 6573406"/>
              <a:gd name="connsiteY71" fmla="*/ 1989649 h 5129212"/>
              <a:gd name="connsiteX72" fmla="*/ 3055840 w 6573406"/>
              <a:gd name="connsiteY72" fmla="*/ 1995681 h 5129212"/>
              <a:gd name="connsiteX73" fmla="*/ 3057236 w 6573406"/>
              <a:gd name="connsiteY73" fmla="*/ 2001079 h 5129212"/>
              <a:gd name="connsiteX74" fmla="*/ 3058632 w 6573406"/>
              <a:gd name="connsiteY74" fmla="*/ 2007111 h 5129212"/>
              <a:gd name="connsiteX75" fmla="*/ 3060726 w 6573406"/>
              <a:gd name="connsiteY75" fmla="*/ 2013143 h 5129212"/>
              <a:gd name="connsiteX76" fmla="*/ 3062820 w 6573406"/>
              <a:gd name="connsiteY76" fmla="*/ 2018540 h 5129212"/>
              <a:gd name="connsiteX77" fmla="*/ 3065263 w 6573406"/>
              <a:gd name="connsiteY77" fmla="*/ 2024255 h 5129212"/>
              <a:gd name="connsiteX78" fmla="*/ 3067706 w 6573406"/>
              <a:gd name="connsiteY78" fmla="*/ 2029334 h 5129212"/>
              <a:gd name="connsiteX79" fmla="*/ 3070847 w 6573406"/>
              <a:gd name="connsiteY79" fmla="*/ 2035049 h 5129212"/>
              <a:gd name="connsiteX80" fmla="*/ 3073988 w 6573406"/>
              <a:gd name="connsiteY80" fmla="*/ 2040446 h 5129212"/>
              <a:gd name="connsiteX81" fmla="*/ 3077827 w 6573406"/>
              <a:gd name="connsiteY81" fmla="*/ 2045208 h 5129212"/>
              <a:gd name="connsiteX82" fmla="*/ 3081666 w 6573406"/>
              <a:gd name="connsiteY82" fmla="*/ 2050288 h 5129212"/>
              <a:gd name="connsiteX83" fmla="*/ 3085505 w 6573406"/>
              <a:gd name="connsiteY83" fmla="*/ 2055368 h 5129212"/>
              <a:gd name="connsiteX84" fmla="*/ 3090042 w 6573406"/>
              <a:gd name="connsiteY84" fmla="*/ 2059812 h 5129212"/>
              <a:gd name="connsiteX85" fmla="*/ 3916473 w 6573406"/>
              <a:gd name="connsiteY85" fmla="*/ 2884626 h 5129212"/>
              <a:gd name="connsiteX86" fmla="*/ 3920661 w 6573406"/>
              <a:gd name="connsiteY86" fmla="*/ 2889706 h 5129212"/>
              <a:gd name="connsiteX87" fmla="*/ 3924849 w 6573406"/>
              <a:gd name="connsiteY87" fmla="*/ 2894151 h 5129212"/>
              <a:gd name="connsiteX88" fmla="*/ 3928688 w 6573406"/>
              <a:gd name="connsiteY88" fmla="*/ 2899548 h 5129212"/>
              <a:gd name="connsiteX89" fmla="*/ 3932178 w 6573406"/>
              <a:gd name="connsiteY89" fmla="*/ 2904310 h 5129212"/>
              <a:gd name="connsiteX90" fmla="*/ 3935668 w 6573406"/>
              <a:gd name="connsiteY90" fmla="*/ 2909390 h 5129212"/>
              <a:gd name="connsiteX91" fmla="*/ 3938460 w 6573406"/>
              <a:gd name="connsiteY91" fmla="*/ 2915104 h 5129212"/>
              <a:gd name="connsiteX92" fmla="*/ 3941252 w 6573406"/>
              <a:gd name="connsiteY92" fmla="*/ 2920502 h 5129212"/>
              <a:gd name="connsiteX93" fmla="*/ 3943695 w 6573406"/>
              <a:gd name="connsiteY93" fmla="*/ 2925899 h 5129212"/>
              <a:gd name="connsiteX94" fmla="*/ 3945789 w 6573406"/>
              <a:gd name="connsiteY94" fmla="*/ 2931613 h 5129212"/>
              <a:gd name="connsiteX95" fmla="*/ 3947534 w 6573406"/>
              <a:gd name="connsiteY95" fmla="*/ 2937328 h 5129212"/>
              <a:gd name="connsiteX96" fmla="*/ 3949279 w 6573406"/>
              <a:gd name="connsiteY96" fmla="*/ 2943360 h 5129212"/>
              <a:gd name="connsiteX97" fmla="*/ 3950675 w 6573406"/>
              <a:gd name="connsiteY97" fmla="*/ 2949075 h 5129212"/>
              <a:gd name="connsiteX98" fmla="*/ 3951373 w 6573406"/>
              <a:gd name="connsiteY98" fmla="*/ 2954789 h 5129212"/>
              <a:gd name="connsiteX99" fmla="*/ 3952071 w 6573406"/>
              <a:gd name="connsiteY99" fmla="*/ 2960822 h 5129212"/>
              <a:gd name="connsiteX100" fmla="*/ 3952769 w 6573406"/>
              <a:gd name="connsiteY100" fmla="*/ 2966854 h 5129212"/>
              <a:gd name="connsiteX101" fmla="*/ 3952769 w 6573406"/>
              <a:gd name="connsiteY101" fmla="*/ 2973203 h 5129212"/>
              <a:gd name="connsiteX102" fmla="*/ 3952769 w 6573406"/>
              <a:gd name="connsiteY102" fmla="*/ 2978918 h 5129212"/>
              <a:gd name="connsiteX103" fmla="*/ 3952071 w 6573406"/>
              <a:gd name="connsiteY103" fmla="*/ 2984950 h 5129212"/>
              <a:gd name="connsiteX104" fmla="*/ 3951373 w 6573406"/>
              <a:gd name="connsiteY104" fmla="*/ 2990982 h 5129212"/>
              <a:gd name="connsiteX105" fmla="*/ 3950675 w 6573406"/>
              <a:gd name="connsiteY105" fmla="*/ 2996697 h 5129212"/>
              <a:gd name="connsiteX106" fmla="*/ 3949279 w 6573406"/>
              <a:gd name="connsiteY106" fmla="*/ 3002411 h 5129212"/>
              <a:gd name="connsiteX107" fmla="*/ 3947534 w 6573406"/>
              <a:gd name="connsiteY107" fmla="*/ 3008444 h 5129212"/>
              <a:gd name="connsiteX108" fmla="*/ 3945789 w 6573406"/>
              <a:gd name="connsiteY108" fmla="*/ 3014158 h 5129212"/>
              <a:gd name="connsiteX109" fmla="*/ 3943695 w 6573406"/>
              <a:gd name="connsiteY109" fmla="*/ 3019873 h 5129212"/>
              <a:gd name="connsiteX110" fmla="*/ 3941252 w 6573406"/>
              <a:gd name="connsiteY110" fmla="*/ 3025270 h 5129212"/>
              <a:gd name="connsiteX111" fmla="*/ 3938460 w 6573406"/>
              <a:gd name="connsiteY111" fmla="*/ 3030667 h 5129212"/>
              <a:gd name="connsiteX112" fmla="*/ 3935668 w 6573406"/>
              <a:gd name="connsiteY112" fmla="*/ 3036064 h 5129212"/>
              <a:gd name="connsiteX113" fmla="*/ 3932178 w 6573406"/>
              <a:gd name="connsiteY113" fmla="*/ 3041462 h 5129212"/>
              <a:gd name="connsiteX114" fmla="*/ 3928688 w 6573406"/>
              <a:gd name="connsiteY114" fmla="*/ 3046224 h 5129212"/>
              <a:gd name="connsiteX115" fmla="*/ 3924849 w 6573406"/>
              <a:gd name="connsiteY115" fmla="*/ 3051621 h 5129212"/>
              <a:gd name="connsiteX116" fmla="*/ 3920661 w 6573406"/>
              <a:gd name="connsiteY116" fmla="*/ 3056066 h 5129212"/>
              <a:gd name="connsiteX117" fmla="*/ 3916473 w 6573406"/>
              <a:gd name="connsiteY117" fmla="*/ 3060828 h 5129212"/>
              <a:gd name="connsiteX118" fmla="*/ 3911587 w 6573406"/>
              <a:gd name="connsiteY118" fmla="*/ 3065273 h 5129212"/>
              <a:gd name="connsiteX119" fmla="*/ 3906701 w 6573406"/>
              <a:gd name="connsiteY119" fmla="*/ 3069400 h 5129212"/>
              <a:gd name="connsiteX120" fmla="*/ 3901815 w 6573406"/>
              <a:gd name="connsiteY120" fmla="*/ 3073210 h 5129212"/>
              <a:gd name="connsiteX121" fmla="*/ 3896929 w 6573406"/>
              <a:gd name="connsiteY121" fmla="*/ 3077019 h 5129212"/>
              <a:gd name="connsiteX122" fmla="*/ 3891694 w 6573406"/>
              <a:gd name="connsiteY122" fmla="*/ 3080194 h 5129212"/>
              <a:gd name="connsiteX123" fmla="*/ 3886110 w 6573406"/>
              <a:gd name="connsiteY123" fmla="*/ 3083051 h 5129212"/>
              <a:gd name="connsiteX124" fmla="*/ 3880177 w 6573406"/>
              <a:gd name="connsiteY124" fmla="*/ 3085909 h 5129212"/>
              <a:gd name="connsiteX125" fmla="*/ 3874593 w 6573406"/>
              <a:gd name="connsiteY125" fmla="*/ 3088131 h 5129212"/>
              <a:gd name="connsiteX126" fmla="*/ 3869009 w 6573406"/>
              <a:gd name="connsiteY126" fmla="*/ 3090354 h 5129212"/>
              <a:gd name="connsiteX127" fmla="*/ 3863425 w 6573406"/>
              <a:gd name="connsiteY127" fmla="*/ 3092258 h 5129212"/>
              <a:gd name="connsiteX128" fmla="*/ 3857492 w 6573406"/>
              <a:gd name="connsiteY128" fmla="*/ 3093846 h 5129212"/>
              <a:gd name="connsiteX129" fmla="*/ 3851559 w 6573406"/>
              <a:gd name="connsiteY129" fmla="*/ 3095116 h 5129212"/>
              <a:gd name="connsiteX130" fmla="*/ 3845626 w 6573406"/>
              <a:gd name="connsiteY130" fmla="*/ 3096068 h 5129212"/>
              <a:gd name="connsiteX131" fmla="*/ 3839693 w 6573406"/>
              <a:gd name="connsiteY131" fmla="*/ 3097021 h 5129212"/>
              <a:gd name="connsiteX132" fmla="*/ 3833760 w 6573406"/>
              <a:gd name="connsiteY132" fmla="*/ 3097338 h 5129212"/>
              <a:gd name="connsiteX133" fmla="*/ 3827827 w 6573406"/>
              <a:gd name="connsiteY133" fmla="*/ 3097338 h 5129212"/>
              <a:gd name="connsiteX134" fmla="*/ 3821894 w 6573406"/>
              <a:gd name="connsiteY134" fmla="*/ 3097338 h 5129212"/>
              <a:gd name="connsiteX135" fmla="*/ 3815961 w 6573406"/>
              <a:gd name="connsiteY135" fmla="*/ 3097021 h 5129212"/>
              <a:gd name="connsiteX136" fmla="*/ 3810028 w 6573406"/>
              <a:gd name="connsiteY136" fmla="*/ 3096068 h 5129212"/>
              <a:gd name="connsiteX137" fmla="*/ 3804095 w 6573406"/>
              <a:gd name="connsiteY137" fmla="*/ 3095116 h 5129212"/>
              <a:gd name="connsiteX138" fmla="*/ 3798162 w 6573406"/>
              <a:gd name="connsiteY138" fmla="*/ 3093846 h 5129212"/>
              <a:gd name="connsiteX139" fmla="*/ 3792578 w 6573406"/>
              <a:gd name="connsiteY139" fmla="*/ 3092258 h 5129212"/>
              <a:gd name="connsiteX140" fmla="*/ 3786645 w 6573406"/>
              <a:gd name="connsiteY140" fmla="*/ 3090354 h 5129212"/>
              <a:gd name="connsiteX141" fmla="*/ 3781061 w 6573406"/>
              <a:gd name="connsiteY141" fmla="*/ 3088131 h 5129212"/>
              <a:gd name="connsiteX142" fmla="*/ 3775477 w 6573406"/>
              <a:gd name="connsiteY142" fmla="*/ 3085909 h 5129212"/>
              <a:gd name="connsiteX143" fmla="*/ 3769893 w 6573406"/>
              <a:gd name="connsiteY143" fmla="*/ 3083051 h 5129212"/>
              <a:gd name="connsiteX144" fmla="*/ 3764658 w 6573406"/>
              <a:gd name="connsiteY144" fmla="*/ 3080194 h 5129212"/>
              <a:gd name="connsiteX145" fmla="*/ 3759423 w 6573406"/>
              <a:gd name="connsiteY145" fmla="*/ 3077019 h 5129212"/>
              <a:gd name="connsiteX146" fmla="*/ 3754188 w 6573406"/>
              <a:gd name="connsiteY146" fmla="*/ 3073210 h 5129212"/>
              <a:gd name="connsiteX147" fmla="*/ 3749302 w 6573406"/>
              <a:gd name="connsiteY147" fmla="*/ 3069400 h 5129212"/>
              <a:gd name="connsiteX148" fmla="*/ 3744416 w 6573406"/>
              <a:gd name="connsiteY148" fmla="*/ 3065273 h 5129212"/>
              <a:gd name="connsiteX149" fmla="*/ 3739879 w 6573406"/>
              <a:gd name="connsiteY149" fmla="*/ 3060828 h 5129212"/>
              <a:gd name="connsiteX150" fmla="*/ 3013960 w 6573406"/>
              <a:gd name="connsiteY150" fmla="*/ 2336338 h 5129212"/>
              <a:gd name="connsiteX151" fmla="*/ 3009423 w 6573406"/>
              <a:gd name="connsiteY151" fmla="*/ 2331576 h 5129212"/>
              <a:gd name="connsiteX152" fmla="*/ 3004537 w 6573406"/>
              <a:gd name="connsiteY152" fmla="*/ 2327448 h 5129212"/>
              <a:gd name="connsiteX153" fmla="*/ 2999651 w 6573406"/>
              <a:gd name="connsiteY153" fmla="*/ 2323639 h 5129212"/>
              <a:gd name="connsiteX154" fmla="*/ 2994416 w 6573406"/>
              <a:gd name="connsiteY154" fmla="*/ 2320146 h 5129212"/>
              <a:gd name="connsiteX155" fmla="*/ 2989181 w 6573406"/>
              <a:gd name="connsiteY155" fmla="*/ 2316971 h 5129212"/>
              <a:gd name="connsiteX156" fmla="*/ 2983946 w 6573406"/>
              <a:gd name="connsiteY156" fmla="*/ 2313797 h 5129212"/>
              <a:gd name="connsiteX157" fmla="*/ 2978362 w 6573406"/>
              <a:gd name="connsiteY157" fmla="*/ 2310939 h 5129212"/>
              <a:gd name="connsiteX158" fmla="*/ 2972778 w 6573406"/>
              <a:gd name="connsiteY158" fmla="*/ 2308717 h 5129212"/>
              <a:gd name="connsiteX159" fmla="*/ 2967194 w 6573406"/>
              <a:gd name="connsiteY159" fmla="*/ 2306495 h 5129212"/>
              <a:gd name="connsiteX160" fmla="*/ 2961261 w 6573406"/>
              <a:gd name="connsiteY160" fmla="*/ 2304907 h 5129212"/>
              <a:gd name="connsiteX161" fmla="*/ 2955677 w 6573406"/>
              <a:gd name="connsiteY161" fmla="*/ 2303002 h 5129212"/>
              <a:gd name="connsiteX162" fmla="*/ 2949744 w 6573406"/>
              <a:gd name="connsiteY162" fmla="*/ 2302050 h 5129212"/>
              <a:gd name="connsiteX163" fmla="*/ 2943811 w 6573406"/>
              <a:gd name="connsiteY163" fmla="*/ 2301097 h 5129212"/>
              <a:gd name="connsiteX164" fmla="*/ 2937878 w 6573406"/>
              <a:gd name="connsiteY164" fmla="*/ 2300145 h 5129212"/>
              <a:gd name="connsiteX165" fmla="*/ 2931945 w 6573406"/>
              <a:gd name="connsiteY165" fmla="*/ 2299828 h 5129212"/>
              <a:gd name="connsiteX166" fmla="*/ 2926012 w 6573406"/>
              <a:gd name="connsiteY166" fmla="*/ 2299510 h 5129212"/>
              <a:gd name="connsiteX167" fmla="*/ 2919730 w 6573406"/>
              <a:gd name="connsiteY167" fmla="*/ 2299828 h 5129212"/>
              <a:gd name="connsiteX168" fmla="*/ 2913797 w 6573406"/>
              <a:gd name="connsiteY168" fmla="*/ 2300145 h 5129212"/>
              <a:gd name="connsiteX169" fmla="*/ 2907864 w 6573406"/>
              <a:gd name="connsiteY169" fmla="*/ 2301097 h 5129212"/>
              <a:gd name="connsiteX170" fmla="*/ 2901931 w 6573406"/>
              <a:gd name="connsiteY170" fmla="*/ 2302050 h 5129212"/>
              <a:gd name="connsiteX171" fmla="*/ 2896347 w 6573406"/>
              <a:gd name="connsiteY171" fmla="*/ 2303002 h 5129212"/>
              <a:gd name="connsiteX172" fmla="*/ 2890414 w 6573406"/>
              <a:gd name="connsiteY172" fmla="*/ 2304907 h 5129212"/>
              <a:gd name="connsiteX173" fmla="*/ 2884830 w 6573406"/>
              <a:gd name="connsiteY173" fmla="*/ 2306495 h 5129212"/>
              <a:gd name="connsiteX174" fmla="*/ 2878897 w 6573406"/>
              <a:gd name="connsiteY174" fmla="*/ 2308717 h 5129212"/>
              <a:gd name="connsiteX175" fmla="*/ 2873313 w 6573406"/>
              <a:gd name="connsiteY175" fmla="*/ 2310939 h 5129212"/>
              <a:gd name="connsiteX176" fmla="*/ 2868078 w 6573406"/>
              <a:gd name="connsiteY176" fmla="*/ 2313797 h 5129212"/>
              <a:gd name="connsiteX177" fmla="*/ 2862494 w 6573406"/>
              <a:gd name="connsiteY177" fmla="*/ 2316971 h 5129212"/>
              <a:gd name="connsiteX178" fmla="*/ 2857259 w 6573406"/>
              <a:gd name="connsiteY178" fmla="*/ 2320146 h 5129212"/>
              <a:gd name="connsiteX179" fmla="*/ 2852373 w 6573406"/>
              <a:gd name="connsiteY179" fmla="*/ 2323639 h 5129212"/>
              <a:gd name="connsiteX180" fmla="*/ 2847138 w 6573406"/>
              <a:gd name="connsiteY180" fmla="*/ 2327448 h 5129212"/>
              <a:gd name="connsiteX181" fmla="*/ 2842601 w 6573406"/>
              <a:gd name="connsiteY181" fmla="*/ 2331576 h 5129212"/>
              <a:gd name="connsiteX182" fmla="*/ 2837715 w 6573406"/>
              <a:gd name="connsiteY182" fmla="*/ 2336338 h 5129212"/>
              <a:gd name="connsiteX183" fmla="*/ 2833527 w 6573406"/>
              <a:gd name="connsiteY183" fmla="*/ 2340783 h 5129212"/>
              <a:gd name="connsiteX184" fmla="*/ 2829339 w 6573406"/>
              <a:gd name="connsiteY184" fmla="*/ 2345545 h 5129212"/>
              <a:gd name="connsiteX185" fmla="*/ 2825500 w 6573406"/>
              <a:gd name="connsiteY185" fmla="*/ 2350624 h 5129212"/>
              <a:gd name="connsiteX186" fmla="*/ 2822010 w 6573406"/>
              <a:gd name="connsiteY186" fmla="*/ 2355704 h 5129212"/>
              <a:gd name="connsiteX187" fmla="*/ 2818520 w 6573406"/>
              <a:gd name="connsiteY187" fmla="*/ 2361101 h 5129212"/>
              <a:gd name="connsiteX188" fmla="*/ 2815728 w 6573406"/>
              <a:gd name="connsiteY188" fmla="*/ 2366181 h 5129212"/>
              <a:gd name="connsiteX189" fmla="*/ 2812936 w 6573406"/>
              <a:gd name="connsiteY189" fmla="*/ 2371896 h 5129212"/>
              <a:gd name="connsiteX190" fmla="*/ 2810493 w 6573406"/>
              <a:gd name="connsiteY190" fmla="*/ 2377293 h 5129212"/>
              <a:gd name="connsiteX191" fmla="*/ 2808399 w 6573406"/>
              <a:gd name="connsiteY191" fmla="*/ 2383007 h 5129212"/>
              <a:gd name="connsiteX192" fmla="*/ 2806305 w 6573406"/>
              <a:gd name="connsiteY192" fmla="*/ 2388405 h 5129212"/>
              <a:gd name="connsiteX193" fmla="*/ 2804909 w 6573406"/>
              <a:gd name="connsiteY193" fmla="*/ 2394437 h 5129212"/>
              <a:gd name="connsiteX194" fmla="*/ 2803513 w 6573406"/>
              <a:gd name="connsiteY194" fmla="*/ 2400469 h 5129212"/>
              <a:gd name="connsiteX195" fmla="*/ 2802466 w 6573406"/>
              <a:gd name="connsiteY195" fmla="*/ 2406501 h 5129212"/>
              <a:gd name="connsiteX196" fmla="*/ 2801768 w 6573406"/>
              <a:gd name="connsiteY196" fmla="*/ 2412216 h 5129212"/>
              <a:gd name="connsiteX197" fmla="*/ 2801419 w 6573406"/>
              <a:gd name="connsiteY197" fmla="*/ 2418248 h 5129212"/>
              <a:gd name="connsiteX198" fmla="*/ 2801419 w 6573406"/>
              <a:gd name="connsiteY198" fmla="*/ 2424280 h 5129212"/>
              <a:gd name="connsiteX199" fmla="*/ 2801419 w 6573406"/>
              <a:gd name="connsiteY199" fmla="*/ 2429994 h 5129212"/>
              <a:gd name="connsiteX200" fmla="*/ 2801768 w 6573406"/>
              <a:gd name="connsiteY200" fmla="*/ 2436027 h 5129212"/>
              <a:gd name="connsiteX201" fmla="*/ 2802466 w 6573406"/>
              <a:gd name="connsiteY201" fmla="*/ 2442059 h 5129212"/>
              <a:gd name="connsiteX202" fmla="*/ 2803513 w 6573406"/>
              <a:gd name="connsiteY202" fmla="*/ 2447773 h 5129212"/>
              <a:gd name="connsiteX203" fmla="*/ 2804909 w 6573406"/>
              <a:gd name="connsiteY203" fmla="*/ 2453805 h 5129212"/>
              <a:gd name="connsiteX204" fmla="*/ 2806305 w 6573406"/>
              <a:gd name="connsiteY204" fmla="*/ 2459838 h 5129212"/>
              <a:gd name="connsiteX205" fmla="*/ 2808399 w 6573406"/>
              <a:gd name="connsiteY205" fmla="*/ 2465235 h 5129212"/>
              <a:gd name="connsiteX206" fmla="*/ 2810493 w 6573406"/>
              <a:gd name="connsiteY206" fmla="*/ 2470949 h 5129212"/>
              <a:gd name="connsiteX207" fmla="*/ 2812936 w 6573406"/>
              <a:gd name="connsiteY207" fmla="*/ 2476347 h 5129212"/>
              <a:gd name="connsiteX208" fmla="*/ 2815728 w 6573406"/>
              <a:gd name="connsiteY208" fmla="*/ 2482061 h 5129212"/>
              <a:gd name="connsiteX209" fmla="*/ 2818520 w 6573406"/>
              <a:gd name="connsiteY209" fmla="*/ 2487458 h 5129212"/>
              <a:gd name="connsiteX210" fmla="*/ 2822010 w 6573406"/>
              <a:gd name="connsiteY210" fmla="*/ 2492538 h 5129212"/>
              <a:gd name="connsiteX211" fmla="*/ 2825500 w 6573406"/>
              <a:gd name="connsiteY211" fmla="*/ 2497935 h 5129212"/>
              <a:gd name="connsiteX212" fmla="*/ 2829339 w 6573406"/>
              <a:gd name="connsiteY212" fmla="*/ 2502697 h 5129212"/>
              <a:gd name="connsiteX213" fmla="*/ 2833527 w 6573406"/>
              <a:gd name="connsiteY213" fmla="*/ 2507460 h 5129212"/>
              <a:gd name="connsiteX214" fmla="*/ 2837715 w 6573406"/>
              <a:gd name="connsiteY214" fmla="*/ 2512222 h 5129212"/>
              <a:gd name="connsiteX215" fmla="*/ 4276989 w 6573406"/>
              <a:gd name="connsiteY215" fmla="*/ 3949455 h 5129212"/>
              <a:gd name="connsiteX216" fmla="*/ 4281177 w 6573406"/>
              <a:gd name="connsiteY216" fmla="*/ 3953900 h 5129212"/>
              <a:gd name="connsiteX217" fmla="*/ 4285365 w 6573406"/>
              <a:gd name="connsiteY217" fmla="*/ 3958980 h 5129212"/>
              <a:gd name="connsiteX218" fmla="*/ 4289204 w 6573406"/>
              <a:gd name="connsiteY218" fmla="*/ 3963742 h 5129212"/>
              <a:gd name="connsiteX219" fmla="*/ 4292694 w 6573406"/>
              <a:gd name="connsiteY219" fmla="*/ 3968822 h 5129212"/>
              <a:gd name="connsiteX220" fmla="*/ 4296184 w 6573406"/>
              <a:gd name="connsiteY220" fmla="*/ 3974219 h 5129212"/>
              <a:gd name="connsiteX221" fmla="*/ 4298976 w 6573406"/>
              <a:gd name="connsiteY221" fmla="*/ 3979298 h 5129212"/>
              <a:gd name="connsiteX222" fmla="*/ 4301768 w 6573406"/>
              <a:gd name="connsiteY222" fmla="*/ 3985013 h 5129212"/>
              <a:gd name="connsiteX223" fmla="*/ 4304211 w 6573406"/>
              <a:gd name="connsiteY223" fmla="*/ 3990728 h 5129212"/>
              <a:gd name="connsiteX224" fmla="*/ 4306305 w 6573406"/>
              <a:gd name="connsiteY224" fmla="*/ 3996125 h 5129212"/>
              <a:gd name="connsiteX225" fmla="*/ 4308050 w 6573406"/>
              <a:gd name="connsiteY225" fmla="*/ 4001840 h 5129212"/>
              <a:gd name="connsiteX226" fmla="*/ 4309795 w 6573406"/>
              <a:gd name="connsiteY226" fmla="*/ 4007554 h 5129212"/>
              <a:gd name="connsiteX227" fmla="*/ 4311191 w 6573406"/>
              <a:gd name="connsiteY227" fmla="*/ 4013586 h 5129212"/>
              <a:gd name="connsiteX228" fmla="*/ 4311889 w 6573406"/>
              <a:gd name="connsiteY228" fmla="*/ 4019618 h 5129212"/>
              <a:gd name="connsiteX229" fmla="*/ 4312587 w 6573406"/>
              <a:gd name="connsiteY229" fmla="*/ 4025333 h 5129212"/>
              <a:gd name="connsiteX230" fmla="*/ 4313285 w 6573406"/>
              <a:gd name="connsiteY230" fmla="*/ 4031365 h 5129212"/>
              <a:gd name="connsiteX231" fmla="*/ 4313285 w 6573406"/>
              <a:gd name="connsiteY231" fmla="*/ 4037397 h 5129212"/>
              <a:gd name="connsiteX232" fmla="*/ 4313285 w 6573406"/>
              <a:gd name="connsiteY232" fmla="*/ 4043429 h 5129212"/>
              <a:gd name="connsiteX233" fmla="*/ 4312587 w 6573406"/>
              <a:gd name="connsiteY233" fmla="*/ 4049144 h 5129212"/>
              <a:gd name="connsiteX234" fmla="*/ 4311889 w 6573406"/>
              <a:gd name="connsiteY234" fmla="*/ 4055176 h 5129212"/>
              <a:gd name="connsiteX235" fmla="*/ 4311191 w 6573406"/>
              <a:gd name="connsiteY235" fmla="*/ 4061208 h 5129212"/>
              <a:gd name="connsiteX236" fmla="*/ 4309795 w 6573406"/>
              <a:gd name="connsiteY236" fmla="*/ 4066923 h 5129212"/>
              <a:gd name="connsiteX237" fmla="*/ 4308050 w 6573406"/>
              <a:gd name="connsiteY237" fmla="*/ 4072955 h 5129212"/>
              <a:gd name="connsiteX238" fmla="*/ 4306305 w 6573406"/>
              <a:gd name="connsiteY238" fmla="*/ 4078670 h 5129212"/>
              <a:gd name="connsiteX239" fmla="*/ 4304211 w 6573406"/>
              <a:gd name="connsiteY239" fmla="*/ 4084067 h 5129212"/>
              <a:gd name="connsiteX240" fmla="*/ 4301768 w 6573406"/>
              <a:gd name="connsiteY240" fmla="*/ 4089782 h 5129212"/>
              <a:gd name="connsiteX241" fmla="*/ 4298976 w 6573406"/>
              <a:gd name="connsiteY241" fmla="*/ 4095179 h 5129212"/>
              <a:gd name="connsiteX242" fmla="*/ 4296184 w 6573406"/>
              <a:gd name="connsiteY242" fmla="*/ 4100576 h 5129212"/>
              <a:gd name="connsiteX243" fmla="*/ 4292694 w 6573406"/>
              <a:gd name="connsiteY243" fmla="*/ 4105656 h 5129212"/>
              <a:gd name="connsiteX244" fmla="*/ 4289204 w 6573406"/>
              <a:gd name="connsiteY244" fmla="*/ 4111053 h 5129212"/>
              <a:gd name="connsiteX245" fmla="*/ 4285365 w 6573406"/>
              <a:gd name="connsiteY245" fmla="*/ 4115815 h 5129212"/>
              <a:gd name="connsiteX246" fmla="*/ 4281177 w 6573406"/>
              <a:gd name="connsiteY246" fmla="*/ 4120895 h 5129212"/>
              <a:gd name="connsiteX247" fmla="*/ 4276989 w 6573406"/>
              <a:gd name="connsiteY247" fmla="*/ 4125339 h 5129212"/>
              <a:gd name="connsiteX248" fmla="*/ 4272801 w 6573406"/>
              <a:gd name="connsiteY248" fmla="*/ 4129149 h 5129212"/>
              <a:gd name="connsiteX249" fmla="*/ 4268613 w 6573406"/>
              <a:gd name="connsiteY249" fmla="*/ 4132959 h 5129212"/>
              <a:gd name="connsiteX250" fmla="*/ 4264425 w 6573406"/>
              <a:gd name="connsiteY250" fmla="*/ 4136134 h 5129212"/>
              <a:gd name="connsiteX251" fmla="*/ 4259888 w 6573406"/>
              <a:gd name="connsiteY251" fmla="*/ 4139626 h 5129212"/>
              <a:gd name="connsiteX252" fmla="*/ 4255700 w 6573406"/>
              <a:gd name="connsiteY252" fmla="*/ 4142483 h 5129212"/>
              <a:gd name="connsiteX253" fmla="*/ 4250814 w 6573406"/>
              <a:gd name="connsiteY253" fmla="*/ 4145023 h 5129212"/>
              <a:gd name="connsiteX254" fmla="*/ 4246277 w 6573406"/>
              <a:gd name="connsiteY254" fmla="*/ 4147880 h 5129212"/>
              <a:gd name="connsiteX255" fmla="*/ 4241391 w 6573406"/>
              <a:gd name="connsiteY255" fmla="*/ 4150103 h 5129212"/>
              <a:gd name="connsiteX256" fmla="*/ 4236854 w 6573406"/>
              <a:gd name="connsiteY256" fmla="*/ 4152008 h 5129212"/>
              <a:gd name="connsiteX257" fmla="*/ 4231619 w 6573406"/>
              <a:gd name="connsiteY257" fmla="*/ 4154230 h 5129212"/>
              <a:gd name="connsiteX258" fmla="*/ 4226733 w 6573406"/>
              <a:gd name="connsiteY258" fmla="*/ 4156135 h 5129212"/>
              <a:gd name="connsiteX259" fmla="*/ 4221847 w 6573406"/>
              <a:gd name="connsiteY259" fmla="*/ 4157405 h 5129212"/>
              <a:gd name="connsiteX260" fmla="*/ 4216612 w 6573406"/>
              <a:gd name="connsiteY260" fmla="*/ 4158675 h 5129212"/>
              <a:gd name="connsiteX261" fmla="*/ 4211726 w 6573406"/>
              <a:gd name="connsiteY261" fmla="*/ 4159945 h 5129212"/>
              <a:gd name="connsiteX262" fmla="*/ 4206491 w 6573406"/>
              <a:gd name="connsiteY262" fmla="*/ 4160580 h 5129212"/>
              <a:gd name="connsiteX263" fmla="*/ 4201256 w 6573406"/>
              <a:gd name="connsiteY263" fmla="*/ 4161215 h 5129212"/>
              <a:gd name="connsiteX264" fmla="*/ 4196022 w 6573406"/>
              <a:gd name="connsiteY264" fmla="*/ 4161532 h 5129212"/>
              <a:gd name="connsiteX265" fmla="*/ 4191135 w 6573406"/>
              <a:gd name="connsiteY265" fmla="*/ 4161532 h 5129212"/>
              <a:gd name="connsiteX266" fmla="*/ 4185900 w 6573406"/>
              <a:gd name="connsiteY266" fmla="*/ 4161532 h 5129212"/>
              <a:gd name="connsiteX267" fmla="*/ 4180665 w 6573406"/>
              <a:gd name="connsiteY267" fmla="*/ 4161532 h 5129212"/>
              <a:gd name="connsiteX268" fmla="*/ 4175430 w 6573406"/>
              <a:gd name="connsiteY268" fmla="*/ 4160897 h 5129212"/>
              <a:gd name="connsiteX269" fmla="*/ 4170195 w 6573406"/>
              <a:gd name="connsiteY269" fmla="*/ 4160580 h 5129212"/>
              <a:gd name="connsiteX270" fmla="*/ 4165309 w 6573406"/>
              <a:gd name="connsiteY270" fmla="*/ 4159627 h 5129212"/>
              <a:gd name="connsiteX271" fmla="*/ 4159725 w 6573406"/>
              <a:gd name="connsiteY271" fmla="*/ 4158357 h 5129212"/>
              <a:gd name="connsiteX272" fmla="*/ 4154490 w 6573406"/>
              <a:gd name="connsiteY272" fmla="*/ 4157087 h 5129212"/>
              <a:gd name="connsiteX273" fmla="*/ 4149604 w 6573406"/>
              <a:gd name="connsiteY273" fmla="*/ 4155500 h 5129212"/>
              <a:gd name="connsiteX274" fmla="*/ 4144718 w 6573406"/>
              <a:gd name="connsiteY274" fmla="*/ 4153913 h 5129212"/>
              <a:gd name="connsiteX275" fmla="*/ 4139832 w 6573406"/>
              <a:gd name="connsiteY275" fmla="*/ 4151690 h 5129212"/>
              <a:gd name="connsiteX276" fmla="*/ 4134946 w 6573406"/>
              <a:gd name="connsiteY276" fmla="*/ 4149785 h 5129212"/>
              <a:gd name="connsiteX277" fmla="*/ 4130409 w 6573406"/>
              <a:gd name="connsiteY277" fmla="*/ 4147246 h 5129212"/>
              <a:gd name="connsiteX278" fmla="*/ 4125523 w 6573406"/>
              <a:gd name="connsiteY278" fmla="*/ 4144706 h 5129212"/>
              <a:gd name="connsiteX279" fmla="*/ 4120986 w 6573406"/>
              <a:gd name="connsiteY279" fmla="*/ 4142166 h 5129212"/>
              <a:gd name="connsiteX280" fmla="*/ 0 w 6573406"/>
              <a:gd name="connsiteY280" fmla="*/ 0 h 5129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</a:cxnLst>
            <a:rect l="l" t="t" r="r" b="b"/>
            <a:pathLst>
              <a:path w="6573406" h="5129212">
                <a:moveTo>
                  <a:pt x="0" y="0"/>
                </a:moveTo>
                <a:lnTo>
                  <a:pt x="0" y="5129212"/>
                </a:lnTo>
                <a:lnTo>
                  <a:pt x="6573406" y="5129212"/>
                </a:lnTo>
                <a:lnTo>
                  <a:pt x="3968474" y="2531906"/>
                </a:lnTo>
                <a:lnTo>
                  <a:pt x="3962541" y="2531906"/>
                </a:lnTo>
                <a:lnTo>
                  <a:pt x="3956259" y="2531588"/>
                </a:lnTo>
                <a:lnTo>
                  <a:pt x="3950326" y="2530953"/>
                </a:lnTo>
                <a:lnTo>
                  <a:pt x="3944393" y="2530001"/>
                </a:lnTo>
                <a:lnTo>
                  <a:pt x="3938460" y="2528731"/>
                </a:lnTo>
                <a:lnTo>
                  <a:pt x="3932527" y="2527143"/>
                </a:lnTo>
                <a:lnTo>
                  <a:pt x="3926943" y="2525239"/>
                </a:lnTo>
                <a:lnTo>
                  <a:pt x="3921010" y="2523334"/>
                </a:lnTo>
                <a:lnTo>
                  <a:pt x="3915426" y="2520794"/>
                </a:lnTo>
                <a:lnTo>
                  <a:pt x="3909842" y="2517937"/>
                </a:lnTo>
                <a:lnTo>
                  <a:pt x="3904258" y="2515079"/>
                </a:lnTo>
                <a:lnTo>
                  <a:pt x="3899023" y="2511587"/>
                </a:lnTo>
                <a:lnTo>
                  <a:pt x="3893788" y="2508095"/>
                </a:lnTo>
                <a:lnTo>
                  <a:pt x="3888902" y="2504285"/>
                </a:lnTo>
                <a:lnTo>
                  <a:pt x="3884016" y="2500158"/>
                </a:lnTo>
                <a:lnTo>
                  <a:pt x="3879130" y="2495713"/>
                </a:lnTo>
                <a:lnTo>
                  <a:pt x="3266286" y="1883611"/>
                </a:lnTo>
                <a:lnTo>
                  <a:pt x="3261400" y="1879484"/>
                </a:lnTo>
                <a:lnTo>
                  <a:pt x="3256864" y="1875356"/>
                </a:lnTo>
                <a:lnTo>
                  <a:pt x="3251628" y="1871547"/>
                </a:lnTo>
                <a:lnTo>
                  <a:pt x="3246742" y="1868054"/>
                </a:lnTo>
                <a:lnTo>
                  <a:pt x="3241508" y="1864562"/>
                </a:lnTo>
                <a:lnTo>
                  <a:pt x="3235924" y="1861705"/>
                </a:lnTo>
                <a:lnTo>
                  <a:pt x="3230688" y="1858847"/>
                </a:lnTo>
                <a:lnTo>
                  <a:pt x="3225104" y="1856308"/>
                </a:lnTo>
                <a:lnTo>
                  <a:pt x="3219172" y="1854403"/>
                </a:lnTo>
                <a:lnTo>
                  <a:pt x="3213588" y="1852180"/>
                </a:lnTo>
                <a:lnTo>
                  <a:pt x="3207654" y="1850910"/>
                </a:lnTo>
                <a:lnTo>
                  <a:pt x="3202070" y="1849323"/>
                </a:lnTo>
                <a:lnTo>
                  <a:pt x="3196138" y="1848371"/>
                </a:lnTo>
                <a:lnTo>
                  <a:pt x="3190205" y="1847736"/>
                </a:lnTo>
                <a:lnTo>
                  <a:pt x="3184272" y="1847418"/>
                </a:lnTo>
                <a:lnTo>
                  <a:pt x="3177990" y="1847418"/>
                </a:lnTo>
                <a:lnTo>
                  <a:pt x="3172057" y="1847418"/>
                </a:lnTo>
                <a:lnTo>
                  <a:pt x="3166124" y="1847736"/>
                </a:lnTo>
                <a:lnTo>
                  <a:pt x="3160191" y="1848371"/>
                </a:lnTo>
                <a:lnTo>
                  <a:pt x="3154258" y="1849323"/>
                </a:lnTo>
                <a:lnTo>
                  <a:pt x="3148325" y="1850910"/>
                </a:lnTo>
                <a:lnTo>
                  <a:pt x="3142741" y="1852180"/>
                </a:lnTo>
                <a:lnTo>
                  <a:pt x="3136808" y="1854403"/>
                </a:lnTo>
                <a:lnTo>
                  <a:pt x="3131224" y="1856308"/>
                </a:lnTo>
                <a:lnTo>
                  <a:pt x="3125640" y="1858847"/>
                </a:lnTo>
                <a:lnTo>
                  <a:pt x="3120405" y="1861705"/>
                </a:lnTo>
                <a:lnTo>
                  <a:pt x="3114821" y="1864562"/>
                </a:lnTo>
                <a:lnTo>
                  <a:pt x="3109586" y="1868054"/>
                </a:lnTo>
                <a:lnTo>
                  <a:pt x="3104351" y="1871547"/>
                </a:lnTo>
                <a:lnTo>
                  <a:pt x="3099465" y="1875356"/>
                </a:lnTo>
                <a:lnTo>
                  <a:pt x="3094579" y="1879484"/>
                </a:lnTo>
                <a:lnTo>
                  <a:pt x="3090042" y="1883611"/>
                </a:lnTo>
                <a:lnTo>
                  <a:pt x="3085505" y="1888373"/>
                </a:lnTo>
                <a:lnTo>
                  <a:pt x="3081666" y="1893135"/>
                </a:lnTo>
                <a:lnTo>
                  <a:pt x="3077827" y="1898215"/>
                </a:lnTo>
                <a:lnTo>
                  <a:pt x="3073988" y="1903295"/>
                </a:lnTo>
                <a:lnTo>
                  <a:pt x="3070847" y="1908374"/>
                </a:lnTo>
                <a:lnTo>
                  <a:pt x="3067706" y="1914089"/>
                </a:lnTo>
                <a:lnTo>
                  <a:pt x="3065263" y="1919169"/>
                </a:lnTo>
                <a:lnTo>
                  <a:pt x="3062820" y="1924883"/>
                </a:lnTo>
                <a:lnTo>
                  <a:pt x="3060726" y="1930281"/>
                </a:lnTo>
                <a:lnTo>
                  <a:pt x="3058632" y="1936313"/>
                </a:lnTo>
                <a:lnTo>
                  <a:pt x="3057236" y="1942345"/>
                </a:lnTo>
                <a:lnTo>
                  <a:pt x="3055840" y="1947742"/>
                </a:lnTo>
                <a:lnTo>
                  <a:pt x="3054793" y="1953774"/>
                </a:lnTo>
                <a:cubicBezTo>
                  <a:pt x="3054560" y="1955785"/>
                  <a:pt x="3054328" y="1957795"/>
                  <a:pt x="3054095" y="1959806"/>
                </a:cubicBezTo>
                <a:cubicBezTo>
                  <a:pt x="3053979" y="1961711"/>
                  <a:pt x="3053862" y="1963616"/>
                  <a:pt x="3053746" y="1965521"/>
                </a:cubicBezTo>
                <a:lnTo>
                  <a:pt x="3053746" y="1971870"/>
                </a:lnTo>
                <a:lnTo>
                  <a:pt x="3053746" y="1977903"/>
                </a:lnTo>
                <a:cubicBezTo>
                  <a:pt x="3053862" y="1979808"/>
                  <a:pt x="3053979" y="1981712"/>
                  <a:pt x="3054095" y="1983617"/>
                </a:cubicBezTo>
                <a:cubicBezTo>
                  <a:pt x="3054328" y="1985628"/>
                  <a:pt x="3054560" y="1987638"/>
                  <a:pt x="3054793" y="1989649"/>
                </a:cubicBezTo>
                <a:lnTo>
                  <a:pt x="3055840" y="1995681"/>
                </a:lnTo>
                <a:lnTo>
                  <a:pt x="3057236" y="2001079"/>
                </a:lnTo>
                <a:lnTo>
                  <a:pt x="3058632" y="2007111"/>
                </a:lnTo>
                <a:lnTo>
                  <a:pt x="3060726" y="2013143"/>
                </a:lnTo>
                <a:lnTo>
                  <a:pt x="3062820" y="2018540"/>
                </a:lnTo>
                <a:lnTo>
                  <a:pt x="3065263" y="2024255"/>
                </a:lnTo>
                <a:lnTo>
                  <a:pt x="3067706" y="2029334"/>
                </a:lnTo>
                <a:lnTo>
                  <a:pt x="3070847" y="2035049"/>
                </a:lnTo>
                <a:lnTo>
                  <a:pt x="3073988" y="2040446"/>
                </a:lnTo>
                <a:lnTo>
                  <a:pt x="3077827" y="2045208"/>
                </a:lnTo>
                <a:lnTo>
                  <a:pt x="3081666" y="2050288"/>
                </a:lnTo>
                <a:lnTo>
                  <a:pt x="3085505" y="2055368"/>
                </a:lnTo>
                <a:lnTo>
                  <a:pt x="3090042" y="2059812"/>
                </a:lnTo>
                <a:lnTo>
                  <a:pt x="3916473" y="2884626"/>
                </a:lnTo>
                <a:lnTo>
                  <a:pt x="3920661" y="2889706"/>
                </a:lnTo>
                <a:lnTo>
                  <a:pt x="3924849" y="2894151"/>
                </a:lnTo>
                <a:lnTo>
                  <a:pt x="3928688" y="2899548"/>
                </a:lnTo>
                <a:lnTo>
                  <a:pt x="3932178" y="2904310"/>
                </a:lnTo>
                <a:lnTo>
                  <a:pt x="3935668" y="2909390"/>
                </a:lnTo>
                <a:lnTo>
                  <a:pt x="3938460" y="2915104"/>
                </a:lnTo>
                <a:lnTo>
                  <a:pt x="3941252" y="2920502"/>
                </a:lnTo>
                <a:lnTo>
                  <a:pt x="3943695" y="2925899"/>
                </a:lnTo>
                <a:lnTo>
                  <a:pt x="3945789" y="2931613"/>
                </a:lnTo>
                <a:lnTo>
                  <a:pt x="3947534" y="2937328"/>
                </a:lnTo>
                <a:lnTo>
                  <a:pt x="3949279" y="2943360"/>
                </a:lnTo>
                <a:lnTo>
                  <a:pt x="3950675" y="2949075"/>
                </a:lnTo>
                <a:cubicBezTo>
                  <a:pt x="3950908" y="2950980"/>
                  <a:pt x="3951140" y="2952884"/>
                  <a:pt x="3951373" y="2954789"/>
                </a:cubicBezTo>
                <a:cubicBezTo>
                  <a:pt x="3951606" y="2956800"/>
                  <a:pt x="3951838" y="2958811"/>
                  <a:pt x="3952071" y="2960822"/>
                </a:cubicBezTo>
                <a:cubicBezTo>
                  <a:pt x="3952304" y="2962833"/>
                  <a:pt x="3952536" y="2964843"/>
                  <a:pt x="3952769" y="2966854"/>
                </a:cubicBezTo>
                <a:lnTo>
                  <a:pt x="3952769" y="2973203"/>
                </a:lnTo>
                <a:lnTo>
                  <a:pt x="3952769" y="2978918"/>
                </a:lnTo>
                <a:cubicBezTo>
                  <a:pt x="3952536" y="2980929"/>
                  <a:pt x="3952304" y="2982939"/>
                  <a:pt x="3952071" y="2984950"/>
                </a:cubicBezTo>
                <a:cubicBezTo>
                  <a:pt x="3951838" y="2986961"/>
                  <a:pt x="3951606" y="2988971"/>
                  <a:pt x="3951373" y="2990982"/>
                </a:cubicBezTo>
                <a:cubicBezTo>
                  <a:pt x="3951140" y="2992887"/>
                  <a:pt x="3950908" y="2994792"/>
                  <a:pt x="3950675" y="2996697"/>
                </a:cubicBezTo>
                <a:lnTo>
                  <a:pt x="3949279" y="3002411"/>
                </a:lnTo>
                <a:lnTo>
                  <a:pt x="3947534" y="3008444"/>
                </a:lnTo>
                <a:lnTo>
                  <a:pt x="3945789" y="3014158"/>
                </a:lnTo>
                <a:lnTo>
                  <a:pt x="3943695" y="3019873"/>
                </a:lnTo>
                <a:lnTo>
                  <a:pt x="3941252" y="3025270"/>
                </a:lnTo>
                <a:lnTo>
                  <a:pt x="3938460" y="3030667"/>
                </a:lnTo>
                <a:lnTo>
                  <a:pt x="3935668" y="3036064"/>
                </a:lnTo>
                <a:lnTo>
                  <a:pt x="3932178" y="3041462"/>
                </a:lnTo>
                <a:lnTo>
                  <a:pt x="3928688" y="3046224"/>
                </a:lnTo>
                <a:lnTo>
                  <a:pt x="3924849" y="3051621"/>
                </a:lnTo>
                <a:lnTo>
                  <a:pt x="3920661" y="3056066"/>
                </a:lnTo>
                <a:lnTo>
                  <a:pt x="3916473" y="3060828"/>
                </a:lnTo>
                <a:lnTo>
                  <a:pt x="3911587" y="3065273"/>
                </a:lnTo>
                <a:lnTo>
                  <a:pt x="3906701" y="3069400"/>
                </a:lnTo>
                <a:lnTo>
                  <a:pt x="3901815" y="3073210"/>
                </a:lnTo>
                <a:lnTo>
                  <a:pt x="3896929" y="3077019"/>
                </a:lnTo>
                <a:lnTo>
                  <a:pt x="3891694" y="3080194"/>
                </a:lnTo>
                <a:lnTo>
                  <a:pt x="3886110" y="3083051"/>
                </a:lnTo>
                <a:lnTo>
                  <a:pt x="3880177" y="3085909"/>
                </a:lnTo>
                <a:lnTo>
                  <a:pt x="3874593" y="3088131"/>
                </a:lnTo>
                <a:lnTo>
                  <a:pt x="3869009" y="3090354"/>
                </a:lnTo>
                <a:lnTo>
                  <a:pt x="3863425" y="3092258"/>
                </a:lnTo>
                <a:lnTo>
                  <a:pt x="3857492" y="3093846"/>
                </a:lnTo>
                <a:lnTo>
                  <a:pt x="3851559" y="3095116"/>
                </a:lnTo>
                <a:lnTo>
                  <a:pt x="3845626" y="3096068"/>
                </a:lnTo>
                <a:lnTo>
                  <a:pt x="3839693" y="3097021"/>
                </a:lnTo>
                <a:lnTo>
                  <a:pt x="3833760" y="3097338"/>
                </a:lnTo>
                <a:lnTo>
                  <a:pt x="3827827" y="3097338"/>
                </a:lnTo>
                <a:lnTo>
                  <a:pt x="3821894" y="3097338"/>
                </a:lnTo>
                <a:lnTo>
                  <a:pt x="3815961" y="3097021"/>
                </a:lnTo>
                <a:lnTo>
                  <a:pt x="3810028" y="3096068"/>
                </a:lnTo>
                <a:lnTo>
                  <a:pt x="3804095" y="3095116"/>
                </a:lnTo>
                <a:lnTo>
                  <a:pt x="3798162" y="3093846"/>
                </a:lnTo>
                <a:lnTo>
                  <a:pt x="3792578" y="3092258"/>
                </a:lnTo>
                <a:lnTo>
                  <a:pt x="3786645" y="3090354"/>
                </a:lnTo>
                <a:lnTo>
                  <a:pt x="3781061" y="3088131"/>
                </a:lnTo>
                <a:lnTo>
                  <a:pt x="3775477" y="3085909"/>
                </a:lnTo>
                <a:lnTo>
                  <a:pt x="3769893" y="3083051"/>
                </a:lnTo>
                <a:lnTo>
                  <a:pt x="3764658" y="3080194"/>
                </a:lnTo>
                <a:lnTo>
                  <a:pt x="3759423" y="3077019"/>
                </a:lnTo>
                <a:lnTo>
                  <a:pt x="3754188" y="3073210"/>
                </a:lnTo>
                <a:lnTo>
                  <a:pt x="3749302" y="3069400"/>
                </a:lnTo>
                <a:lnTo>
                  <a:pt x="3744416" y="3065273"/>
                </a:lnTo>
                <a:lnTo>
                  <a:pt x="3739879" y="3060828"/>
                </a:lnTo>
                <a:lnTo>
                  <a:pt x="3013960" y="2336338"/>
                </a:lnTo>
                <a:lnTo>
                  <a:pt x="3009423" y="2331576"/>
                </a:lnTo>
                <a:lnTo>
                  <a:pt x="3004537" y="2327448"/>
                </a:lnTo>
                <a:lnTo>
                  <a:pt x="2999651" y="2323639"/>
                </a:lnTo>
                <a:lnTo>
                  <a:pt x="2994416" y="2320146"/>
                </a:lnTo>
                <a:lnTo>
                  <a:pt x="2989181" y="2316971"/>
                </a:lnTo>
                <a:lnTo>
                  <a:pt x="2983946" y="2313797"/>
                </a:lnTo>
                <a:lnTo>
                  <a:pt x="2978362" y="2310939"/>
                </a:lnTo>
                <a:lnTo>
                  <a:pt x="2972778" y="2308717"/>
                </a:lnTo>
                <a:lnTo>
                  <a:pt x="2967194" y="2306495"/>
                </a:lnTo>
                <a:lnTo>
                  <a:pt x="2961261" y="2304907"/>
                </a:lnTo>
                <a:lnTo>
                  <a:pt x="2955677" y="2303002"/>
                </a:lnTo>
                <a:lnTo>
                  <a:pt x="2949744" y="2302050"/>
                </a:lnTo>
                <a:lnTo>
                  <a:pt x="2943811" y="2301097"/>
                </a:lnTo>
                <a:lnTo>
                  <a:pt x="2937878" y="2300145"/>
                </a:lnTo>
                <a:lnTo>
                  <a:pt x="2931945" y="2299828"/>
                </a:lnTo>
                <a:lnTo>
                  <a:pt x="2926012" y="2299510"/>
                </a:lnTo>
                <a:lnTo>
                  <a:pt x="2919730" y="2299828"/>
                </a:lnTo>
                <a:lnTo>
                  <a:pt x="2913797" y="2300145"/>
                </a:lnTo>
                <a:lnTo>
                  <a:pt x="2907864" y="2301097"/>
                </a:lnTo>
                <a:lnTo>
                  <a:pt x="2901931" y="2302050"/>
                </a:lnTo>
                <a:lnTo>
                  <a:pt x="2896347" y="2303002"/>
                </a:lnTo>
                <a:lnTo>
                  <a:pt x="2890414" y="2304907"/>
                </a:lnTo>
                <a:lnTo>
                  <a:pt x="2884830" y="2306495"/>
                </a:lnTo>
                <a:lnTo>
                  <a:pt x="2878897" y="2308717"/>
                </a:lnTo>
                <a:lnTo>
                  <a:pt x="2873313" y="2310939"/>
                </a:lnTo>
                <a:lnTo>
                  <a:pt x="2868078" y="2313797"/>
                </a:lnTo>
                <a:lnTo>
                  <a:pt x="2862494" y="2316971"/>
                </a:lnTo>
                <a:lnTo>
                  <a:pt x="2857259" y="2320146"/>
                </a:lnTo>
                <a:lnTo>
                  <a:pt x="2852373" y="2323639"/>
                </a:lnTo>
                <a:lnTo>
                  <a:pt x="2847138" y="2327448"/>
                </a:lnTo>
                <a:lnTo>
                  <a:pt x="2842601" y="2331576"/>
                </a:lnTo>
                <a:lnTo>
                  <a:pt x="2837715" y="2336338"/>
                </a:lnTo>
                <a:lnTo>
                  <a:pt x="2833527" y="2340783"/>
                </a:lnTo>
                <a:lnTo>
                  <a:pt x="2829339" y="2345545"/>
                </a:lnTo>
                <a:lnTo>
                  <a:pt x="2825500" y="2350624"/>
                </a:lnTo>
                <a:lnTo>
                  <a:pt x="2822010" y="2355704"/>
                </a:lnTo>
                <a:lnTo>
                  <a:pt x="2818520" y="2361101"/>
                </a:lnTo>
                <a:lnTo>
                  <a:pt x="2815728" y="2366181"/>
                </a:lnTo>
                <a:lnTo>
                  <a:pt x="2812936" y="2371896"/>
                </a:lnTo>
                <a:lnTo>
                  <a:pt x="2810493" y="2377293"/>
                </a:lnTo>
                <a:lnTo>
                  <a:pt x="2808399" y="2383007"/>
                </a:lnTo>
                <a:lnTo>
                  <a:pt x="2806305" y="2388405"/>
                </a:lnTo>
                <a:lnTo>
                  <a:pt x="2804909" y="2394437"/>
                </a:lnTo>
                <a:lnTo>
                  <a:pt x="2803513" y="2400469"/>
                </a:lnTo>
                <a:lnTo>
                  <a:pt x="2802466" y="2406501"/>
                </a:lnTo>
                <a:cubicBezTo>
                  <a:pt x="2802233" y="2408406"/>
                  <a:pt x="2802001" y="2410311"/>
                  <a:pt x="2801768" y="2412216"/>
                </a:cubicBezTo>
                <a:cubicBezTo>
                  <a:pt x="2801652" y="2414227"/>
                  <a:pt x="2801535" y="2416237"/>
                  <a:pt x="2801419" y="2418248"/>
                </a:cubicBezTo>
                <a:lnTo>
                  <a:pt x="2801419" y="2424280"/>
                </a:lnTo>
                <a:lnTo>
                  <a:pt x="2801419" y="2429994"/>
                </a:lnTo>
                <a:cubicBezTo>
                  <a:pt x="2801535" y="2432005"/>
                  <a:pt x="2801652" y="2434016"/>
                  <a:pt x="2801768" y="2436027"/>
                </a:cubicBezTo>
                <a:cubicBezTo>
                  <a:pt x="2802001" y="2438038"/>
                  <a:pt x="2802233" y="2440048"/>
                  <a:pt x="2802466" y="2442059"/>
                </a:cubicBezTo>
                <a:lnTo>
                  <a:pt x="2803513" y="2447773"/>
                </a:lnTo>
                <a:lnTo>
                  <a:pt x="2804909" y="2453805"/>
                </a:lnTo>
                <a:lnTo>
                  <a:pt x="2806305" y="2459838"/>
                </a:lnTo>
                <a:lnTo>
                  <a:pt x="2808399" y="2465235"/>
                </a:lnTo>
                <a:lnTo>
                  <a:pt x="2810493" y="2470949"/>
                </a:lnTo>
                <a:lnTo>
                  <a:pt x="2812936" y="2476347"/>
                </a:lnTo>
                <a:lnTo>
                  <a:pt x="2815728" y="2482061"/>
                </a:lnTo>
                <a:lnTo>
                  <a:pt x="2818520" y="2487458"/>
                </a:lnTo>
                <a:lnTo>
                  <a:pt x="2822010" y="2492538"/>
                </a:lnTo>
                <a:lnTo>
                  <a:pt x="2825500" y="2497935"/>
                </a:lnTo>
                <a:lnTo>
                  <a:pt x="2829339" y="2502697"/>
                </a:lnTo>
                <a:lnTo>
                  <a:pt x="2833527" y="2507460"/>
                </a:lnTo>
                <a:lnTo>
                  <a:pt x="2837715" y="2512222"/>
                </a:lnTo>
                <a:lnTo>
                  <a:pt x="4276989" y="3949455"/>
                </a:lnTo>
                <a:lnTo>
                  <a:pt x="4281177" y="3953900"/>
                </a:lnTo>
                <a:lnTo>
                  <a:pt x="4285365" y="3958980"/>
                </a:lnTo>
                <a:lnTo>
                  <a:pt x="4289204" y="3963742"/>
                </a:lnTo>
                <a:lnTo>
                  <a:pt x="4292694" y="3968822"/>
                </a:lnTo>
                <a:lnTo>
                  <a:pt x="4296184" y="3974219"/>
                </a:lnTo>
                <a:lnTo>
                  <a:pt x="4298976" y="3979298"/>
                </a:lnTo>
                <a:lnTo>
                  <a:pt x="4301768" y="3985013"/>
                </a:lnTo>
                <a:lnTo>
                  <a:pt x="4304211" y="3990728"/>
                </a:lnTo>
                <a:lnTo>
                  <a:pt x="4306305" y="3996125"/>
                </a:lnTo>
                <a:lnTo>
                  <a:pt x="4308050" y="4001840"/>
                </a:lnTo>
                <a:lnTo>
                  <a:pt x="4309795" y="4007554"/>
                </a:lnTo>
                <a:lnTo>
                  <a:pt x="4311191" y="4013586"/>
                </a:lnTo>
                <a:cubicBezTo>
                  <a:pt x="4311424" y="4015597"/>
                  <a:pt x="4311656" y="4017607"/>
                  <a:pt x="4311889" y="4019618"/>
                </a:cubicBezTo>
                <a:cubicBezTo>
                  <a:pt x="4312122" y="4021523"/>
                  <a:pt x="4312354" y="4023428"/>
                  <a:pt x="4312587" y="4025333"/>
                </a:cubicBezTo>
                <a:cubicBezTo>
                  <a:pt x="4312820" y="4027344"/>
                  <a:pt x="4313052" y="4029354"/>
                  <a:pt x="4313285" y="4031365"/>
                </a:cubicBezTo>
                <a:lnTo>
                  <a:pt x="4313285" y="4037397"/>
                </a:lnTo>
                <a:lnTo>
                  <a:pt x="4313285" y="4043429"/>
                </a:lnTo>
                <a:cubicBezTo>
                  <a:pt x="4313052" y="4045334"/>
                  <a:pt x="4312820" y="4047239"/>
                  <a:pt x="4312587" y="4049144"/>
                </a:cubicBezTo>
                <a:cubicBezTo>
                  <a:pt x="4312354" y="4051155"/>
                  <a:pt x="4312122" y="4053165"/>
                  <a:pt x="4311889" y="4055176"/>
                </a:cubicBezTo>
                <a:cubicBezTo>
                  <a:pt x="4311656" y="4057187"/>
                  <a:pt x="4311424" y="4059197"/>
                  <a:pt x="4311191" y="4061208"/>
                </a:cubicBezTo>
                <a:lnTo>
                  <a:pt x="4309795" y="4066923"/>
                </a:lnTo>
                <a:lnTo>
                  <a:pt x="4308050" y="4072955"/>
                </a:lnTo>
                <a:lnTo>
                  <a:pt x="4306305" y="4078670"/>
                </a:lnTo>
                <a:lnTo>
                  <a:pt x="4304211" y="4084067"/>
                </a:lnTo>
                <a:lnTo>
                  <a:pt x="4301768" y="4089782"/>
                </a:lnTo>
                <a:lnTo>
                  <a:pt x="4298976" y="4095179"/>
                </a:lnTo>
                <a:lnTo>
                  <a:pt x="4296184" y="4100576"/>
                </a:lnTo>
                <a:lnTo>
                  <a:pt x="4292694" y="4105656"/>
                </a:lnTo>
                <a:lnTo>
                  <a:pt x="4289204" y="4111053"/>
                </a:lnTo>
                <a:lnTo>
                  <a:pt x="4285365" y="4115815"/>
                </a:lnTo>
                <a:lnTo>
                  <a:pt x="4281177" y="4120895"/>
                </a:lnTo>
                <a:lnTo>
                  <a:pt x="4276989" y="4125339"/>
                </a:lnTo>
                <a:lnTo>
                  <a:pt x="4272801" y="4129149"/>
                </a:lnTo>
                <a:lnTo>
                  <a:pt x="4268613" y="4132959"/>
                </a:lnTo>
                <a:lnTo>
                  <a:pt x="4264425" y="4136134"/>
                </a:lnTo>
                <a:lnTo>
                  <a:pt x="4259888" y="4139626"/>
                </a:lnTo>
                <a:lnTo>
                  <a:pt x="4255700" y="4142483"/>
                </a:lnTo>
                <a:lnTo>
                  <a:pt x="4250814" y="4145023"/>
                </a:lnTo>
                <a:lnTo>
                  <a:pt x="4246277" y="4147880"/>
                </a:lnTo>
                <a:lnTo>
                  <a:pt x="4241391" y="4150103"/>
                </a:lnTo>
                <a:lnTo>
                  <a:pt x="4236854" y="4152008"/>
                </a:lnTo>
                <a:lnTo>
                  <a:pt x="4231619" y="4154230"/>
                </a:lnTo>
                <a:lnTo>
                  <a:pt x="4226733" y="4156135"/>
                </a:lnTo>
                <a:lnTo>
                  <a:pt x="4221847" y="4157405"/>
                </a:lnTo>
                <a:lnTo>
                  <a:pt x="4216612" y="4158675"/>
                </a:lnTo>
                <a:lnTo>
                  <a:pt x="4211726" y="4159945"/>
                </a:lnTo>
                <a:lnTo>
                  <a:pt x="4206491" y="4160580"/>
                </a:lnTo>
                <a:lnTo>
                  <a:pt x="4201256" y="4161215"/>
                </a:lnTo>
                <a:lnTo>
                  <a:pt x="4196022" y="4161532"/>
                </a:lnTo>
                <a:lnTo>
                  <a:pt x="4191135" y="4161532"/>
                </a:lnTo>
                <a:lnTo>
                  <a:pt x="4185900" y="4161532"/>
                </a:lnTo>
                <a:lnTo>
                  <a:pt x="4180665" y="4161532"/>
                </a:lnTo>
                <a:lnTo>
                  <a:pt x="4175430" y="4160897"/>
                </a:lnTo>
                <a:lnTo>
                  <a:pt x="4170195" y="4160580"/>
                </a:lnTo>
                <a:lnTo>
                  <a:pt x="4165309" y="4159627"/>
                </a:lnTo>
                <a:lnTo>
                  <a:pt x="4159725" y="4158357"/>
                </a:lnTo>
                <a:lnTo>
                  <a:pt x="4154490" y="4157087"/>
                </a:lnTo>
                <a:lnTo>
                  <a:pt x="4149604" y="4155500"/>
                </a:lnTo>
                <a:lnTo>
                  <a:pt x="4144718" y="4153913"/>
                </a:lnTo>
                <a:lnTo>
                  <a:pt x="4139832" y="4151690"/>
                </a:lnTo>
                <a:lnTo>
                  <a:pt x="4134946" y="4149785"/>
                </a:lnTo>
                <a:lnTo>
                  <a:pt x="4130409" y="4147246"/>
                </a:lnTo>
                <a:lnTo>
                  <a:pt x="4125523" y="4144706"/>
                </a:lnTo>
                <a:lnTo>
                  <a:pt x="4120986" y="414216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35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  <a:noAutofit/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1C90E6BA-84D3-46D7-8FD5-6184B8D96D9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" y="2"/>
            <a:ext cx="15104736" cy="9601199"/>
          </a:xfrm>
          <a:custGeom>
            <a:avLst/>
            <a:gdLst>
              <a:gd name="connsiteX0" fmla="*/ 10789097 w 10789097"/>
              <a:gd name="connsiteY0" fmla="*/ 0 h 6857999"/>
              <a:gd name="connsiteX1" fmla="*/ 708177 w 10789097"/>
              <a:gd name="connsiteY1" fmla="*/ 0 h 6857999"/>
              <a:gd name="connsiteX2" fmla="*/ 683305 w 10789097"/>
              <a:gd name="connsiteY2" fmla="*/ 0 h 6857999"/>
              <a:gd name="connsiteX3" fmla="*/ 329787 w 10789097"/>
              <a:gd name="connsiteY3" fmla="*/ 0 h 6857999"/>
              <a:gd name="connsiteX4" fmla="*/ 240539 w 10789097"/>
              <a:gd name="connsiteY4" fmla="*/ 0 h 6857999"/>
              <a:gd name="connsiteX5" fmla="*/ 0 w 10789097"/>
              <a:gd name="connsiteY5" fmla="*/ 0 h 6857999"/>
              <a:gd name="connsiteX6" fmla="*/ 34549 w 10789097"/>
              <a:gd name="connsiteY6" fmla="*/ 34608 h 6857999"/>
              <a:gd name="connsiteX7" fmla="*/ 2681221 w 10789097"/>
              <a:gd name="connsiteY7" fmla="*/ 2678112 h 6857999"/>
              <a:gd name="connsiteX8" fmla="*/ 2685758 w 10789097"/>
              <a:gd name="connsiteY8" fmla="*/ 2682875 h 6857999"/>
              <a:gd name="connsiteX9" fmla="*/ 2689946 w 10789097"/>
              <a:gd name="connsiteY9" fmla="*/ 2687320 h 6857999"/>
              <a:gd name="connsiteX10" fmla="*/ 2693785 w 10789097"/>
              <a:gd name="connsiteY10" fmla="*/ 2692717 h 6857999"/>
              <a:gd name="connsiteX11" fmla="*/ 2697274 w 10789097"/>
              <a:gd name="connsiteY11" fmla="*/ 2697480 h 6857999"/>
              <a:gd name="connsiteX12" fmla="*/ 2700415 w 10789097"/>
              <a:gd name="connsiteY12" fmla="*/ 2702877 h 6857999"/>
              <a:gd name="connsiteX13" fmla="*/ 2703556 w 10789097"/>
              <a:gd name="connsiteY13" fmla="*/ 2708275 h 6857999"/>
              <a:gd name="connsiteX14" fmla="*/ 2706348 w 10789097"/>
              <a:gd name="connsiteY14" fmla="*/ 2713672 h 6857999"/>
              <a:gd name="connsiteX15" fmla="*/ 2708791 w 10789097"/>
              <a:gd name="connsiteY15" fmla="*/ 2719070 h 6857999"/>
              <a:gd name="connsiteX16" fmla="*/ 2710885 w 10789097"/>
              <a:gd name="connsiteY16" fmla="*/ 2725102 h 6857999"/>
              <a:gd name="connsiteX17" fmla="*/ 2712630 w 10789097"/>
              <a:gd name="connsiteY17" fmla="*/ 2730817 h 6857999"/>
              <a:gd name="connsiteX18" fmla="*/ 2714025 w 10789097"/>
              <a:gd name="connsiteY18" fmla="*/ 2736532 h 6857999"/>
              <a:gd name="connsiteX19" fmla="*/ 2715421 w 10789097"/>
              <a:gd name="connsiteY19" fmla="*/ 2742565 h 6857999"/>
              <a:gd name="connsiteX20" fmla="*/ 2716468 w 10789097"/>
              <a:gd name="connsiteY20" fmla="*/ 2748280 h 6857999"/>
              <a:gd name="connsiteX21" fmla="*/ 2717166 w 10789097"/>
              <a:gd name="connsiteY21" fmla="*/ 2753995 h 6857999"/>
              <a:gd name="connsiteX22" fmla="*/ 2717515 w 10789097"/>
              <a:gd name="connsiteY22" fmla="*/ 2760345 h 6857999"/>
              <a:gd name="connsiteX23" fmla="*/ 2717864 w 10789097"/>
              <a:gd name="connsiteY23" fmla="*/ 2766377 h 6857999"/>
              <a:gd name="connsiteX24" fmla="*/ 2717515 w 10789097"/>
              <a:gd name="connsiteY24" fmla="*/ 2772092 h 6857999"/>
              <a:gd name="connsiteX25" fmla="*/ 2717166 w 10789097"/>
              <a:gd name="connsiteY25" fmla="*/ 2778125 h 6857999"/>
              <a:gd name="connsiteX26" fmla="*/ 2716468 w 10789097"/>
              <a:gd name="connsiteY26" fmla="*/ 2784157 h 6857999"/>
              <a:gd name="connsiteX27" fmla="*/ 2715421 w 10789097"/>
              <a:gd name="connsiteY27" fmla="*/ 2790190 h 6857999"/>
              <a:gd name="connsiteX28" fmla="*/ 2714025 w 10789097"/>
              <a:gd name="connsiteY28" fmla="*/ 2795905 h 6857999"/>
              <a:gd name="connsiteX29" fmla="*/ 2712630 w 10789097"/>
              <a:gd name="connsiteY29" fmla="*/ 2801620 h 6857999"/>
              <a:gd name="connsiteX30" fmla="*/ 2710885 w 10789097"/>
              <a:gd name="connsiteY30" fmla="*/ 2807335 h 6857999"/>
              <a:gd name="connsiteX31" fmla="*/ 2708791 w 10789097"/>
              <a:gd name="connsiteY31" fmla="*/ 2813050 h 6857999"/>
              <a:gd name="connsiteX32" fmla="*/ 2706348 w 10789097"/>
              <a:gd name="connsiteY32" fmla="*/ 2818765 h 6857999"/>
              <a:gd name="connsiteX33" fmla="*/ 2703556 w 10789097"/>
              <a:gd name="connsiteY33" fmla="*/ 2824162 h 6857999"/>
              <a:gd name="connsiteX34" fmla="*/ 2700415 w 10789097"/>
              <a:gd name="connsiteY34" fmla="*/ 2829560 h 6857999"/>
              <a:gd name="connsiteX35" fmla="*/ 2697274 w 10789097"/>
              <a:gd name="connsiteY35" fmla="*/ 2834640 h 6857999"/>
              <a:gd name="connsiteX36" fmla="*/ 2693785 w 10789097"/>
              <a:gd name="connsiteY36" fmla="*/ 2840037 h 6857999"/>
              <a:gd name="connsiteX37" fmla="*/ 2689946 w 10789097"/>
              <a:gd name="connsiteY37" fmla="*/ 2844800 h 6857999"/>
              <a:gd name="connsiteX38" fmla="*/ 2685758 w 10789097"/>
              <a:gd name="connsiteY38" fmla="*/ 2849562 h 6857999"/>
              <a:gd name="connsiteX39" fmla="*/ 2681221 w 10789097"/>
              <a:gd name="connsiteY39" fmla="*/ 2854325 h 6857999"/>
              <a:gd name="connsiteX40" fmla="*/ 2676684 w 10789097"/>
              <a:gd name="connsiteY40" fmla="*/ 2858770 h 6857999"/>
              <a:gd name="connsiteX41" fmla="*/ 2671799 w 10789097"/>
              <a:gd name="connsiteY41" fmla="*/ 2862580 h 6857999"/>
              <a:gd name="connsiteX42" fmla="*/ 2666913 w 10789097"/>
              <a:gd name="connsiteY42" fmla="*/ 2866390 h 6857999"/>
              <a:gd name="connsiteX43" fmla="*/ 2661678 w 10789097"/>
              <a:gd name="connsiteY43" fmla="*/ 2870200 h 6857999"/>
              <a:gd name="connsiteX44" fmla="*/ 2656444 w 10789097"/>
              <a:gd name="connsiteY44" fmla="*/ 2873375 h 6857999"/>
              <a:gd name="connsiteX45" fmla="*/ 2651209 w 10789097"/>
              <a:gd name="connsiteY45" fmla="*/ 2876550 h 6857999"/>
              <a:gd name="connsiteX46" fmla="*/ 2645625 w 10789097"/>
              <a:gd name="connsiteY46" fmla="*/ 2879090 h 6857999"/>
              <a:gd name="connsiteX47" fmla="*/ 2640041 w 10789097"/>
              <a:gd name="connsiteY47" fmla="*/ 2881312 h 6857999"/>
              <a:gd name="connsiteX48" fmla="*/ 2634458 w 10789097"/>
              <a:gd name="connsiteY48" fmla="*/ 2883535 h 6857999"/>
              <a:gd name="connsiteX49" fmla="*/ 2628525 w 10789097"/>
              <a:gd name="connsiteY49" fmla="*/ 2885757 h 6857999"/>
              <a:gd name="connsiteX50" fmla="*/ 2622941 w 10789097"/>
              <a:gd name="connsiteY50" fmla="*/ 2887027 h 6857999"/>
              <a:gd name="connsiteX51" fmla="*/ 2617009 w 10789097"/>
              <a:gd name="connsiteY51" fmla="*/ 2888297 h 6857999"/>
              <a:gd name="connsiteX52" fmla="*/ 2611076 w 10789097"/>
              <a:gd name="connsiteY52" fmla="*/ 2889567 h 6857999"/>
              <a:gd name="connsiteX53" fmla="*/ 2605143 w 10789097"/>
              <a:gd name="connsiteY53" fmla="*/ 2890202 h 6857999"/>
              <a:gd name="connsiteX54" fmla="*/ 2599211 w 10789097"/>
              <a:gd name="connsiteY54" fmla="*/ 2890520 h 6857999"/>
              <a:gd name="connsiteX55" fmla="*/ 2593278 w 10789097"/>
              <a:gd name="connsiteY55" fmla="*/ 2890520 h 6857999"/>
              <a:gd name="connsiteX56" fmla="*/ 2587345 w 10789097"/>
              <a:gd name="connsiteY56" fmla="*/ 2890520 h 6857999"/>
              <a:gd name="connsiteX57" fmla="*/ 2581413 w 10789097"/>
              <a:gd name="connsiteY57" fmla="*/ 2890202 h 6857999"/>
              <a:gd name="connsiteX58" fmla="*/ 2575480 w 10789097"/>
              <a:gd name="connsiteY58" fmla="*/ 2889567 h 6857999"/>
              <a:gd name="connsiteX59" fmla="*/ 2569547 w 10789097"/>
              <a:gd name="connsiteY59" fmla="*/ 2888297 h 6857999"/>
              <a:gd name="connsiteX60" fmla="*/ 2563615 w 10789097"/>
              <a:gd name="connsiteY60" fmla="*/ 2887027 h 6857999"/>
              <a:gd name="connsiteX61" fmla="*/ 2557682 w 10789097"/>
              <a:gd name="connsiteY61" fmla="*/ 2885757 h 6857999"/>
              <a:gd name="connsiteX62" fmla="*/ 2552098 w 10789097"/>
              <a:gd name="connsiteY62" fmla="*/ 2883535 h 6857999"/>
              <a:gd name="connsiteX63" fmla="*/ 2546515 w 10789097"/>
              <a:gd name="connsiteY63" fmla="*/ 2881312 h 6857999"/>
              <a:gd name="connsiteX64" fmla="*/ 2540931 w 10789097"/>
              <a:gd name="connsiteY64" fmla="*/ 2879090 h 6857999"/>
              <a:gd name="connsiteX65" fmla="*/ 2535347 w 10789097"/>
              <a:gd name="connsiteY65" fmla="*/ 2876550 h 6857999"/>
              <a:gd name="connsiteX66" fmla="*/ 2530112 w 10789097"/>
              <a:gd name="connsiteY66" fmla="*/ 2873375 h 6857999"/>
              <a:gd name="connsiteX67" fmla="*/ 2524878 w 10789097"/>
              <a:gd name="connsiteY67" fmla="*/ 2870200 h 6857999"/>
              <a:gd name="connsiteX68" fmla="*/ 2519643 w 10789097"/>
              <a:gd name="connsiteY68" fmla="*/ 2866390 h 6857999"/>
              <a:gd name="connsiteX69" fmla="*/ 2514757 w 10789097"/>
              <a:gd name="connsiteY69" fmla="*/ 2862580 h 6857999"/>
              <a:gd name="connsiteX70" fmla="*/ 2509872 w 10789097"/>
              <a:gd name="connsiteY70" fmla="*/ 2858770 h 6857999"/>
              <a:gd name="connsiteX71" fmla="*/ 2505335 w 10789097"/>
              <a:gd name="connsiteY71" fmla="*/ 2854325 h 6857999"/>
              <a:gd name="connsiteX72" fmla="*/ 2390869 w 10789097"/>
              <a:gd name="connsiteY72" fmla="*/ 2740025 h 6857999"/>
              <a:gd name="connsiteX73" fmla="*/ 2385983 w 10789097"/>
              <a:gd name="connsiteY73" fmla="*/ 2735580 h 6857999"/>
              <a:gd name="connsiteX74" fmla="*/ 2381097 w 10789097"/>
              <a:gd name="connsiteY74" fmla="*/ 2731452 h 6857999"/>
              <a:gd name="connsiteX75" fmla="*/ 2376212 w 10789097"/>
              <a:gd name="connsiteY75" fmla="*/ 2727642 h 6857999"/>
              <a:gd name="connsiteX76" fmla="*/ 2371326 w 10789097"/>
              <a:gd name="connsiteY76" fmla="*/ 2724150 h 6857999"/>
              <a:gd name="connsiteX77" fmla="*/ 2366091 w 10789097"/>
              <a:gd name="connsiteY77" fmla="*/ 2720975 h 6857999"/>
              <a:gd name="connsiteX78" fmla="*/ 2360507 w 10789097"/>
              <a:gd name="connsiteY78" fmla="*/ 2717800 h 6857999"/>
              <a:gd name="connsiteX79" fmla="*/ 2355273 w 10789097"/>
              <a:gd name="connsiteY79" fmla="*/ 2715260 h 6857999"/>
              <a:gd name="connsiteX80" fmla="*/ 2349689 w 10789097"/>
              <a:gd name="connsiteY80" fmla="*/ 2713037 h 6857999"/>
              <a:gd name="connsiteX81" fmla="*/ 2343757 w 10789097"/>
              <a:gd name="connsiteY81" fmla="*/ 2710497 h 6857999"/>
              <a:gd name="connsiteX82" fmla="*/ 2338173 w 10789097"/>
              <a:gd name="connsiteY82" fmla="*/ 2708592 h 6857999"/>
              <a:gd name="connsiteX83" fmla="*/ 2332240 w 10789097"/>
              <a:gd name="connsiteY83" fmla="*/ 2707322 h 6857999"/>
              <a:gd name="connsiteX84" fmla="*/ 2326307 w 10789097"/>
              <a:gd name="connsiteY84" fmla="*/ 2706052 h 6857999"/>
              <a:gd name="connsiteX85" fmla="*/ 2320724 w 10789097"/>
              <a:gd name="connsiteY85" fmla="*/ 2704782 h 6857999"/>
              <a:gd name="connsiteX86" fmla="*/ 2314442 w 10789097"/>
              <a:gd name="connsiteY86" fmla="*/ 2704147 h 6857999"/>
              <a:gd name="connsiteX87" fmla="*/ 2308509 w 10789097"/>
              <a:gd name="connsiteY87" fmla="*/ 2703830 h 6857999"/>
              <a:gd name="connsiteX88" fmla="*/ 2302577 w 10789097"/>
              <a:gd name="connsiteY88" fmla="*/ 2703512 h 6857999"/>
              <a:gd name="connsiteX89" fmla="*/ 2296644 w 10789097"/>
              <a:gd name="connsiteY89" fmla="*/ 2703830 h 6857999"/>
              <a:gd name="connsiteX90" fmla="*/ 2290711 w 10789097"/>
              <a:gd name="connsiteY90" fmla="*/ 2704147 h 6857999"/>
              <a:gd name="connsiteX91" fmla="*/ 2284779 w 10789097"/>
              <a:gd name="connsiteY91" fmla="*/ 2704782 h 6857999"/>
              <a:gd name="connsiteX92" fmla="*/ 2278846 w 10789097"/>
              <a:gd name="connsiteY92" fmla="*/ 2706052 h 6857999"/>
              <a:gd name="connsiteX93" fmla="*/ 2272913 w 10789097"/>
              <a:gd name="connsiteY93" fmla="*/ 2707322 h 6857999"/>
              <a:gd name="connsiteX94" fmla="*/ 2267330 w 10789097"/>
              <a:gd name="connsiteY94" fmla="*/ 2708592 h 6857999"/>
              <a:gd name="connsiteX95" fmla="*/ 2261397 w 10789097"/>
              <a:gd name="connsiteY95" fmla="*/ 2710497 h 6857999"/>
              <a:gd name="connsiteX96" fmla="*/ 2255813 w 10789097"/>
              <a:gd name="connsiteY96" fmla="*/ 2713037 h 6857999"/>
              <a:gd name="connsiteX97" fmla="*/ 2250229 w 10789097"/>
              <a:gd name="connsiteY97" fmla="*/ 2715260 h 6857999"/>
              <a:gd name="connsiteX98" fmla="*/ 2244646 w 10789097"/>
              <a:gd name="connsiteY98" fmla="*/ 2717800 h 6857999"/>
              <a:gd name="connsiteX99" fmla="*/ 2239411 w 10789097"/>
              <a:gd name="connsiteY99" fmla="*/ 2720975 h 6857999"/>
              <a:gd name="connsiteX100" fmla="*/ 2234177 w 10789097"/>
              <a:gd name="connsiteY100" fmla="*/ 2724150 h 6857999"/>
              <a:gd name="connsiteX101" fmla="*/ 2228942 w 10789097"/>
              <a:gd name="connsiteY101" fmla="*/ 2727642 h 6857999"/>
              <a:gd name="connsiteX102" fmla="*/ 2224056 w 10789097"/>
              <a:gd name="connsiteY102" fmla="*/ 2731452 h 6857999"/>
              <a:gd name="connsiteX103" fmla="*/ 2219170 w 10789097"/>
              <a:gd name="connsiteY103" fmla="*/ 2735580 h 6857999"/>
              <a:gd name="connsiteX104" fmla="*/ 2214633 w 10789097"/>
              <a:gd name="connsiteY104" fmla="*/ 2740025 h 6857999"/>
              <a:gd name="connsiteX105" fmla="*/ 2210097 w 10789097"/>
              <a:gd name="connsiteY105" fmla="*/ 2744787 h 6857999"/>
              <a:gd name="connsiteX106" fmla="*/ 2206258 w 10789097"/>
              <a:gd name="connsiteY106" fmla="*/ 2749550 h 6857999"/>
              <a:gd name="connsiteX107" fmla="*/ 2202070 w 10789097"/>
              <a:gd name="connsiteY107" fmla="*/ 2754312 h 6857999"/>
              <a:gd name="connsiteX108" fmla="*/ 2198581 w 10789097"/>
              <a:gd name="connsiteY108" fmla="*/ 2759710 h 6857999"/>
              <a:gd name="connsiteX109" fmla="*/ 2195091 w 10789097"/>
              <a:gd name="connsiteY109" fmla="*/ 2764790 h 6857999"/>
              <a:gd name="connsiteX110" fmla="*/ 2191950 w 10789097"/>
              <a:gd name="connsiteY110" fmla="*/ 2770187 h 6857999"/>
              <a:gd name="connsiteX111" fmla="*/ 2189507 w 10789097"/>
              <a:gd name="connsiteY111" fmla="*/ 2775585 h 6857999"/>
              <a:gd name="connsiteX112" fmla="*/ 2187064 w 10789097"/>
              <a:gd name="connsiteY112" fmla="*/ 2781300 h 6857999"/>
              <a:gd name="connsiteX113" fmla="*/ 2184621 w 10789097"/>
              <a:gd name="connsiteY113" fmla="*/ 2787015 h 6857999"/>
              <a:gd name="connsiteX114" fmla="*/ 2182876 w 10789097"/>
              <a:gd name="connsiteY114" fmla="*/ 2792730 h 6857999"/>
              <a:gd name="connsiteX115" fmla="*/ 2181480 w 10789097"/>
              <a:gd name="connsiteY115" fmla="*/ 2798445 h 6857999"/>
              <a:gd name="connsiteX116" fmla="*/ 2180085 w 10789097"/>
              <a:gd name="connsiteY116" fmla="*/ 2804477 h 6857999"/>
              <a:gd name="connsiteX117" fmla="*/ 2179037 w 10789097"/>
              <a:gd name="connsiteY117" fmla="*/ 2810192 h 6857999"/>
              <a:gd name="connsiteX118" fmla="*/ 2178339 w 10789097"/>
              <a:gd name="connsiteY118" fmla="*/ 2816225 h 6857999"/>
              <a:gd name="connsiteX119" fmla="*/ 2177991 w 10789097"/>
              <a:gd name="connsiteY119" fmla="*/ 2822257 h 6857999"/>
              <a:gd name="connsiteX120" fmla="*/ 2177641 w 10789097"/>
              <a:gd name="connsiteY120" fmla="*/ 2827972 h 6857999"/>
              <a:gd name="connsiteX121" fmla="*/ 2177991 w 10789097"/>
              <a:gd name="connsiteY121" fmla="*/ 2834005 h 6857999"/>
              <a:gd name="connsiteX122" fmla="*/ 2178339 w 10789097"/>
              <a:gd name="connsiteY122" fmla="*/ 2840037 h 6857999"/>
              <a:gd name="connsiteX123" fmla="*/ 2179037 w 10789097"/>
              <a:gd name="connsiteY123" fmla="*/ 2845752 h 6857999"/>
              <a:gd name="connsiteX124" fmla="*/ 2180085 w 10789097"/>
              <a:gd name="connsiteY124" fmla="*/ 2851785 h 6857999"/>
              <a:gd name="connsiteX125" fmla="*/ 2181480 w 10789097"/>
              <a:gd name="connsiteY125" fmla="*/ 2857817 h 6857999"/>
              <a:gd name="connsiteX126" fmla="*/ 2182876 w 10789097"/>
              <a:gd name="connsiteY126" fmla="*/ 2863532 h 6857999"/>
              <a:gd name="connsiteX127" fmla="*/ 2184621 w 10789097"/>
              <a:gd name="connsiteY127" fmla="*/ 2869247 h 6857999"/>
              <a:gd name="connsiteX128" fmla="*/ 2187064 w 10789097"/>
              <a:gd name="connsiteY128" fmla="*/ 2875280 h 6857999"/>
              <a:gd name="connsiteX129" fmla="*/ 2189507 w 10789097"/>
              <a:gd name="connsiteY129" fmla="*/ 2880677 h 6857999"/>
              <a:gd name="connsiteX130" fmla="*/ 2191950 w 10789097"/>
              <a:gd name="connsiteY130" fmla="*/ 2886075 h 6857999"/>
              <a:gd name="connsiteX131" fmla="*/ 2195091 w 10789097"/>
              <a:gd name="connsiteY131" fmla="*/ 2891472 h 6857999"/>
              <a:gd name="connsiteX132" fmla="*/ 2198581 w 10789097"/>
              <a:gd name="connsiteY132" fmla="*/ 2896870 h 6857999"/>
              <a:gd name="connsiteX133" fmla="*/ 2202070 w 10789097"/>
              <a:gd name="connsiteY133" fmla="*/ 2901632 h 6857999"/>
              <a:gd name="connsiteX134" fmla="*/ 2206258 w 10789097"/>
              <a:gd name="connsiteY134" fmla="*/ 2906712 h 6857999"/>
              <a:gd name="connsiteX135" fmla="*/ 2210097 w 10789097"/>
              <a:gd name="connsiteY135" fmla="*/ 2911475 h 6857999"/>
              <a:gd name="connsiteX136" fmla="*/ 2214633 w 10789097"/>
              <a:gd name="connsiteY136" fmla="*/ 2916237 h 6857999"/>
              <a:gd name="connsiteX137" fmla="*/ 2938420 w 10789097"/>
              <a:gd name="connsiteY137" fmla="*/ 3639502 h 6857999"/>
              <a:gd name="connsiteX138" fmla="*/ 2942957 w 10789097"/>
              <a:gd name="connsiteY138" fmla="*/ 3643947 h 6857999"/>
              <a:gd name="connsiteX139" fmla="*/ 2947145 w 10789097"/>
              <a:gd name="connsiteY139" fmla="*/ 3648710 h 6857999"/>
              <a:gd name="connsiteX140" fmla="*/ 2950984 w 10789097"/>
              <a:gd name="connsiteY140" fmla="*/ 3653790 h 6857999"/>
              <a:gd name="connsiteX141" fmla="*/ 2954473 w 10789097"/>
              <a:gd name="connsiteY141" fmla="*/ 3658870 h 6857999"/>
              <a:gd name="connsiteX142" fmla="*/ 2957614 w 10789097"/>
              <a:gd name="connsiteY142" fmla="*/ 3664267 h 6857999"/>
              <a:gd name="connsiteX143" fmla="*/ 2960755 w 10789097"/>
              <a:gd name="connsiteY143" fmla="*/ 3669347 h 6857999"/>
              <a:gd name="connsiteX144" fmla="*/ 2963547 w 10789097"/>
              <a:gd name="connsiteY144" fmla="*/ 3675062 h 6857999"/>
              <a:gd name="connsiteX145" fmla="*/ 2965641 w 10789097"/>
              <a:gd name="connsiteY145" fmla="*/ 3680460 h 6857999"/>
              <a:gd name="connsiteX146" fmla="*/ 2968084 w 10789097"/>
              <a:gd name="connsiteY146" fmla="*/ 3686175 h 6857999"/>
              <a:gd name="connsiteX147" fmla="*/ 2969829 w 10789097"/>
              <a:gd name="connsiteY147" fmla="*/ 3691890 h 6857999"/>
              <a:gd name="connsiteX148" fmla="*/ 2971224 w 10789097"/>
              <a:gd name="connsiteY148" fmla="*/ 3697605 h 6857999"/>
              <a:gd name="connsiteX149" fmla="*/ 2972620 w 10789097"/>
              <a:gd name="connsiteY149" fmla="*/ 3703637 h 6857999"/>
              <a:gd name="connsiteX150" fmla="*/ 2973667 w 10789097"/>
              <a:gd name="connsiteY150" fmla="*/ 3709670 h 6857999"/>
              <a:gd name="connsiteX151" fmla="*/ 2974365 w 10789097"/>
              <a:gd name="connsiteY151" fmla="*/ 3715385 h 6857999"/>
              <a:gd name="connsiteX152" fmla="*/ 2974714 w 10789097"/>
              <a:gd name="connsiteY152" fmla="*/ 3721417 h 6857999"/>
              <a:gd name="connsiteX153" fmla="*/ 2975063 w 10789097"/>
              <a:gd name="connsiteY153" fmla="*/ 3727450 h 6857999"/>
              <a:gd name="connsiteX154" fmla="*/ 2974714 w 10789097"/>
              <a:gd name="connsiteY154" fmla="*/ 3733165 h 6857999"/>
              <a:gd name="connsiteX155" fmla="*/ 2974365 w 10789097"/>
              <a:gd name="connsiteY155" fmla="*/ 3739197 h 6857999"/>
              <a:gd name="connsiteX156" fmla="*/ 2973667 w 10789097"/>
              <a:gd name="connsiteY156" fmla="*/ 3745230 h 6857999"/>
              <a:gd name="connsiteX157" fmla="*/ 2972620 w 10789097"/>
              <a:gd name="connsiteY157" fmla="*/ 3750945 h 6857999"/>
              <a:gd name="connsiteX158" fmla="*/ 2971224 w 10789097"/>
              <a:gd name="connsiteY158" fmla="*/ 3756977 h 6857999"/>
              <a:gd name="connsiteX159" fmla="*/ 2969829 w 10789097"/>
              <a:gd name="connsiteY159" fmla="*/ 3763010 h 6857999"/>
              <a:gd name="connsiteX160" fmla="*/ 2968084 w 10789097"/>
              <a:gd name="connsiteY160" fmla="*/ 3768407 h 6857999"/>
              <a:gd name="connsiteX161" fmla="*/ 2965641 w 10789097"/>
              <a:gd name="connsiteY161" fmla="*/ 3774122 h 6857999"/>
              <a:gd name="connsiteX162" fmla="*/ 2963547 w 10789097"/>
              <a:gd name="connsiteY162" fmla="*/ 3779837 h 6857999"/>
              <a:gd name="connsiteX163" fmla="*/ 2960755 w 10789097"/>
              <a:gd name="connsiteY163" fmla="*/ 3785235 h 6857999"/>
              <a:gd name="connsiteX164" fmla="*/ 2957614 w 10789097"/>
              <a:gd name="connsiteY164" fmla="*/ 3790632 h 6857999"/>
              <a:gd name="connsiteX165" fmla="*/ 2954473 w 10789097"/>
              <a:gd name="connsiteY165" fmla="*/ 3795712 h 6857999"/>
              <a:gd name="connsiteX166" fmla="*/ 2950984 w 10789097"/>
              <a:gd name="connsiteY166" fmla="*/ 3801110 h 6857999"/>
              <a:gd name="connsiteX167" fmla="*/ 2947145 w 10789097"/>
              <a:gd name="connsiteY167" fmla="*/ 3805872 h 6857999"/>
              <a:gd name="connsiteX168" fmla="*/ 2942957 w 10789097"/>
              <a:gd name="connsiteY168" fmla="*/ 3810635 h 6857999"/>
              <a:gd name="connsiteX169" fmla="*/ 2938420 w 10789097"/>
              <a:gd name="connsiteY169" fmla="*/ 3815397 h 6857999"/>
              <a:gd name="connsiteX170" fmla="*/ 2933884 w 10789097"/>
              <a:gd name="connsiteY170" fmla="*/ 3819842 h 6857999"/>
              <a:gd name="connsiteX171" fmla="*/ 2928998 w 10789097"/>
              <a:gd name="connsiteY171" fmla="*/ 3823970 h 6857999"/>
              <a:gd name="connsiteX172" fmla="*/ 2924112 w 10789097"/>
              <a:gd name="connsiteY172" fmla="*/ 3827780 h 6857999"/>
              <a:gd name="connsiteX173" fmla="*/ 2918877 w 10789097"/>
              <a:gd name="connsiteY173" fmla="*/ 3831272 h 6857999"/>
              <a:gd name="connsiteX174" fmla="*/ 2913643 w 10789097"/>
              <a:gd name="connsiteY174" fmla="*/ 3834447 h 6857999"/>
              <a:gd name="connsiteX175" fmla="*/ 2908408 w 10789097"/>
              <a:gd name="connsiteY175" fmla="*/ 3837622 h 6857999"/>
              <a:gd name="connsiteX176" fmla="*/ 2902824 w 10789097"/>
              <a:gd name="connsiteY176" fmla="*/ 3840480 h 6857999"/>
              <a:gd name="connsiteX177" fmla="*/ 2897240 w 10789097"/>
              <a:gd name="connsiteY177" fmla="*/ 3843020 h 6857999"/>
              <a:gd name="connsiteX178" fmla="*/ 2891657 w 10789097"/>
              <a:gd name="connsiteY178" fmla="*/ 3844925 h 6857999"/>
              <a:gd name="connsiteX179" fmla="*/ 2885724 w 10789097"/>
              <a:gd name="connsiteY179" fmla="*/ 3846830 h 6857999"/>
              <a:gd name="connsiteX180" fmla="*/ 2880140 w 10789097"/>
              <a:gd name="connsiteY180" fmla="*/ 3848417 h 6857999"/>
              <a:gd name="connsiteX181" fmla="*/ 2874208 w 10789097"/>
              <a:gd name="connsiteY181" fmla="*/ 3849370 h 6857999"/>
              <a:gd name="connsiteX182" fmla="*/ 2868275 w 10789097"/>
              <a:gd name="connsiteY182" fmla="*/ 3850640 h 6857999"/>
              <a:gd name="connsiteX183" fmla="*/ 2862342 w 10789097"/>
              <a:gd name="connsiteY183" fmla="*/ 3851275 h 6857999"/>
              <a:gd name="connsiteX184" fmla="*/ 2856410 w 10789097"/>
              <a:gd name="connsiteY184" fmla="*/ 3851592 h 6857999"/>
              <a:gd name="connsiteX185" fmla="*/ 2850477 w 10789097"/>
              <a:gd name="connsiteY185" fmla="*/ 3851910 h 6857999"/>
              <a:gd name="connsiteX186" fmla="*/ 2844544 w 10789097"/>
              <a:gd name="connsiteY186" fmla="*/ 3851592 h 6857999"/>
              <a:gd name="connsiteX187" fmla="*/ 2838612 w 10789097"/>
              <a:gd name="connsiteY187" fmla="*/ 3851275 h 6857999"/>
              <a:gd name="connsiteX188" fmla="*/ 2832679 w 10789097"/>
              <a:gd name="connsiteY188" fmla="*/ 3850640 h 6857999"/>
              <a:gd name="connsiteX189" fmla="*/ 2826746 w 10789097"/>
              <a:gd name="connsiteY189" fmla="*/ 3849370 h 6857999"/>
              <a:gd name="connsiteX190" fmla="*/ 2820814 w 10789097"/>
              <a:gd name="connsiteY190" fmla="*/ 3848417 h 6857999"/>
              <a:gd name="connsiteX191" fmla="*/ 2814881 w 10789097"/>
              <a:gd name="connsiteY191" fmla="*/ 3846830 h 6857999"/>
              <a:gd name="connsiteX192" fmla="*/ 2809297 w 10789097"/>
              <a:gd name="connsiteY192" fmla="*/ 3844925 h 6857999"/>
              <a:gd name="connsiteX193" fmla="*/ 2803714 w 10789097"/>
              <a:gd name="connsiteY193" fmla="*/ 3843020 h 6857999"/>
              <a:gd name="connsiteX194" fmla="*/ 2798130 w 10789097"/>
              <a:gd name="connsiteY194" fmla="*/ 3840480 h 6857999"/>
              <a:gd name="connsiteX195" fmla="*/ 2792546 w 10789097"/>
              <a:gd name="connsiteY195" fmla="*/ 3837622 h 6857999"/>
              <a:gd name="connsiteX196" fmla="*/ 2787311 w 10789097"/>
              <a:gd name="connsiteY196" fmla="*/ 3834447 h 6857999"/>
              <a:gd name="connsiteX197" fmla="*/ 2782077 w 10789097"/>
              <a:gd name="connsiteY197" fmla="*/ 3831272 h 6857999"/>
              <a:gd name="connsiteX198" fmla="*/ 2776842 w 10789097"/>
              <a:gd name="connsiteY198" fmla="*/ 3827780 h 6857999"/>
              <a:gd name="connsiteX199" fmla="*/ 2771956 w 10789097"/>
              <a:gd name="connsiteY199" fmla="*/ 3823970 h 6857999"/>
              <a:gd name="connsiteX200" fmla="*/ 2767071 w 10789097"/>
              <a:gd name="connsiteY200" fmla="*/ 3819842 h 6857999"/>
              <a:gd name="connsiteX201" fmla="*/ 2762534 w 10789097"/>
              <a:gd name="connsiteY201" fmla="*/ 3815397 h 6857999"/>
              <a:gd name="connsiteX202" fmla="*/ 2666564 w 10789097"/>
              <a:gd name="connsiteY202" fmla="*/ 3720147 h 6857999"/>
              <a:gd name="connsiteX203" fmla="*/ 2559078 w 10789097"/>
              <a:gd name="connsiteY203" fmla="*/ 3612515 h 6857999"/>
              <a:gd name="connsiteX204" fmla="*/ 2554541 w 10789097"/>
              <a:gd name="connsiteY204" fmla="*/ 3608070 h 6857999"/>
              <a:gd name="connsiteX205" fmla="*/ 2549655 w 10789097"/>
              <a:gd name="connsiteY205" fmla="*/ 3604260 h 6857999"/>
              <a:gd name="connsiteX206" fmla="*/ 2544770 w 10789097"/>
              <a:gd name="connsiteY206" fmla="*/ 3600132 h 6857999"/>
              <a:gd name="connsiteX207" fmla="*/ 2539535 w 10789097"/>
              <a:gd name="connsiteY207" fmla="*/ 3596640 h 6857999"/>
              <a:gd name="connsiteX208" fmla="*/ 2534300 w 10789097"/>
              <a:gd name="connsiteY208" fmla="*/ 3593465 h 6857999"/>
              <a:gd name="connsiteX209" fmla="*/ 2529066 w 10789097"/>
              <a:gd name="connsiteY209" fmla="*/ 3590290 h 6857999"/>
              <a:gd name="connsiteX210" fmla="*/ 2523482 w 10789097"/>
              <a:gd name="connsiteY210" fmla="*/ 3587750 h 6857999"/>
              <a:gd name="connsiteX211" fmla="*/ 2517898 w 10789097"/>
              <a:gd name="connsiteY211" fmla="*/ 3585210 h 6857999"/>
              <a:gd name="connsiteX212" fmla="*/ 2512314 w 10789097"/>
              <a:gd name="connsiteY212" fmla="*/ 3583305 h 6857999"/>
              <a:gd name="connsiteX213" fmla="*/ 2506731 w 10789097"/>
              <a:gd name="connsiteY213" fmla="*/ 3581082 h 6857999"/>
              <a:gd name="connsiteX214" fmla="*/ 2500798 w 10789097"/>
              <a:gd name="connsiteY214" fmla="*/ 3579812 h 6857999"/>
              <a:gd name="connsiteX215" fmla="*/ 2494865 w 10789097"/>
              <a:gd name="connsiteY215" fmla="*/ 3578225 h 6857999"/>
              <a:gd name="connsiteX216" fmla="*/ 2488933 w 10789097"/>
              <a:gd name="connsiteY216" fmla="*/ 3577272 h 6857999"/>
              <a:gd name="connsiteX217" fmla="*/ 2483000 w 10789097"/>
              <a:gd name="connsiteY217" fmla="*/ 3576637 h 6857999"/>
              <a:gd name="connsiteX218" fmla="*/ 2476718 w 10789097"/>
              <a:gd name="connsiteY218" fmla="*/ 3576320 h 6857999"/>
              <a:gd name="connsiteX219" fmla="*/ 2470786 w 10789097"/>
              <a:gd name="connsiteY219" fmla="*/ 3576320 h 6857999"/>
              <a:gd name="connsiteX220" fmla="*/ 2464853 w 10789097"/>
              <a:gd name="connsiteY220" fmla="*/ 3576320 h 6857999"/>
              <a:gd name="connsiteX221" fmla="*/ 2458920 w 10789097"/>
              <a:gd name="connsiteY221" fmla="*/ 3576637 h 6857999"/>
              <a:gd name="connsiteX222" fmla="*/ 2452988 w 10789097"/>
              <a:gd name="connsiteY222" fmla="*/ 3577272 h 6857999"/>
              <a:gd name="connsiteX223" fmla="*/ 2447055 w 10789097"/>
              <a:gd name="connsiteY223" fmla="*/ 3578225 h 6857999"/>
              <a:gd name="connsiteX224" fmla="*/ 2441122 w 10789097"/>
              <a:gd name="connsiteY224" fmla="*/ 3579812 h 6857999"/>
              <a:gd name="connsiteX225" fmla="*/ 2435190 w 10789097"/>
              <a:gd name="connsiteY225" fmla="*/ 3581082 h 6857999"/>
              <a:gd name="connsiteX226" fmla="*/ 2429606 w 10789097"/>
              <a:gd name="connsiteY226" fmla="*/ 3583305 h 6857999"/>
              <a:gd name="connsiteX227" fmla="*/ 2424022 w 10789097"/>
              <a:gd name="connsiteY227" fmla="*/ 3585210 h 6857999"/>
              <a:gd name="connsiteX228" fmla="*/ 2418439 w 10789097"/>
              <a:gd name="connsiteY228" fmla="*/ 3587750 h 6857999"/>
              <a:gd name="connsiteX229" fmla="*/ 2412855 w 10789097"/>
              <a:gd name="connsiteY229" fmla="*/ 3590290 h 6857999"/>
              <a:gd name="connsiteX230" fmla="*/ 2407620 w 10789097"/>
              <a:gd name="connsiteY230" fmla="*/ 3593465 h 6857999"/>
              <a:gd name="connsiteX231" fmla="*/ 2402385 w 10789097"/>
              <a:gd name="connsiteY231" fmla="*/ 3596640 h 6857999"/>
              <a:gd name="connsiteX232" fmla="*/ 2397151 w 10789097"/>
              <a:gd name="connsiteY232" fmla="*/ 3600450 h 6857999"/>
              <a:gd name="connsiteX233" fmla="*/ 2392265 w 10789097"/>
              <a:gd name="connsiteY233" fmla="*/ 3604260 h 6857999"/>
              <a:gd name="connsiteX234" fmla="*/ 2387379 w 10789097"/>
              <a:gd name="connsiteY234" fmla="*/ 3608070 h 6857999"/>
              <a:gd name="connsiteX235" fmla="*/ 2382842 w 10789097"/>
              <a:gd name="connsiteY235" fmla="*/ 3612515 h 6857999"/>
              <a:gd name="connsiteX236" fmla="*/ 2379003 w 10789097"/>
              <a:gd name="connsiteY236" fmla="*/ 3616325 h 6857999"/>
              <a:gd name="connsiteX237" fmla="*/ 2375863 w 10789097"/>
              <a:gd name="connsiteY237" fmla="*/ 3620135 h 6857999"/>
              <a:gd name="connsiteX238" fmla="*/ 2369581 w 10789097"/>
              <a:gd name="connsiteY238" fmla="*/ 3628390 h 6857999"/>
              <a:gd name="connsiteX239" fmla="*/ 2363997 w 10789097"/>
              <a:gd name="connsiteY239" fmla="*/ 3636327 h 6857999"/>
              <a:gd name="connsiteX240" fmla="*/ 2359461 w 10789097"/>
              <a:gd name="connsiteY240" fmla="*/ 3644900 h 6857999"/>
              <a:gd name="connsiteX241" fmla="*/ 2355273 w 10789097"/>
              <a:gd name="connsiteY241" fmla="*/ 3654107 h 6857999"/>
              <a:gd name="connsiteX242" fmla="*/ 2352132 w 10789097"/>
              <a:gd name="connsiteY242" fmla="*/ 3663315 h 6857999"/>
              <a:gd name="connsiteX243" fmla="*/ 2349689 w 10789097"/>
              <a:gd name="connsiteY243" fmla="*/ 3672522 h 6857999"/>
              <a:gd name="connsiteX244" fmla="*/ 2347944 w 10789097"/>
              <a:gd name="connsiteY244" fmla="*/ 3682047 h 6857999"/>
              <a:gd name="connsiteX245" fmla="*/ 2346897 w 10789097"/>
              <a:gd name="connsiteY245" fmla="*/ 3691572 h 6857999"/>
              <a:gd name="connsiteX246" fmla="*/ 2346548 w 10789097"/>
              <a:gd name="connsiteY246" fmla="*/ 3701097 h 6857999"/>
              <a:gd name="connsiteX247" fmla="*/ 2347246 w 10789097"/>
              <a:gd name="connsiteY247" fmla="*/ 3710622 h 6857999"/>
              <a:gd name="connsiteX248" fmla="*/ 2348293 w 10789097"/>
              <a:gd name="connsiteY248" fmla="*/ 3720465 h 6857999"/>
              <a:gd name="connsiteX249" fmla="*/ 2350387 w 10789097"/>
              <a:gd name="connsiteY249" fmla="*/ 3729672 h 6857999"/>
              <a:gd name="connsiteX250" fmla="*/ 2352830 w 10789097"/>
              <a:gd name="connsiteY250" fmla="*/ 3739197 h 6857999"/>
              <a:gd name="connsiteX251" fmla="*/ 2356320 w 10789097"/>
              <a:gd name="connsiteY251" fmla="*/ 3748405 h 6857999"/>
              <a:gd name="connsiteX252" fmla="*/ 2360507 w 10789097"/>
              <a:gd name="connsiteY252" fmla="*/ 3756977 h 6857999"/>
              <a:gd name="connsiteX253" fmla="*/ 2651907 w 10789097"/>
              <a:gd name="connsiteY253" fmla="*/ 4048442 h 6857999"/>
              <a:gd name="connsiteX254" fmla="*/ 2656444 w 10789097"/>
              <a:gd name="connsiteY254" fmla="*/ 4052887 h 6857999"/>
              <a:gd name="connsiteX255" fmla="*/ 2660631 w 10789097"/>
              <a:gd name="connsiteY255" fmla="*/ 4057967 h 6857999"/>
              <a:gd name="connsiteX256" fmla="*/ 2664470 w 10789097"/>
              <a:gd name="connsiteY256" fmla="*/ 4062730 h 6857999"/>
              <a:gd name="connsiteX257" fmla="*/ 2667960 w 10789097"/>
              <a:gd name="connsiteY257" fmla="*/ 4067810 h 6857999"/>
              <a:gd name="connsiteX258" fmla="*/ 2671101 w 10789097"/>
              <a:gd name="connsiteY258" fmla="*/ 4073207 h 6857999"/>
              <a:gd name="connsiteX259" fmla="*/ 2674242 w 10789097"/>
              <a:gd name="connsiteY259" fmla="*/ 4078287 h 6857999"/>
              <a:gd name="connsiteX260" fmla="*/ 2677033 w 10789097"/>
              <a:gd name="connsiteY260" fmla="*/ 4084002 h 6857999"/>
              <a:gd name="connsiteX261" fmla="*/ 2679476 w 10789097"/>
              <a:gd name="connsiteY261" fmla="*/ 4089717 h 6857999"/>
              <a:gd name="connsiteX262" fmla="*/ 2681570 w 10789097"/>
              <a:gd name="connsiteY262" fmla="*/ 4095115 h 6857999"/>
              <a:gd name="connsiteX263" fmla="*/ 2683315 w 10789097"/>
              <a:gd name="connsiteY263" fmla="*/ 4100830 h 6857999"/>
              <a:gd name="connsiteX264" fmla="*/ 2684711 w 10789097"/>
              <a:gd name="connsiteY264" fmla="*/ 4106862 h 6857999"/>
              <a:gd name="connsiteX265" fmla="*/ 2686107 w 10789097"/>
              <a:gd name="connsiteY265" fmla="*/ 4112577 h 6857999"/>
              <a:gd name="connsiteX266" fmla="*/ 2687154 w 10789097"/>
              <a:gd name="connsiteY266" fmla="*/ 4118610 h 6857999"/>
              <a:gd name="connsiteX267" fmla="*/ 2687852 w 10789097"/>
              <a:gd name="connsiteY267" fmla="*/ 4124642 h 6857999"/>
              <a:gd name="connsiteX268" fmla="*/ 2688201 w 10789097"/>
              <a:gd name="connsiteY268" fmla="*/ 4130357 h 6857999"/>
              <a:gd name="connsiteX269" fmla="*/ 2688550 w 10789097"/>
              <a:gd name="connsiteY269" fmla="*/ 4136390 h 6857999"/>
              <a:gd name="connsiteX270" fmla="*/ 2688201 w 10789097"/>
              <a:gd name="connsiteY270" fmla="*/ 4142422 h 6857999"/>
              <a:gd name="connsiteX271" fmla="*/ 2687852 w 10789097"/>
              <a:gd name="connsiteY271" fmla="*/ 4148137 h 6857999"/>
              <a:gd name="connsiteX272" fmla="*/ 2687154 w 10789097"/>
              <a:gd name="connsiteY272" fmla="*/ 4154170 h 6857999"/>
              <a:gd name="connsiteX273" fmla="*/ 2686107 w 10789097"/>
              <a:gd name="connsiteY273" fmla="*/ 4160202 h 6857999"/>
              <a:gd name="connsiteX274" fmla="*/ 2684711 w 10789097"/>
              <a:gd name="connsiteY274" fmla="*/ 4165917 h 6857999"/>
              <a:gd name="connsiteX275" fmla="*/ 2683315 w 10789097"/>
              <a:gd name="connsiteY275" fmla="*/ 4171632 h 6857999"/>
              <a:gd name="connsiteX276" fmla="*/ 2681570 w 10789097"/>
              <a:gd name="connsiteY276" fmla="*/ 4177665 h 6857999"/>
              <a:gd name="connsiteX277" fmla="*/ 2679476 w 10789097"/>
              <a:gd name="connsiteY277" fmla="*/ 4183062 h 6857999"/>
              <a:gd name="connsiteX278" fmla="*/ 2677033 w 10789097"/>
              <a:gd name="connsiteY278" fmla="*/ 4188777 h 6857999"/>
              <a:gd name="connsiteX279" fmla="*/ 2674242 w 10789097"/>
              <a:gd name="connsiteY279" fmla="*/ 4194175 h 6857999"/>
              <a:gd name="connsiteX280" fmla="*/ 2671101 w 10789097"/>
              <a:gd name="connsiteY280" fmla="*/ 4199572 h 6857999"/>
              <a:gd name="connsiteX281" fmla="*/ 2667960 w 10789097"/>
              <a:gd name="connsiteY281" fmla="*/ 4204652 h 6857999"/>
              <a:gd name="connsiteX282" fmla="*/ 2664470 w 10789097"/>
              <a:gd name="connsiteY282" fmla="*/ 4210050 h 6857999"/>
              <a:gd name="connsiteX283" fmla="*/ 2660631 w 10789097"/>
              <a:gd name="connsiteY283" fmla="*/ 4214812 h 6857999"/>
              <a:gd name="connsiteX284" fmla="*/ 2656444 w 10789097"/>
              <a:gd name="connsiteY284" fmla="*/ 4219892 h 6857999"/>
              <a:gd name="connsiteX285" fmla="*/ 2651907 w 10789097"/>
              <a:gd name="connsiteY285" fmla="*/ 4224337 h 6857999"/>
              <a:gd name="connsiteX286" fmla="*/ 2647370 w 10789097"/>
              <a:gd name="connsiteY286" fmla="*/ 4228782 h 6857999"/>
              <a:gd name="connsiteX287" fmla="*/ 2642484 w 10789097"/>
              <a:gd name="connsiteY287" fmla="*/ 4232592 h 6857999"/>
              <a:gd name="connsiteX288" fmla="*/ 2637599 w 10789097"/>
              <a:gd name="connsiteY288" fmla="*/ 4236402 h 6857999"/>
              <a:gd name="connsiteX289" fmla="*/ 2632713 w 10789097"/>
              <a:gd name="connsiteY289" fmla="*/ 4239895 h 6857999"/>
              <a:gd name="connsiteX290" fmla="*/ 2627478 w 10789097"/>
              <a:gd name="connsiteY290" fmla="*/ 4243387 h 6857999"/>
              <a:gd name="connsiteX291" fmla="*/ 2622243 w 10789097"/>
              <a:gd name="connsiteY291" fmla="*/ 4246245 h 6857999"/>
              <a:gd name="connsiteX292" fmla="*/ 2616660 w 10789097"/>
              <a:gd name="connsiteY292" fmla="*/ 4249102 h 6857999"/>
              <a:gd name="connsiteX293" fmla="*/ 2611425 w 10789097"/>
              <a:gd name="connsiteY293" fmla="*/ 4251642 h 6857999"/>
              <a:gd name="connsiteX294" fmla="*/ 2605841 w 10789097"/>
              <a:gd name="connsiteY294" fmla="*/ 4253547 h 6857999"/>
              <a:gd name="connsiteX295" fmla="*/ 2599909 w 10789097"/>
              <a:gd name="connsiteY295" fmla="*/ 4255452 h 6857999"/>
              <a:gd name="connsiteX296" fmla="*/ 2594325 w 10789097"/>
              <a:gd name="connsiteY296" fmla="*/ 4257040 h 6857999"/>
              <a:gd name="connsiteX297" fmla="*/ 2588392 w 10789097"/>
              <a:gd name="connsiteY297" fmla="*/ 4258627 h 6857999"/>
              <a:gd name="connsiteX298" fmla="*/ 2582809 w 10789097"/>
              <a:gd name="connsiteY298" fmla="*/ 4259262 h 6857999"/>
              <a:gd name="connsiteX299" fmla="*/ 2576876 w 10789097"/>
              <a:gd name="connsiteY299" fmla="*/ 4260215 h 6857999"/>
              <a:gd name="connsiteX300" fmla="*/ 2570943 w 10789097"/>
              <a:gd name="connsiteY300" fmla="*/ 4260532 h 6857999"/>
              <a:gd name="connsiteX301" fmla="*/ 2565011 w 10789097"/>
              <a:gd name="connsiteY301" fmla="*/ 4260532 h 6857999"/>
              <a:gd name="connsiteX302" fmla="*/ 5169805 w 10789097"/>
              <a:gd name="connsiteY302" fmla="*/ 6857999 h 6857999"/>
              <a:gd name="connsiteX303" fmla="*/ 10789097 w 10789097"/>
              <a:gd name="connsiteY303" fmla="*/ 6857999 h 6857999"/>
              <a:gd name="connsiteX0" fmla="*/ 10789097 w 10789097"/>
              <a:gd name="connsiteY0" fmla="*/ 0 h 6857999"/>
              <a:gd name="connsiteX1" fmla="*/ 708177 w 10789097"/>
              <a:gd name="connsiteY1" fmla="*/ 0 h 6857999"/>
              <a:gd name="connsiteX2" fmla="*/ 329787 w 10789097"/>
              <a:gd name="connsiteY2" fmla="*/ 0 h 6857999"/>
              <a:gd name="connsiteX3" fmla="*/ 240539 w 10789097"/>
              <a:gd name="connsiteY3" fmla="*/ 0 h 6857999"/>
              <a:gd name="connsiteX4" fmla="*/ 0 w 10789097"/>
              <a:gd name="connsiteY4" fmla="*/ 0 h 6857999"/>
              <a:gd name="connsiteX5" fmla="*/ 34549 w 10789097"/>
              <a:gd name="connsiteY5" fmla="*/ 34608 h 6857999"/>
              <a:gd name="connsiteX6" fmla="*/ 2681221 w 10789097"/>
              <a:gd name="connsiteY6" fmla="*/ 2678112 h 6857999"/>
              <a:gd name="connsiteX7" fmla="*/ 2685758 w 10789097"/>
              <a:gd name="connsiteY7" fmla="*/ 2682875 h 6857999"/>
              <a:gd name="connsiteX8" fmla="*/ 2689946 w 10789097"/>
              <a:gd name="connsiteY8" fmla="*/ 2687320 h 6857999"/>
              <a:gd name="connsiteX9" fmla="*/ 2693785 w 10789097"/>
              <a:gd name="connsiteY9" fmla="*/ 2692717 h 6857999"/>
              <a:gd name="connsiteX10" fmla="*/ 2697274 w 10789097"/>
              <a:gd name="connsiteY10" fmla="*/ 2697480 h 6857999"/>
              <a:gd name="connsiteX11" fmla="*/ 2700415 w 10789097"/>
              <a:gd name="connsiteY11" fmla="*/ 2702877 h 6857999"/>
              <a:gd name="connsiteX12" fmla="*/ 2703556 w 10789097"/>
              <a:gd name="connsiteY12" fmla="*/ 2708275 h 6857999"/>
              <a:gd name="connsiteX13" fmla="*/ 2706348 w 10789097"/>
              <a:gd name="connsiteY13" fmla="*/ 2713672 h 6857999"/>
              <a:gd name="connsiteX14" fmla="*/ 2708791 w 10789097"/>
              <a:gd name="connsiteY14" fmla="*/ 2719070 h 6857999"/>
              <a:gd name="connsiteX15" fmla="*/ 2710885 w 10789097"/>
              <a:gd name="connsiteY15" fmla="*/ 2725102 h 6857999"/>
              <a:gd name="connsiteX16" fmla="*/ 2712630 w 10789097"/>
              <a:gd name="connsiteY16" fmla="*/ 2730817 h 6857999"/>
              <a:gd name="connsiteX17" fmla="*/ 2714025 w 10789097"/>
              <a:gd name="connsiteY17" fmla="*/ 2736532 h 6857999"/>
              <a:gd name="connsiteX18" fmla="*/ 2715421 w 10789097"/>
              <a:gd name="connsiteY18" fmla="*/ 2742565 h 6857999"/>
              <a:gd name="connsiteX19" fmla="*/ 2716468 w 10789097"/>
              <a:gd name="connsiteY19" fmla="*/ 2748280 h 6857999"/>
              <a:gd name="connsiteX20" fmla="*/ 2717166 w 10789097"/>
              <a:gd name="connsiteY20" fmla="*/ 2753995 h 6857999"/>
              <a:gd name="connsiteX21" fmla="*/ 2717515 w 10789097"/>
              <a:gd name="connsiteY21" fmla="*/ 2760345 h 6857999"/>
              <a:gd name="connsiteX22" fmla="*/ 2717864 w 10789097"/>
              <a:gd name="connsiteY22" fmla="*/ 2766377 h 6857999"/>
              <a:gd name="connsiteX23" fmla="*/ 2717515 w 10789097"/>
              <a:gd name="connsiteY23" fmla="*/ 2772092 h 6857999"/>
              <a:gd name="connsiteX24" fmla="*/ 2717166 w 10789097"/>
              <a:gd name="connsiteY24" fmla="*/ 2778125 h 6857999"/>
              <a:gd name="connsiteX25" fmla="*/ 2716468 w 10789097"/>
              <a:gd name="connsiteY25" fmla="*/ 2784157 h 6857999"/>
              <a:gd name="connsiteX26" fmla="*/ 2715421 w 10789097"/>
              <a:gd name="connsiteY26" fmla="*/ 2790190 h 6857999"/>
              <a:gd name="connsiteX27" fmla="*/ 2714025 w 10789097"/>
              <a:gd name="connsiteY27" fmla="*/ 2795905 h 6857999"/>
              <a:gd name="connsiteX28" fmla="*/ 2712630 w 10789097"/>
              <a:gd name="connsiteY28" fmla="*/ 2801620 h 6857999"/>
              <a:gd name="connsiteX29" fmla="*/ 2710885 w 10789097"/>
              <a:gd name="connsiteY29" fmla="*/ 2807335 h 6857999"/>
              <a:gd name="connsiteX30" fmla="*/ 2708791 w 10789097"/>
              <a:gd name="connsiteY30" fmla="*/ 2813050 h 6857999"/>
              <a:gd name="connsiteX31" fmla="*/ 2706348 w 10789097"/>
              <a:gd name="connsiteY31" fmla="*/ 2818765 h 6857999"/>
              <a:gd name="connsiteX32" fmla="*/ 2703556 w 10789097"/>
              <a:gd name="connsiteY32" fmla="*/ 2824162 h 6857999"/>
              <a:gd name="connsiteX33" fmla="*/ 2700415 w 10789097"/>
              <a:gd name="connsiteY33" fmla="*/ 2829560 h 6857999"/>
              <a:gd name="connsiteX34" fmla="*/ 2697274 w 10789097"/>
              <a:gd name="connsiteY34" fmla="*/ 2834640 h 6857999"/>
              <a:gd name="connsiteX35" fmla="*/ 2693785 w 10789097"/>
              <a:gd name="connsiteY35" fmla="*/ 2840037 h 6857999"/>
              <a:gd name="connsiteX36" fmla="*/ 2689946 w 10789097"/>
              <a:gd name="connsiteY36" fmla="*/ 2844800 h 6857999"/>
              <a:gd name="connsiteX37" fmla="*/ 2685758 w 10789097"/>
              <a:gd name="connsiteY37" fmla="*/ 2849562 h 6857999"/>
              <a:gd name="connsiteX38" fmla="*/ 2681221 w 10789097"/>
              <a:gd name="connsiteY38" fmla="*/ 2854325 h 6857999"/>
              <a:gd name="connsiteX39" fmla="*/ 2676684 w 10789097"/>
              <a:gd name="connsiteY39" fmla="*/ 2858770 h 6857999"/>
              <a:gd name="connsiteX40" fmla="*/ 2671799 w 10789097"/>
              <a:gd name="connsiteY40" fmla="*/ 2862580 h 6857999"/>
              <a:gd name="connsiteX41" fmla="*/ 2666913 w 10789097"/>
              <a:gd name="connsiteY41" fmla="*/ 2866390 h 6857999"/>
              <a:gd name="connsiteX42" fmla="*/ 2661678 w 10789097"/>
              <a:gd name="connsiteY42" fmla="*/ 2870200 h 6857999"/>
              <a:gd name="connsiteX43" fmla="*/ 2656444 w 10789097"/>
              <a:gd name="connsiteY43" fmla="*/ 2873375 h 6857999"/>
              <a:gd name="connsiteX44" fmla="*/ 2651209 w 10789097"/>
              <a:gd name="connsiteY44" fmla="*/ 2876550 h 6857999"/>
              <a:gd name="connsiteX45" fmla="*/ 2645625 w 10789097"/>
              <a:gd name="connsiteY45" fmla="*/ 2879090 h 6857999"/>
              <a:gd name="connsiteX46" fmla="*/ 2640041 w 10789097"/>
              <a:gd name="connsiteY46" fmla="*/ 2881312 h 6857999"/>
              <a:gd name="connsiteX47" fmla="*/ 2634458 w 10789097"/>
              <a:gd name="connsiteY47" fmla="*/ 2883535 h 6857999"/>
              <a:gd name="connsiteX48" fmla="*/ 2628525 w 10789097"/>
              <a:gd name="connsiteY48" fmla="*/ 2885757 h 6857999"/>
              <a:gd name="connsiteX49" fmla="*/ 2622941 w 10789097"/>
              <a:gd name="connsiteY49" fmla="*/ 2887027 h 6857999"/>
              <a:gd name="connsiteX50" fmla="*/ 2617009 w 10789097"/>
              <a:gd name="connsiteY50" fmla="*/ 2888297 h 6857999"/>
              <a:gd name="connsiteX51" fmla="*/ 2611076 w 10789097"/>
              <a:gd name="connsiteY51" fmla="*/ 2889567 h 6857999"/>
              <a:gd name="connsiteX52" fmla="*/ 2605143 w 10789097"/>
              <a:gd name="connsiteY52" fmla="*/ 2890202 h 6857999"/>
              <a:gd name="connsiteX53" fmla="*/ 2599211 w 10789097"/>
              <a:gd name="connsiteY53" fmla="*/ 2890520 h 6857999"/>
              <a:gd name="connsiteX54" fmla="*/ 2593278 w 10789097"/>
              <a:gd name="connsiteY54" fmla="*/ 2890520 h 6857999"/>
              <a:gd name="connsiteX55" fmla="*/ 2587345 w 10789097"/>
              <a:gd name="connsiteY55" fmla="*/ 2890520 h 6857999"/>
              <a:gd name="connsiteX56" fmla="*/ 2581413 w 10789097"/>
              <a:gd name="connsiteY56" fmla="*/ 2890202 h 6857999"/>
              <a:gd name="connsiteX57" fmla="*/ 2575480 w 10789097"/>
              <a:gd name="connsiteY57" fmla="*/ 2889567 h 6857999"/>
              <a:gd name="connsiteX58" fmla="*/ 2569547 w 10789097"/>
              <a:gd name="connsiteY58" fmla="*/ 2888297 h 6857999"/>
              <a:gd name="connsiteX59" fmla="*/ 2563615 w 10789097"/>
              <a:gd name="connsiteY59" fmla="*/ 2887027 h 6857999"/>
              <a:gd name="connsiteX60" fmla="*/ 2557682 w 10789097"/>
              <a:gd name="connsiteY60" fmla="*/ 2885757 h 6857999"/>
              <a:gd name="connsiteX61" fmla="*/ 2552098 w 10789097"/>
              <a:gd name="connsiteY61" fmla="*/ 2883535 h 6857999"/>
              <a:gd name="connsiteX62" fmla="*/ 2546515 w 10789097"/>
              <a:gd name="connsiteY62" fmla="*/ 2881312 h 6857999"/>
              <a:gd name="connsiteX63" fmla="*/ 2540931 w 10789097"/>
              <a:gd name="connsiteY63" fmla="*/ 2879090 h 6857999"/>
              <a:gd name="connsiteX64" fmla="*/ 2535347 w 10789097"/>
              <a:gd name="connsiteY64" fmla="*/ 2876550 h 6857999"/>
              <a:gd name="connsiteX65" fmla="*/ 2530112 w 10789097"/>
              <a:gd name="connsiteY65" fmla="*/ 2873375 h 6857999"/>
              <a:gd name="connsiteX66" fmla="*/ 2524878 w 10789097"/>
              <a:gd name="connsiteY66" fmla="*/ 2870200 h 6857999"/>
              <a:gd name="connsiteX67" fmla="*/ 2519643 w 10789097"/>
              <a:gd name="connsiteY67" fmla="*/ 2866390 h 6857999"/>
              <a:gd name="connsiteX68" fmla="*/ 2514757 w 10789097"/>
              <a:gd name="connsiteY68" fmla="*/ 2862580 h 6857999"/>
              <a:gd name="connsiteX69" fmla="*/ 2509872 w 10789097"/>
              <a:gd name="connsiteY69" fmla="*/ 2858770 h 6857999"/>
              <a:gd name="connsiteX70" fmla="*/ 2505335 w 10789097"/>
              <a:gd name="connsiteY70" fmla="*/ 2854325 h 6857999"/>
              <a:gd name="connsiteX71" fmla="*/ 2390869 w 10789097"/>
              <a:gd name="connsiteY71" fmla="*/ 2740025 h 6857999"/>
              <a:gd name="connsiteX72" fmla="*/ 2385983 w 10789097"/>
              <a:gd name="connsiteY72" fmla="*/ 2735580 h 6857999"/>
              <a:gd name="connsiteX73" fmla="*/ 2381097 w 10789097"/>
              <a:gd name="connsiteY73" fmla="*/ 2731452 h 6857999"/>
              <a:gd name="connsiteX74" fmla="*/ 2376212 w 10789097"/>
              <a:gd name="connsiteY74" fmla="*/ 2727642 h 6857999"/>
              <a:gd name="connsiteX75" fmla="*/ 2371326 w 10789097"/>
              <a:gd name="connsiteY75" fmla="*/ 2724150 h 6857999"/>
              <a:gd name="connsiteX76" fmla="*/ 2366091 w 10789097"/>
              <a:gd name="connsiteY76" fmla="*/ 2720975 h 6857999"/>
              <a:gd name="connsiteX77" fmla="*/ 2360507 w 10789097"/>
              <a:gd name="connsiteY77" fmla="*/ 2717800 h 6857999"/>
              <a:gd name="connsiteX78" fmla="*/ 2355273 w 10789097"/>
              <a:gd name="connsiteY78" fmla="*/ 2715260 h 6857999"/>
              <a:gd name="connsiteX79" fmla="*/ 2349689 w 10789097"/>
              <a:gd name="connsiteY79" fmla="*/ 2713037 h 6857999"/>
              <a:gd name="connsiteX80" fmla="*/ 2343757 w 10789097"/>
              <a:gd name="connsiteY80" fmla="*/ 2710497 h 6857999"/>
              <a:gd name="connsiteX81" fmla="*/ 2338173 w 10789097"/>
              <a:gd name="connsiteY81" fmla="*/ 2708592 h 6857999"/>
              <a:gd name="connsiteX82" fmla="*/ 2332240 w 10789097"/>
              <a:gd name="connsiteY82" fmla="*/ 2707322 h 6857999"/>
              <a:gd name="connsiteX83" fmla="*/ 2326307 w 10789097"/>
              <a:gd name="connsiteY83" fmla="*/ 2706052 h 6857999"/>
              <a:gd name="connsiteX84" fmla="*/ 2320724 w 10789097"/>
              <a:gd name="connsiteY84" fmla="*/ 2704782 h 6857999"/>
              <a:gd name="connsiteX85" fmla="*/ 2314442 w 10789097"/>
              <a:gd name="connsiteY85" fmla="*/ 2704147 h 6857999"/>
              <a:gd name="connsiteX86" fmla="*/ 2308509 w 10789097"/>
              <a:gd name="connsiteY86" fmla="*/ 2703830 h 6857999"/>
              <a:gd name="connsiteX87" fmla="*/ 2302577 w 10789097"/>
              <a:gd name="connsiteY87" fmla="*/ 2703512 h 6857999"/>
              <a:gd name="connsiteX88" fmla="*/ 2296644 w 10789097"/>
              <a:gd name="connsiteY88" fmla="*/ 2703830 h 6857999"/>
              <a:gd name="connsiteX89" fmla="*/ 2290711 w 10789097"/>
              <a:gd name="connsiteY89" fmla="*/ 2704147 h 6857999"/>
              <a:gd name="connsiteX90" fmla="*/ 2284779 w 10789097"/>
              <a:gd name="connsiteY90" fmla="*/ 2704782 h 6857999"/>
              <a:gd name="connsiteX91" fmla="*/ 2278846 w 10789097"/>
              <a:gd name="connsiteY91" fmla="*/ 2706052 h 6857999"/>
              <a:gd name="connsiteX92" fmla="*/ 2272913 w 10789097"/>
              <a:gd name="connsiteY92" fmla="*/ 2707322 h 6857999"/>
              <a:gd name="connsiteX93" fmla="*/ 2267330 w 10789097"/>
              <a:gd name="connsiteY93" fmla="*/ 2708592 h 6857999"/>
              <a:gd name="connsiteX94" fmla="*/ 2261397 w 10789097"/>
              <a:gd name="connsiteY94" fmla="*/ 2710497 h 6857999"/>
              <a:gd name="connsiteX95" fmla="*/ 2255813 w 10789097"/>
              <a:gd name="connsiteY95" fmla="*/ 2713037 h 6857999"/>
              <a:gd name="connsiteX96" fmla="*/ 2250229 w 10789097"/>
              <a:gd name="connsiteY96" fmla="*/ 2715260 h 6857999"/>
              <a:gd name="connsiteX97" fmla="*/ 2244646 w 10789097"/>
              <a:gd name="connsiteY97" fmla="*/ 2717800 h 6857999"/>
              <a:gd name="connsiteX98" fmla="*/ 2239411 w 10789097"/>
              <a:gd name="connsiteY98" fmla="*/ 2720975 h 6857999"/>
              <a:gd name="connsiteX99" fmla="*/ 2234177 w 10789097"/>
              <a:gd name="connsiteY99" fmla="*/ 2724150 h 6857999"/>
              <a:gd name="connsiteX100" fmla="*/ 2228942 w 10789097"/>
              <a:gd name="connsiteY100" fmla="*/ 2727642 h 6857999"/>
              <a:gd name="connsiteX101" fmla="*/ 2224056 w 10789097"/>
              <a:gd name="connsiteY101" fmla="*/ 2731452 h 6857999"/>
              <a:gd name="connsiteX102" fmla="*/ 2219170 w 10789097"/>
              <a:gd name="connsiteY102" fmla="*/ 2735580 h 6857999"/>
              <a:gd name="connsiteX103" fmla="*/ 2214633 w 10789097"/>
              <a:gd name="connsiteY103" fmla="*/ 2740025 h 6857999"/>
              <a:gd name="connsiteX104" fmla="*/ 2210097 w 10789097"/>
              <a:gd name="connsiteY104" fmla="*/ 2744787 h 6857999"/>
              <a:gd name="connsiteX105" fmla="*/ 2206258 w 10789097"/>
              <a:gd name="connsiteY105" fmla="*/ 2749550 h 6857999"/>
              <a:gd name="connsiteX106" fmla="*/ 2202070 w 10789097"/>
              <a:gd name="connsiteY106" fmla="*/ 2754312 h 6857999"/>
              <a:gd name="connsiteX107" fmla="*/ 2198581 w 10789097"/>
              <a:gd name="connsiteY107" fmla="*/ 2759710 h 6857999"/>
              <a:gd name="connsiteX108" fmla="*/ 2195091 w 10789097"/>
              <a:gd name="connsiteY108" fmla="*/ 2764790 h 6857999"/>
              <a:gd name="connsiteX109" fmla="*/ 2191950 w 10789097"/>
              <a:gd name="connsiteY109" fmla="*/ 2770187 h 6857999"/>
              <a:gd name="connsiteX110" fmla="*/ 2189507 w 10789097"/>
              <a:gd name="connsiteY110" fmla="*/ 2775585 h 6857999"/>
              <a:gd name="connsiteX111" fmla="*/ 2187064 w 10789097"/>
              <a:gd name="connsiteY111" fmla="*/ 2781300 h 6857999"/>
              <a:gd name="connsiteX112" fmla="*/ 2184621 w 10789097"/>
              <a:gd name="connsiteY112" fmla="*/ 2787015 h 6857999"/>
              <a:gd name="connsiteX113" fmla="*/ 2182876 w 10789097"/>
              <a:gd name="connsiteY113" fmla="*/ 2792730 h 6857999"/>
              <a:gd name="connsiteX114" fmla="*/ 2181480 w 10789097"/>
              <a:gd name="connsiteY114" fmla="*/ 2798445 h 6857999"/>
              <a:gd name="connsiteX115" fmla="*/ 2180085 w 10789097"/>
              <a:gd name="connsiteY115" fmla="*/ 2804477 h 6857999"/>
              <a:gd name="connsiteX116" fmla="*/ 2179037 w 10789097"/>
              <a:gd name="connsiteY116" fmla="*/ 2810192 h 6857999"/>
              <a:gd name="connsiteX117" fmla="*/ 2178339 w 10789097"/>
              <a:gd name="connsiteY117" fmla="*/ 2816225 h 6857999"/>
              <a:gd name="connsiteX118" fmla="*/ 2177991 w 10789097"/>
              <a:gd name="connsiteY118" fmla="*/ 2822257 h 6857999"/>
              <a:gd name="connsiteX119" fmla="*/ 2177641 w 10789097"/>
              <a:gd name="connsiteY119" fmla="*/ 2827972 h 6857999"/>
              <a:gd name="connsiteX120" fmla="*/ 2177991 w 10789097"/>
              <a:gd name="connsiteY120" fmla="*/ 2834005 h 6857999"/>
              <a:gd name="connsiteX121" fmla="*/ 2178339 w 10789097"/>
              <a:gd name="connsiteY121" fmla="*/ 2840037 h 6857999"/>
              <a:gd name="connsiteX122" fmla="*/ 2179037 w 10789097"/>
              <a:gd name="connsiteY122" fmla="*/ 2845752 h 6857999"/>
              <a:gd name="connsiteX123" fmla="*/ 2180085 w 10789097"/>
              <a:gd name="connsiteY123" fmla="*/ 2851785 h 6857999"/>
              <a:gd name="connsiteX124" fmla="*/ 2181480 w 10789097"/>
              <a:gd name="connsiteY124" fmla="*/ 2857817 h 6857999"/>
              <a:gd name="connsiteX125" fmla="*/ 2182876 w 10789097"/>
              <a:gd name="connsiteY125" fmla="*/ 2863532 h 6857999"/>
              <a:gd name="connsiteX126" fmla="*/ 2184621 w 10789097"/>
              <a:gd name="connsiteY126" fmla="*/ 2869247 h 6857999"/>
              <a:gd name="connsiteX127" fmla="*/ 2187064 w 10789097"/>
              <a:gd name="connsiteY127" fmla="*/ 2875280 h 6857999"/>
              <a:gd name="connsiteX128" fmla="*/ 2189507 w 10789097"/>
              <a:gd name="connsiteY128" fmla="*/ 2880677 h 6857999"/>
              <a:gd name="connsiteX129" fmla="*/ 2191950 w 10789097"/>
              <a:gd name="connsiteY129" fmla="*/ 2886075 h 6857999"/>
              <a:gd name="connsiteX130" fmla="*/ 2195091 w 10789097"/>
              <a:gd name="connsiteY130" fmla="*/ 2891472 h 6857999"/>
              <a:gd name="connsiteX131" fmla="*/ 2198581 w 10789097"/>
              <a:gd name="connsiteY131" fmla="*/ 2896870 h 6857999"/>
              <a:gd name="connsiteX132" fmla="*/ 2202070 w 10789097"/>
              <a:gd name="connsiteY132" fmla="*/ 2901632 h 6857999"/>
              <a:gd name="connsiteX133" fmla="*/ 2206258 w 10789097"/>
              <a:gd name="connsiteY133" fmla="*/ 2906712 h 6857999"/>
              <a:gd name="connsiteX134" fmla="*/ 2210097 w 10789097"/>
              <a:gd name="connsiteY134" fmla="*/ 2911475 h 6857999"/>
              <a:gd name="connsiteX135" fmla="*/ 2214633 w 10789097"/>
              <a:gd name="connsiteY135" fmla="*/ 2916237 h 6857999"/>
              <a:gd name="connsiteX136" fmla="*/ 2938420 w 10789097"/>
              <a:gd name="connsiteY136" fmla="*/ 3639502 h 6857999"/>
              <a:gd name="connsiteX137" fmla="*/ 2942957 w 10789097"/>
              <a:gd name="connsiteY137" fmla="*/ 3643947 h 6857999"/>
              <a:gd name="connsiteX138" fmla="*/ 2947145 w 10789097"/>
              <a:gd name="connsiteY138" fmla="*/ 3648710 h 6857999"/>
              <a:gd name="connsiteX139" fmla="*/ 2950984 w 10789097"/>
              <a:gd name="connsiteY139" fmla="*/ 3653790 h 6857999"/>
              <a:gd name="connsiteX140" fmla="*/ 2954473 w 10789097"/>
              <a:gd name="connsiteY140" fmla="*/ 3658870 h 6857999"/>
              <a:gd name="connsiteX141" fmla="*/ 2957614 w 10789097"/>
              <a:gd name="connsiteY141" fmla="*/ 3664267 h 6857999"/>
              <a:gd name="connsiteX142" fmla="*/ 2960755 w 10789097"/>
              <a:gd name="connsiteY142" fmla="*/ 3669347 h 6857999"/>
              <a:gd name="connsiteX143" fmla="*/ 2963547 w 10789097"/>
              <a:gd name="connsiteY143" fmla="*/ 3675062 h 6857999"/>
              <a:gd name="connsiteX144" fmla="*/ 2965641 w 10789097"/>
              <a:gd name="connsiteY144" fmla="*/ 3680460 h 6857999"/>
              <a:gd name="connsiteX145" fmla="*/ 2968084 w 10789097"/>
              <a:gd name="connsiteY145" fmla="*/ 3686175 h 6857999"/>
              <a:gd name="connsiteX146" fmla="*/ 2969829 w 10789097"/>
              <a:gd name="connsiteY146" fmla="*/ 3691890 h 6857999"/>
              <a:gd name="connsiteX147" fmla="*/ 2971224 w 10789097"/>
              <a:gd name="connsiteY147" fmla="*/ 3697605 h 6857999"/>
              <a:gd name="connsiteX148" fmla="*/ 2972620 w 10789097"/>
              <a:gd name="connsiteY148" fmla="*/ 3703637 h 6857999"/>
              <a:gd name="connsiteX149" fmla="*/ 2973667 w 10789097"/>
              <a:gd name="connsiteY149" fmla="*/ 3709670 h 6857999"/>
              <a:gd name="connsiteX150" fmla="*/ 2974365 w 10789097"/>
              <a:gd name="connsiteY150" fmla="*/ 3715385 h 6857999"/>
              <a:gd name="connsiteX151" fmla="*/ 2974714 w 10789097"/>
              <a:gd name="connsiteY151" fmla="*/ 3721417 h 6857999"/>
              <a:gd name="connsiteX152" fmla="*/ 2975063 w 10789097"/>
              <a:gd name="connsiteY152" fmla="*/ 3727450 h 6857999"/>
              <a:gd name="connsiteX153" fmla="*/ 2974714 w 10789097"/>
              <a:gd name="connsiteY153" fmla="*/ 3733165 h 6857999"/>
              <a:gd name="connsiteX154" fmla="*/ 2974365 w 10789097"/>
              <a:gd name="connsiteY154" fmla="*/ 3739197 h 6857999"/>
              <a:gd name="connsiteX155" fmla="*/ 2973667 w 10789097"/>
              <a:gd name="connsiteY155" fmla="*/ 3745230 h 6857999"/>
              <a:gd name="connsiteX156" fmla="*/ 2972620 w 10789097"/>
              <a:gd name="connsiteY156" fmla="*/ 3750945 h 6857999"/>
              <a:gd name="connsiteX157" fmla="*/ 2971224 w 10789097"/>
              <a:gd name="connsiteY157" fmla="*/ 3756977 h 6857999"/>
              <a:gd name="connsiteX158" fmla="*/ 2969829 w 10789097"/>
              <a:gd name="connsiteY158" fmla="*/ 3763010 h 6857999"/>
              <a:gd name="connsiteX159" fmla="*/ 2968084 w 10789097"/>
              <a:gd name="connsiteY159" fmla="*/ 3768407 h 6857999"/>
              <a:gd name="connsiteX160" fmla="*/ 2965641 w 10789097"/>
              <a:gd name="connsiteY160" fmla="*/ 3774122 h 6857999"/>
              <a:gd name="connsiteX161" fmla="*/ 2963547 w 10789097"/>
              <a:gd name="connsiteY161" fmla="*/ 3779837 h 6857999"/>
              <a:gd name="connsiteX162" fmla="*/ 2960755 w 10789097"/>
              <a:gd name="connsiteY162" fmla="*/ 3785235 h 6857999"/>
              <a:gd name="connsiteX163" fmla="*/ 2957614 w 10789097"/>
              <a:gd name="connsiteY163" fmla="*/ 3790632 h 6857999"/>
              <a:gd name="connsiteX164" fmla="*/ 2954473 w 10789097"/>
              <a:gd name="connsiteY164" fmla="*/ 3795712 h 6857999"/>
              <a:gd name="connsiteX165" fmla="*/ 2950984 w 10789097"/>
              <a:gd name="connsiteY165" fmla="*/ 3801110 h 6857999"/>
              <a:gd name="connsiteX166" fmla="*/ 2947145 w 10789097"/>
              <a:gd name="connsiteY166" fmla="*/ 3805872 h 6857999"/>
              <a:gd name="connsiteX167" fmla="*/ 2942957 w 10789097"/>
              <a:gd name="connsiteY167" fmla="*/ 3810635 h 6857999"/>
              <a:gd name="connsiteX168" fmla="*/ 2938420 w 10789097"/>
              <a:gd name="connsiteY168" fmla="*/ 3815397 h 6857999"/>
              <a:gd name="connsiteX169" fmla="*/ 2933884 w 10789097"/>
              <a:gd name="connsiteY169" fmla="*/ 3819842 h 6857999"/>
              <a:gd name="connsiteX170" fmla="*/ 2928998 w 10789097"/>
              <a:gd name="connsiteY170" fmla="*/ 3823970 h 6857999"/>
              <a:gd name="connsiteX171" fmla="*/ 2924112 w 10789097"/>
              <a:gd name="connsiteY171" fmla="*/ 3827780 h 6857999"/>
              <a:gd name="connsiteX172" fmla="*/ 2918877 w 10789097"/>
              <a:gd name="connsiteY172" fmla="*/ 3831272 h 6857999"/>
              <a:gd name="connsiteX173" fmla="*/ 2913643 w 10789097"/>
              <a:gd name="connsiteY173" fmla="*/ 3834447 h 6857999"/>
              <a:gd name="connsiteX174" fmla="*/ 2908408 w 10789097"/>
              <a:gd name="connsiteY174" fmla="*/ 3837622 h 6857999"/>
              <a:gd name="connsiteX175" fmla="*/ 2902824 w 10789097"/>
              <a:gd name="connsiteY175" fmla="*/ 3840480 h 6857999"/>
              <a:gd name="connsiteX176" fmla="*/ 2897240 w 10789097"/>
              <a:gd name="connsiteY176" fmla="*/ 3843020 h 6857999"/>
              <a:gd name="connsiteX177" fmla="*/ 2891657 w 10789097"/>
              <a:gd name="connsiteY177" fmla="*/ 3844925 h 6857999"/>
              <a:gd name="connsiteX178" fmla="*/ 2885724 w 10789097"/>
              <a:gd name="connsiteY178" fmla="*/ 3846830 h 6857999"/>
              <a:gd name="connsiteX179" fmla="*/ 2880140 w 10789097"/>
              <a:gd name="connsiteY179" fmla="*/ 3848417 h 6857999"/>
              <a:gd name="connsiteX180" fmla="*/ 2874208 w 10789097"/>
              <a:gd name="connsiteY180" fmla="*/ 3849370 h 6857999"/>
              <a:gd name="connsiteX181" fmla="*/ 2868275 w 10789097"/>
              <a:gd name="connsiteY181" fmla="*/ 3850640 h 6857999"/>
              <a:gd name="connsiteX182" fmla="*/ 2862342 w 10789097"/>
              <a:gd name="connsiteY182" fmla="*/ 3851275 h 6857999"/>
              <a:gd name="connsiteX183" fmla="*/ 2856410 w 10789097"/>
              <a:gd name="connsiteY183" fmla="*/ 3851592 h 6857999"/>
              <a:gd name="connsiteX184" fmla="*/ 2850477 w 10789097"/>
              <a:gd name="connsiteY184" fmla="*/ 3851910 h 6857999"/>
              <a:gd name="connsiteX185" fmla="*/ 2844544 w 10789097"/>
              <a:gd name="connsiteY185" fmla="*/ 3851592 h 6857999"/>
              <a:gd name="connsiteX186" fmla="*/ 2838612 w 10789097"/>
              <a:gd name="connsiteY186" fmla="*/ 3851275 h 6857999"/>
              <a:gd name="connsiteX187" fmla="*/ 2832679 w 10789097"/>
              <a:gd name="connsiteY187" fmla="*/ 3850640 h 6857999"/>
              <a:gd name="connsiteX188" fmla="*/ 2826746 w 10789097"/>
              <a:gd name="connsiteY188" fmla="*/ 3849370 h 6857999"/>
              <a:gd name="connsiteX189" fmla="*/ 2820814 w 10789097"/>
              <a:gd name="connsiteY189" fmla="*/ 3848417 h 6857999"/>
              <a:gd name="connsiteX190" fmla="*/ 2814881 w 10789097"/>
              <a:gd name="connsiteY190" fmla="*/ 3846830 h 6857999"/>
              <a:gd name="connsiteX191" fmla="*/ 2809297 w 10789097"/>
              <a:gd name="connsiteY191" fmla="*/ 3844925 h 6857999"/>
              <a:gd name="connsiteX192" fmla="*/ 2803714 w 10789097"/>
              <a:gd name="connsiteY192" fmla="*/ 3843020 h 6857999"/>
              <a:gd name="connsiteX193" fmla="*/ 2798130 w 10789097"/>
              <a:gd name="connsiteY193" fmla="*/ 3840480 h 6857999"/>
              <a:gd name="connsiteX194" fmla="*/ 2792546 w 10789097"/>
              <a:gd name="connsiteY194" fmla="*/ 3837622 h 6857999"/>
              <a:gd name="connsiteX195" fmla="*/ 2787311 w 10789097"/>
              <a:gd name="connsiteY195" fmla="*/ 3834447 h 6857999"/>
              <a:gd name="connsiteX196" fmla="*/ 2782077 w 10789097"/>
              <a:gd name="connsiteY196" fmla="*/ 3831272 h 6857999"/>
              <a:gd name="connsiteX197" fmla="*/ 2776842 w 10789097"/>
              <a:gd name="connsiteY197" fmla="*/ 3827780 h 6857999"/>
              <a:gd name="connsiteX198" fmla="*/ 2771956 w 10789097"/>
              <a:gd name="connsiteY198" fmla="*/ 3823970 h 6857999"/>
              <a:gd name="connsiteX199" fmla="*/ 2767071 w 10789097"/>
              <a:gd name="connsiteY199" fmla="*/ 3819842 h 6857999"/>
              <a:gd name="connsiteX200" fmla="*/ 2762534 w 10789097"/>
              <a:gd name="connsiteY200" fmla="*/ 3815397 h 6857999"/>
              <a:gd name="connsiteX201" fmla="*/ 2666564 w 10789097"/>
              <a:gd name="connsiteY201" fmla="*/ 3720147 h 6857999"/>
              <a:gd name="connsiteX202" fmla="*/ 2559078 w 10789097"/>
              <a:gd name="connsiteY202" fmla="*/ 3612515 h 6857999"/>
              <a:gd name="connsiteX203" fmla="*/ 2554541 w 10789097"/>
              <a:gd name="connsiteY203" fmla="*/ 3608070 h 6857999"/>
              <a:gd name="connsiteX204" fmla="*/ 2549655 w 10789097"/>
              <a:gd name="connsiteY204" fmla="*/ 3604260 h 6857999"/>
              <a:gd name="connsiteX205" fmla="*/ 2544770 w 10789097"/>
              <a:gd name="connsiteY205" fmla="*/ 3600132 h 6857999"/>
              <a:gd name="connsiteX206" fmla="*/ 2539535 w 10789097"/>
              <a:gd name="connsiteY206" fmla="*/ 3596640 h 6857999"/>
              <a:gd name="connsiteX207" fmla="*/ 2534300 w 10789097"/>
              <a:gd name="connsiteY207" fmla="*/ 3593465 h 6857999"/>
              <a:gd name="connsiteX208" fmla="*/ 2529066 w 10789097"/>
              <a:gd name="connsiteY208" fmla="*/ 3590290 h 6857999"/>
              <a:gd name="connsiteX209" fmla="*/ 2523482 w 10789097"/>
              <a:gd name="connsiteY209" fmla="*/ 3587750 h 6857999"/>
              <a:gd name="connsiteX210" fmla="*/ 2517898 w 10789097"/>
              <a:gd name="connsiteY210" fmla="*/ 3585210 h 6857999"/>
              <a:gd name="connsiteX211" fmla="*/ 2512314 w 10789097"/>
              <a:gd name="connsiteY211" fmla="*/ 3583305 h 6857999"/>
              <a:gd name="connsiteX212" fmla="*/ 2506731 w 10789097"/>
              <a:gd name="connsiteY212" fmla="*/ 3581082 h 6857999"/>
              <a:gd name="connsiteX213" fmla="*/ 2500798 w 10789097"/>
              <a:gd name="connsiteY213" fmla="*/ 3579812 h 6857999"/>
              <a:gd name="connsiteX214" fmla="*/ 2494865 w 10789097"/>
              <a:gd name="connsiteY214" fmla="*/ 3578225 h 6857999"/>
              <a:gd name="connsiteX215" fmla="*/ 2488933 w 10789097"/>
              <a:gd name="connsiteY215" fmla="*/ 3577272 h 6857999"/>
              <a:gd name="connsiteX216" fmla="*/ 2483000 w 10789097"/>
              <a:gd name="connsiteY216" fmla="*/ 3576637 h 6857999"/>
              <a:gd name="connsiteX217" fmla="*/ 2476718 w 10789097"/>
              <a:gd name="connsiteY217" fmla="*/ 3576320 h 6857999"/>
              <a:gd name="connsiteX218" fmla="*/ 2470786 w 10789097"/>
              <a:gd name="connsiteY218" fmla="*/ 3576320 h 6857999"/>
              <a:gd name="connsiteX219" fmla="*/ 2464853 w 10789097"/>
              <a:gd name="connsiteY219" fmla="*/ 3576320 h 6857999"/>
              <a:gd name="connsiteX220" fmla="*/ 2458920 w 10789097"/>
              <a:gd name="connsiteY220" fmla="*/ 3576637 h 6857999"/>
              <a:gd name="connsiteX221" fmla="*/ 2452988 w 10789097"/>
              <a:gd name="connsiteY221" fmla="*/ 3577272 h 6857999"/>
              <a:gd name="connsiteX222" fmla="*/ 2447055 w 10789097"/>
              <a:gd name="connsiteY222" fmla="*/ 3578225 h 6857999"/>
              <a:gd name="connsiteX223" fmla="*/ 2441122 w 10789097"/>
              <a:gd name="connsiteY223" fmla="*/ 3579812 h 6857999"/>
              <a:gd name="connsiteX224" fmla="*/ 2435190 w 10789097"/>
              <a:gd name="connsiteY224" fmla="*/ 3581082 h 6857999"/>
              <a:gd name="connsiteX225" fmla="*/ 2429606 w 10789097"/>
              <a:gd name="connsiteY225" fmla="*/ 3583305 h 6857999"/>
              <a:gd name="connsiteX226" fmla="*/ 2424022 w 10789097"/>
              <a:gd name="connsiteY226" fmla="*/ 3585210 h 6857999"/>
              <a:gd name="connsiteX227" fmla="*/ 2418439 w 10789097"/>
              <a:gd name="connsiteY227" fmla="*/ 3587750 h 6857999"/>
              <a:gd name="connsiteX228" fmla="*/ 2412855 w 10789097"/>
              <a:gd name="connsiteY228" fmla="*/ 3590290 h 6857999"/>
              <a:gd name="connsiteX229" fmla="*/ 2407620 w 10789097"/>
              <a:gd name="connsiteY229" fmla="*/ 3593465 h 6857999"/>
              <a:gd name="connsiteX230" fmla="*/ 2402385 w 10789097"/>
              <a:gd name="connsiteY230" fmla="*/ 3596640 h 6857999"/>
              <a:gd name="connsiteX231" fmla="*/ 2397151 w 10789097"/>
              <a:gd name="connsiteY231" fmla="*/ 3600450 h 6857999"/>
              <a:gd name="connsiteX232" fmla="*/ 2392265 w 10789097"/>
              <a:gd name="connsiteY232" fmla="*/ 3604260 h 6857999"/>
              <a:gd name="connsiteX233" fmla="*/ 2387379 w 10789097"/>
              <a:gd name="connsiteY233" fmla="*/ 3608070 h 6857999"/>
              <a:gd name="connsiteX234" fmla="*/ 2382842 w 10789097"/>
              <a:gd name="connsiteY234" fmla="*/ 3612515 h 6857999"/>
              <a:gd name="connsiteX235" fmla="*/ 2379003 w 10789097"/>
              <a:gd name="connsiteY235" fmla="*/ 3616325 h 6857999"/>
              <a:gd name="connsiteX236" fmla="*/ 2375863 w 10789097"/>
              <a:gd name="connsiteY236" fmla="*/ 3620135 h 6857999"/>
              <a:gd name="connsiteX237" fmla="*/ 2369581 w 10789097"/>
              <a:gd name="connsiteY237" fmla="*/ 3628390 h 6857999"/>
              <a:gd name="connsiteX238" fmla="*/ 2363997 w 10789097"/>
              <a:gd name="connsiteY238" fmla="*/ 3636327 h 6857999"/>
              <a:gd name="connsiteX239" fmla="*/ 2359461 w 10789097"/>
              <a:gd name="connsiteY239" fmla="*/ 3644900 h 6857999"/>
              <a:gd name="connsiteX240" fmla="*/ 2355273 w 10789097"/>
              <a:gd name="connsiteY240" fmla="*/ 3654107 h 6857999"/>
              <a:gd name="connsiteX241" fmla="*/ 2352132 w 10789097"/>
              <a:gd name="connsiteY241" fmla="*/ 3663315 h 6857999"/>
              <a:gd name="connsiteX242" fmla="*/ 2349689 w 10789097"/>
              <a:gd name="connsiteY242" fmla="*/ 3672522 h 6857999"/>
              <a:gd name="connsiteX243" fmla="*/ 2347944 w 10789097"/>
              <a:gd name="connsiteY243" fmla="*/ 3682047 h 6857999"/>
              <a:gd name="connsiteX244" fmla="*/ 2346897 w 10789097"/>
              <a:gd name="connsiteY244" fmla="*/ 3691572 h 6857999"/>
              <a:gd name="connsiteX245" fmla="*/ 2346548 w 10789097"/>
              <a:gd name="connsiteY245" fmla="*/ 3701097 h 6857999"/>
              <a:gd name="connsiteX246" fmla="*/ 2347246 w 10789097"/>
              <a:gd name="connsiteY246" fmla="*/ 3710622 h 6857999"/>
              <a:gd name="connsiteX247" fmla="*/ 2348293 w 10789097"/>
              <a:gd name="connsiteY247" fmla="*/ 3720465 h 6857999"/>
              <a:gd name="connsiteX248" fmla="*/ 2350387 w 10789097"/>
              <a:gd name="connsiteY248" fmla="*/ 3729672 h 6857999"/>
              <a:gd name="connsiteX249" fmla="*/ 2352830 w 10789097"/>
              <a:gd name="connsiteY249" fmla="*/ 3739197 h 6857999"/>
              <a:gd name="connsiteX250" fmla="*/ 2356320 w 10789097"/>
              <a:gd name="connsiteY250" fmla="*/ 3748405 h 6857999"/>
              <a:gd name="connsiteX251" fmla="*/ 2360507 w 10789097"/>
              <a:gd name="connsiteY251" fmla="*/ 3756977 h 6857999"/>
              <a:gd name="connsiteX252" fmla="*/ 2651907 w 10789097"/>
              <a:gd name="connsiteY252" fmla="*/ 4048442 h 6857999"/>
              <a:gd name="connsiteX253" fmla="*/ 2656444 w 10789097"/>
              <a:gd name="connsiteY253" fmla="*/ 4052887 h 6857999"/>
              <a:gd name="connsiteX254" fmla="*/ 2660631 w 10789097"/>
              <a:gd name="connsiteY254" fmla="*/ 4057967 h 6857999"/>
              <a:gd name="connsiteX255" fmla="*/ 2664470 w 10789097"/>
              <a:gd name="connsiteY255" fmla="*/ 4062730 h 6857999"/>
              <a:gd name="connsiteX256" fmla="*/ 2667960 w 10789097"/>
              <a:gd name="connsiteY256" fmla="*/ 4067810 h 6857999"/>
              <a:gd name="connsiteX257" fmla="*/ 2671101 w 10789097"/>
              <a:gd name="connsiteY257" fmla="*/ 4073207 h 6857999"/>
              <a:gd name="connsiteX258" fmla="*/ 2674242 w 10789097"/>
              <a:gd name="connsiteY258" fmla="*/ 4078287 h 6857999"/>
              <a:gd name="connsiteX259" fmla="*/ 2677033 w 10789097"/>
              <a:gd name="connsiteY259" fmla="*/ 4084002 h 6857999"/>
              <a:gd name="connsiteX260" fmla="*/ 2679476 w 10789097"/>
              <a:gd name="connsiteY260" fmla="*/ 4089717 h 6857999"/>
              <a:gd name="connsiteX261" fmla="*/ 2681570 w 10789097"/>
              <a:gd name="connsiteY261" fmla="*/ 4095115 h 6857999"/>
              <a:gd name="connsiteX262" fmla="*/ 2683315 w 10789097"/>
              <a:gd name="connsiteY262" fmla="*/ 4100830 h 6857999"/>
              <a:gd name="connsiteX263" fmla="*/ 2684711 w 10789097"/>
              <a:gd name="connsiteY263" fmla="*/ 4106862 h 6857999"/>
              <a:gd name="connsiteX264" fmla="*/ 2686107 w 10789097"/>
              <a:gd name="connsiteY264" fmla="*/ 4112577 h 6857999"/>
              <a:gd name="connsiteX265" fmla="*/ 2687154 w 10789097"/>
              <a:gd name="connsiteY265" fmla="*/ 4118610 h 6857999"/>
              <a:gd name="connsiteX266" fmla="*/ 2687852 w 10789097"/>
              <a:gd name="connsiteY266" fmla="*/ 4124642 h 6857999"/>
              <a:gd name="connsiteX267" fmla="*/ 2688201 w 10789097"/>
              <a:gd name="connsiteY267" fmla="*/ 4130357 h 6857999"/>
              <a:gd name="connsiteX268" fmla="*/ 2688550 w 10789097"/>
              <a:gd name="connsiteY268" fmla="*/ 4136390 h 6857999"/>
              <a:gd name="connsiteX269" fmla="*/ 2688201 w 10789097"/>
              <a:gd name="connsiteY269" fmla="*/ 4142422 h 6857999"/>
              <a:gd name="connsiteX270" fmla="*/ 2687852 w 10789097"/>
              <a:gd name="connsiteY270" fmla="*/ 4148137 h 6857999"/>
              <a:gd name="connsiteX271" fmla="*/ 2687154 w 10789097"/>
              <a:gd name="connsiteY271" fmla="*/ 4154170 h 6857999"/>
              <a:gd name="connsiteX272" fmla="*/ 2686107 w 10789097"/>
              <a:gd name="connsiteY272" fmla="*/ 4160202 h 6857999"/>
              <a:gd name="connsiteX273" fmla="*/ 2684711 w 10789097"/>
              <a:gd name="connsiteY273" fmla="*/ 4165917 h 6857999"/>
              <a:gd name="connsiteX274" fmla="*/ 2683315 w 10789097"/>
              <a:gd name="connsiteY274" fmla="*/ 4171632 h 6857999"/>
              <a:gd name="connsiteX275" fmla="*/ 2681570 w 10789097"/>
              <a:gd name="connsiteY275" fmla="*/ 4177665 h 6857999"/>
              <a:gd name="connsiteX276" fmla="*/ 2679476 w 10789097"/>
              <a:gd name="connsiteY276" fmla="*/ 4183062 h 6857999"/>
              <a:gd name="connsiteX277" fmla="*/ 2677033 w 10789097"/>
              <a:gd name="connsiteY277" fmla="*/ 4188777 h 6857999"/>
              <a:gd name="connsiteX278" fmla="*/ 2674242 w 10789097"/>
              <a:gd name="connsiteY278" fmla="*/ 4194175 h 6857999"/>
              <a:gd name="connsiteX279" fmla="*/ 2671101 w 10789097"/>
              <a:gd name="connsiteY279" fmla="*/ 4199572 h 6857999"/>
              <a:gd name="connsiteX280" fmla="*/ 2667960 w 10789097"/>
              <a:gd name="connsiteY280" fmla="*/ 4204652 h 6857999"/>
              <a:gd name="connsiteX281" fmla="*/ 2664470 w 10789097"/>
              <a:gd name="connsiteY281" fmla="*/ 4210050 h 6857999"/>
              <a:gd name="connsiteX282" fmla="*/ 2660631 w 10789097"/>
              <a:gd name="connsiteY282" fmla="*/ 4214812 h 6857999"/>
              <a:gd name="connsiteX283" fmla="*/ 2656444 w 10789097"/>
              <a:gd name="connsiteY283" fmla="*/ 4219892 h 6857999"/>
              <a:gd name="connsiteX284" fmla="*/ 2651907 w 10789097"/>
              <a:gd name="connsiteY284" fmla="*/ 4224337 h 6857999"/>
              <a:gd name="connsiteX285" fmla="*/ 2647370 w 10789097"/>
              <a:gd name="connsiteY285" fmla="*/ 4228782 h 6857999"/>
              <a:gd name="connsiteX286" fmla="*/ 2642484 w 10789097"/>
              <a:gd name="connsiteY286" fmla="*/ 4232592 h 6857999"/>
              <a:gd name="connsiteX287" fmla="*/ 2637599 w 10789097"/>
              <a:gd name="connsiteY287" fmla="*/ 4236402 h 6857999"/>
              <a:gd name="connsiteX288" fmla="*/ 2632713 w 10789097"/>
              <a:gd name="connsiteY288" fmla="*/ 4239895 h 6857999"/>
              <a:gd name="connsiteX289" fmla="*/ 2627478 w 10789097"/>
              <a:gd name="connsiteY289" fmla="*/ 4243387 h 6857999"/>
              <a:gd name="connsiteX290" fmla="*/ 2622243 w 10789097"/>
              <a:gd name="connsiteY290" fmla="*/ 4246245 h 6857999"/>
              <a:gd name="connsiteX291" fmla="*/ 2616660 w 10789097"/>
              <a:gd name="connsiteY291" fmla="*/ 4249102 h 6857999"/>
              <a:gd name="connsiteX292" fmla="*/ 2611425 w 10789097"/>
              <a:gd name="connsiteY292" fmla="*/ 4251642 h 6857999"/>
              <a:gd name="connsiteX293" fmla="*/ 2605841 w 10789097"/>
              <a:gd name="connsiteY293" fmla="*/ 4253547 h 6857999"/>
              <a:gd name="connsiteX294" fmla="*/ 2599909 w 10789097"/>
              <a:gd name="connsiteY294" fmla="*/ 4255452 h 6857999"/>
              <a:gd name="connsiteX295" fmla="*/ 2594325 w 10789097"/>
              <a:gd name="connsiteY295" fmla="*/ 4257040 h 6857999"/>
              <a:gd name="connsiteX296" fmla="*/ 2588392 w 10789097"/>
              <a:gd name="connsiteY296" fmla="*/ 4258627 h 6857999"/>
              <a:gd name="connsiteX297" fmla="*/ 2582809 w 10789097"/>
              <a:gd name="connsiteY297" fmla="*/ 4259262 h 6857999"/>
              <a:gd name="connsiteX298" fmla="*/ 2576876 w 10789097"/>
              <a:gd name="connsiteY298" fmla="*/ 4260215 h 6857999"/>
              <a:gd name="connsiteX299" fmla="*/ 2570943 w 10789097"/>
              <a:gd name="connsiteY299" fmla="*/ 4260532 h 6857999"/>
              <a:gd name="connsiteX300" fmla="*/ 2565011 w 10789097"/>
              <a:gd name="connsiteY300" fmla="*/ 4260532 h 6857999"/>
              <a:gd name="connsiteX301" fmla="*/ 5169805 w 10789097"/>
              <a:gd name="connsiteY301" fmla="*/ 6857999 h 6857999"/>
              <a:gd name="connsiteX302" fmla="*/ 10789097 w 10789097"/>
              <a:gd name="connsiteY302" fmla="*/ 6857999 h 6857999"/>
              <a:gd name="connsiteX303" fmla="*/ 10789097 w 10789097"/>
              <a:gd name="connsiteY303" fmla="*/ 0 h 6857999"/>
              <a:gd name="connsiteX0" fmla="*/ 10789097 w 10789097"/>
              <a:gd name="connsiteY0" fmla="*/ 0 h 6857999"/>
              <a:gd name="connsiteX1" fmla="*/ 329787 w 10789097"/>
              <a:gd name="connsiteY1" fmla="*/ 0 h 6857999"/>
              <a:gd name="connsiteX2" fmla="*/ 240539 w 10789097"/>
              <a:gd name="connsiteY2" fmla="*/ 0 h 6857999"/>
              <a:gd name="connsiteX3" fmla="*/ 0 w 10789097"/>
              <a:gd name="connsiteY3" fmla="*/ 0 h 6857999"/>
              <a:gd name="connsiteX4" fmla="*/ 34549 w 10789097"/>
              <a:gd name="connsiteY4" fmla="*/ 34608 h 6857999"/>
              <a:gd name="connsiteX5" fmla="*/ 2681221 w 10789097"/>
              <a:gd name="connsiteY5" fmla="*/ 2678112 h 6857999"/>
              <a:gd name="connsiteX6" fmla="*/ 2685758 w 10789097"/>
              <a:gd name="connsiteY6" fmla="*/ 2682875 h 6857999"/>
              <a:gd name="connsiteX7" fmla="*/ 2689946 w 10789097"/>
              <a:gd name="connsiteY7" fmla="*/ 2687320 h 6857999"/>
              <a:gd name="connsiteX8" fmla="*/ 2693785 w 10789097"/>
              <a:gd name="connsiteY8" fmla="*/ 2692717 h 6857999"/>
              <a:gd name="connsiteX9" fmla="*/ 2697274 w 10789097"/>
              <a:gd name="connsiteY9" fmla="*/ 2697480 h 6857999"/>
              <a:gd name="connsiteX10" fmla="*/ 2700415 w 10789097"/>
              <a:gd name="connsiteY10" fmla="*/ 2702877 h 6857999"/>
              <a:gd name="connsiteX11" fmla="*/ 2703556 w 10789097"/>
              <a:gd name="connsiteY11" fmla="*/ 2708275 h 6857999"/>
              <a:gd name="connsiteX12" fmla="*/ 2706348 w 10789097"/>
              <a:gd name="connsiteY12" fmla="*/ 2713672 h 6857999"/>
              <a:gd name="connsiteX13" fmla="*/ 2708791 w 10789097"/>
              <a:gd name="connsiteY13" fmla="*/ 2719070 h 6857999"/>
              <a:gd name="connsiteX14" fmla="*/ 2710885 w 10789097"/>
              <a:gd name="connsiteY14" fmla="*/ 2725102 h 6857999"/>
              <a:gd name="connsiteX15" fmla="*/ 2712630 w 10789097"/>
              <a:gd name="connsiteY15" fmla="*/ 2730817 h 6857999"/>
              <a:gd name="connsiteX16" fmla="*/ 2714025 w 10789097"/>
              <a:gd name="connsiteY16" fmla="*/ 2736532 h 6857999"/>
              <a:gd name="connsiteX17" fmla="*/ 2715421 w 10789097"/>
              <a:gd name="connsiteY17" fmla="*/ 2742565 h 6857999"/>
              <a:gd name="connsiteX18" fmla="*/ 2716468 w 10789097"/>
              <a:gd name="connsiteY18" fmla="*/ 2748280 h 6857999"/>
              <a:gd name="connsiteX19" fmla="*/ 2717166 w 10789097"/>
              <a:gd name="connsiteY19" fmla="*/ 2753995 h 6857999"/>
              <a:gd name="connsiteX20" fmla="*/ 2717515 w 10789097"/>
              <a:gd name="connsiteY20" fmla="*/ 2760345 h 6857999"/>
              <a:gd name="connsiteX21" fmla="*/ 2717864 w 10789097"/>
              <a:gd name="connsiteY21" fmla="*/ 2766377 h 6857999"/>
              <a:gd name="connsiteX22" fmla="*/ 2717515 w 10789097"/>
              <a:gd name="connsiteY22" fmla="*/ 2772092 h 6857999"/>
              <a:gd name="connsiteX23" fmla="*/ 2717166 w 10789097"/>
              <a:gd name="connsiteY23" fmla="*/ 2778125 h 6857999"/>
              <a:gd name="connsiteX24" fmla="*/ 2716468 w 10789097"/>
              <a:gd name="connsiteY24" fmla="*/ 2784157 h 6857999"/>
              <a:gd name="connsiteX25" fmla="*/ 2715421 w 10789097"/>
              <a:gd name="connsiteY25" fmla="*/ 2790190 h 6857999"/>
              <a:gd name="connsiteX26" fmla="*/ 2714025 w 10789097"/>
              <a:gd name="connsiteY26" fmla="*/ 2795905 h 6857999"/>
              <a:gd name="connsiteX27" fmla="*/ 2712630 w 10789097"/>
              <a:gd name="connsiteY27" fmla="*/ 2801620 h 6857999"/>
              <a:gd name="connsiteX28" fmla="*/ 2710885 w 10789097"/>
              <a:gd name="connsiteY28" fmla="*/ 2807335 h 6857999"/>
              <a:gd name="connsiteX29" fmla="*/ 2708791 w 10789097"/>
              <a:gd name="connsiteY29" fmla="*/ 2813050 h 6857999"/>
              <a:gd name="connsiteX30" fmla="*/ 2706348 w 10789097"/>
              <a:gd name="connsiteY30" fmla="*/ 2818765 h 6857999"/>
              <a:gd name="connsiteX31" fmla="*/ 2703556 w 10789097"/>
              <a:gd name="connsiteY31" fmla="*/ 2824162 h 6857999"/>
              <a:gd name="connsiteX32" fmla="*/ 2700415 w 10789097"/>
              <a:gd name="connsiteY32" fmla="*/ 2829560 h 6857999"/>
              <a:gd name="connsiteX33" fmla="*/ 2697274 w 10789097"/>
              <a:gd name="connsiteY33" fmla="*/ 2834640 h 6857999"/>
              <a:gd name="connsiteX34" fmla="*/ 2693785 w 10789097"/>
              <a:gd name="connsiteY34" fmla="*/ 2840037 h 6857999"/>
              <a:gd name="connsiteX35" fmla="*/ 2689946 w 10789097"/>
              <a:gd name="connsiteY35" fmla="*/ 2844800 h 6857999"/>
              <a:gd name="connsiteX36" fmla="*/ 2685758 w 10789097"/>
              <a:gd name="connsiteY36" fmla="*/ 2849562 h 6857999"/>
              <a:gd name="connsiteX37" fmla="*/ 2681221 w 10789097"/>
              <a:gd name="connsiteY37" fmla="*/ 2854325 h 6857999"/>
              <a:gd name="connsiteX38" fmla="*/ 2676684 w 10789097"/>
              <a:gd name="connsiteY38" fmla="*/ 2858770 h 6857999"/>
              <a:gd name="connsiteX39" fmla="*/ 2671799 w 10789097"/>
              <a:gd name="connsiteY39" fmla="*/ 2862580 h 6857999"/>
              <a:gd name="connsiteX40" fmla="*/ 2666913 w 10789097"/>
              <a:gd name="connsiteY40" fmla="*/ 2866390 h 6857999"/>
              <a:gd name="connsiteX41" fmla="*/ 2661678 w 10789097"/>
              <a:gd name="connsiteY41" fmla="*/ 2870200 h 6857999"/>
              <a:gd name="connsiteX42" fmla="*/ 2656444 w 10789097"/>
              <a:gd name="connsiteY42" fmla="*/ 2873375 h 6857999"/>
              <a:gd name="connsiteX43" fmla="*/ 2651209 w 10789097"/>
              <a:gd name="connsiteY43" fmla="*/ 2876550 h 6857999"/>
              <a:gd name="connsiteX44" fmla="*/ 2645625 w 10789097"/>
              <a:gd name="connsiteY44" fmla="*/ 2879090 h 6857999"/>
              <a:gd name="connsiteX45" fmla="*/ 2640041 w 10789097"/>
              <a:gd name="connsiteY45" fmla="*/ 2881312 h 6857999"/>
              <a:gd name="connsiteX46" fmla="*/ 2634458 w 10789097"/>
              <a:gd name="connsiteY46" fmla="*/ 2883535 h 6857999"/>
              <a:gd name="connsiteX47" fmla="*/ 2628525 w 10789097"/>
              <a:gd name="connsiteY47" fmla="*/ 2885757 h 6857999"/>
              <a:gd name="connsiteX48" fmla="*/ 2622941 w 10789097"/>
              <a:gd name="connsiteY48" fmla="*/ 2887027 h 6857999"/>
              <a:gd name="connsiteX49" fmla="*/ 2617009 w 10789097"/>
              <a:gd name="connsiteY49" fmla="*/ 2888297 h 6857999"/>
              <a:gd name="connsiteX50" fmla="*/ 2611076 w 10789097"/>
              <a:gd name="connsiteY50" fmla="*/ 2889567 h 6857999"/>
              <a:gd name="connsiteX51" fmla="*/ 2605143 w 10789097"/>
              <a:gd name="connsiteY51" fmla="*/ 2890202 h 6857999"/>
              <a:gd name="connsiteX52" fmla="*/ 2599211 w 10789097"/>
              <a:gd name="connsiteY52" fmla="*/ 2890520 h 6857999"/>
              <a:gd name="connsiteX53" fmla="*/ 2593278 w 10789097"/>
              <a:gd name="connsiteY53" fmla="*/ 2890520 h 6857999"/>
              <a:gd name="connsiteX54" fmla="*/ 2587345 w 10789097"/>
              <a:gd name="connsiteY54" fmla="*/ 2890520 h 6857999"/>
              <a:gd name="connsiteX55" fmla="*/ 2581413 w 10789097"/>
              <a:gd name="connsiteY55" fmla="*/ 2890202 h 6857999"/>
              <a:gd name="connsiteX56" fmla="*/ 2575480 w 10789097"/>
              <a:gd name="connsiteY56" fmla="*/ 2889567 h 6857999"/>
              <a:gd name="connsiteX57" fmla="*/ 2569547 w 10789097"/>
              <a:gd name="connsiteY57" fmla="*/ 2888297 h 6857999"/>
              <a:gd name="connsiteX58" fmla="*/ 2563615 w 10789097"/>
              <a:gd name="connsiteY58" fmla="*/ 2887027 h 6857999"/>
              <a:gd name="connsiteX59" fmla="*/ 2557682 w 10789097"/>
              <a:gd name="connsiteY59" fmla="*/ 2885757 h 6857999"/>
              <a:gd name="connsiteX60" fmla="*/ 2552098 w 10789097"/>
              <a:gd name="connsiteY60" fmla="*/ 2883535 h 6857999"/>
              <a:gd name="connsiteX61" fmla="*/ 2546515 w 10789097"/>
              <a:gd name="connsiteY61" fmla="*/ 2881312 h 6857999"/>
              <a:gd name="connsiteX62" fmla="*/ 2540931 w 10789097"/>
              <a:gd name="connsiteY62" fmla="*/ 2879090 h 6857999"/>
              <a:gd name="connsiteX63" fmla="*/ 2535347 w 10789097"/>
              <a:gd name="connsiteY63" fmla="*/ 2876550 h 6857999"/>
              <a:gd name="connsiteX64" fmla="*/ 2530112 w 10789097"/>
              <a:gd name="connsiteY64" fmla="*/ 2873375 h 6857999"/>
              <a:gd name="connsiteX65" fmla="*/ 2524878 w 10789097"/>
              <a:gd name="connsiteY65" fmla="*/ 2870200 h 6857999"/>
              <a:gd name="connsiteX66" fmla="*/ 2519643 w 10789097"/>
              <a:gd name="connsiteY66" fmla="*/ 2866390 h 6857999"/>
              <a:gd name="connsiteX67" fmla="*/ 2514757 w 10789097"/>
              <a:gd name="connsiteY67" fmla="*/ 2862580 h 6857999"/>
              <a:gd name="connsiteX68" fmla="*/ 2509872 w 10789097"/>
              <a:gd name="connsiteY68" fmla="*/ 2858770 h 6857999"/>
              <a:gd name="connsiteX69" fmla="*/ 2505335 w 10789097"/>
              <a:gd name="connsiteY69" fmla="*/ 2854325 h 6857999"/>
              <a:gd name="connsiteX70" fmla="*/ 2390869 w 10789097"/>
              <a:gd name="connsiteY70" fmla="*/ 2740025 h 6857999"/>
              <a:gd name="connsiteX71" fmla="*/ 2385983 w 10789097"/>
              <a:gd name="connsiteY71" fmla="*/ 2735580 h 6857999"/>
              <a:gd name="connsiteX72" fmla="*/ 2381097 w 10789097"/>
              <a:gd name="connsiteY72" fmla="*/ 2731452 h 6857999"/>
              <a:gd name="connsiteX73" fmla="*/ 2376212 w 10789097"/>
              <a:gd name="connsiteY73" fmla="*/ 2727642 h 6857999"/>
              <a:gd name="connsiteX74" fmla="*/ 2371326 w 10789097"/>
              <a:gd name="connsiteY74" fmla="*/ 2724150 h 6857999"/>
              <a:gd name="connsiteX75" fmla="*/ 2366091 w 10789097"/>
              <a:gd name="connsiteY75" fmla="*/ 2720975 h 6857999"/>
              <a:gd name="connsiteX76" fmla="*/ 2360507 w 10789097"/>
              <a:gd name="connsiteY76" fmla="*/ 2717800 h 6857999"/>
              <a:gd name="connsiteX77" fmla="*/ 2355273 w 10789097"/>
              <a:gd name="connsiteY77" fmla="*/ 2715260 h 6857999"/>
              <a:gd name="connsiteX78" fmla="*/ 2349689 w 10789097"/>
              <a:gd name="connsiteY78" fmla="*/ 2713037 h 6857999"/>
              <a:gd name="connsiteX79" fmla="*/ 2343757 w 10789097"/>
              <a:gd name="connsiteY79" fmla="*/ 2710497 h 6857999"/>
              <a:gd name="connsiteX80" fmla="*/ 2338173 w 10789097"/>
              <a:gd name="connsiteY80" fmla="*/ 2708592 h 6857999"/>
              <a:gd name="connsiteX81" fmla="*/ 2332240 w 10789097"/>
              <a:gd name="connsiteY81" fmla="*/ 2707322 h 6857999"/>
              <a:gd name="connsiteX82" fmla="*/ 2326307 w 10789097"/>
              <a:gd name="connsiteY82" fmla="*/ 2706052 h 6857999"/>
              <a:gd name="connsiteX83" fmla="*/ 2320724 w 10789097"/>
              <a:gd name="connsiteY83" fmla="*/ 2704782 h 6857999"/>
              <a:gd name="connsiteX84" fmla="*/ 2314442 w 10789097"/>
              <a:gd name="connsiteY84" fmla="*/ 2704147 h 6857999"/>
              <a:gd name="connsiteX85" fmla="*/ 2308509 w 10789097"/>
              <a:gd name="connsiteY85" fmla="*/ 2703830 h 6857999"/>
              <a:gd name="connsiteX86" fmla="*/ 2302577 w 10789097"/>
              <a:gd name="connsiteY86" fmla="*/ 2703512 h 6857999"/>
              <a:gd name="connsiteX87" fmla="*/ 2296644 w 10789097"/>
              <a:gd name="connsiteY87" fmla="*/ 2703830 h 6857999"/>
              <a:gd name="connsiteX88" fmla="*/ 2290711 w 10789097"/>
              <a:gd name="connsiteY88" fmla="*/ 2704147 h 6857999"/>
              <a:gd name="connsiteX89" fmla="*/ 2284779 w 10789097"/>
              <a:gd name="connsiteY89" fmla="*/ 2704782 h 6857999"/>
              <a:gd name="connsiteX90" fmla="*/ 2278846 w 10789097"/>
              <a:gd name="connsiteY90" fmla="*/ 2706052 h 6857999"/>
              <a:gd name="connsiteX91" fmla="*/ 2272913 w 10789097"/>
              <a:gd name="connsiteY91" fmla="*/ 2707322 h 6857999"/>
              <a:gd name="connsiteX92" fmla="*/ 2267330 w 10789097"/>
              <a:gd name="connsiteY92" fmla="*/ 2708592 h 6857999"/>
              <a:gd name="connsiteX93" fmla="*/ 2261397 w 10789097"/>
              <a:gd name="connsiteY93" fmla="*/ 2710497 h 6857999"/>
              <a:gd name="connsiteX94" fmla="*/ 2255813 w 10789097"/>
              <a:gd name="connsiteY94" fmla="*/ 2713037 h 6857999"/>
              <a:gd name="connsiteX95" fmla="*/ 2250229 w 10789097"/>
              <a:gd name="connsiteY95" fmla="*/ 2715260 h 6857999"/>
              <a:gd name="connsiteX96" fmla="*/ 2244646 w 10789097"/>
              <a:gd name="connsiteY96" fmla="*/ 2717800 h 6857999"/>
              <a:gd name="connsiteX97" fmla="*/ 2239411 w 10789097"/>
              <a:gd name="connsiteY97" fmla="*/ 2720975 h 6857999"/>
              <a:gd name="connsiteX98" fmla="*/ 2234177 w 10789097"/>
              <a:gd name="connsiteY98" fmla="*/ 2724150 h 6857999"/>
              <a:gd name="connsiteX99" fmla="*/ 2228942 w 10789097"/>
              <a:gd name="connsiteY99" fmla="*/ 2727642 h 6857999"/>
              <a:gd name="connsiteX100" fmla="*/ 2224056 w 10789097"/>
              <a:gd name="connsiteY100" fmla="*/ 2731452 h 6857999"/>
              <a:gd name="connsiteX101" fmla="*/ 2219170 w 10789097"/>
              <a:gd name="connsiteY101" fmla="*/ 2735580 h 6857999"/>
              <a:gd name="connsiteX102" fmla="*/ 2214633 w 10789097"/>
              <a:gd name="connsiteY102" fmla="*/ 2740025 h 6857999"/>
              <a:gd name="connsiteX103" fmla="*/ 2210097 w 10789097"/>
              <a:gd name="connsiteY103" fmla="*/ 2744787 h 6857999"/>
              <a:gd name="connsiteX104" fmla="*/ 2206258 w 10789097"/>
              <a:gd name="connsiteY104" fmla="*/ 2749550 h 6857999"/>
              <a:gd name="connsiteX105" fmla="*/ 2202070 w 10789097"/>
              <a:gd name="connsiteY105" fmla="*/ 2754312 h 6857999"/>
              <a:gd name="connsiteX106" fmla="*/ 2198581 w 10789097"/>
              <a:gd name="connsiteY106" fmla="*/ 2759710 h 6857999"/>
              <a:gd name="connsiteX107" fmla="*/ 2195091 w 10789097"/>
              <a:gd name="connsiteY107" fmla="*/ 2764790 h 6857999"/>
              <a:gd name="connsiteX108" fmla="*/ 2191950 w 10789097"/>
              <a:gd name="connsiteY108" fmla="*/ 2770187 h 6857999"/>
              <a:gd name="connsiteX109" fmla="*/ 2189507 w 10789097"/>
              <a:gd name="connsiteY109" fmla="*/ 2775585 h 6857999"/>
              <a:gd name="connsiteX110" fmla="*/ 2187064 w 10789097"/>
              <a:gd name="connsiteY110" fmla="*/ 2781300 h 6857999"/>
              <a:gd name="connsiteX111" fmla="*/ 2184621 w 10789097"/>
              <a:gd name="connsiteY111" fmla="*/ 2787015 h 6857999"/>
              <a:gd name="connsiteX112" fmla="*/ 2182876 w 10789097"/>
              <a:gd name="connsiteY112" fmla="*/ 2792730 h 6857999"/>
              <a:gd name="connsiteX113" fmla="*/ 2181480 w 10789097"/>
              <a:gd name="connsiteY113" fmla="*/ 2798445 h 6857999"/>
              <a:gd name="connsiteX114" fmla="*/ 2180085 w 10789097"/>
              <a:gd name="connsiteY114" fmla="*/ 2804477 h 6857999"/>
              <a:gd name="connsiteX115" fmla="*/ 2179037 w 10789097"/>
              <a:gd name="connsiteY115" fmla="*/ 2810192 h 6857999"/>
              <a:gd name="connsiteX116" fmla="*/ 2178339 w 10789097"/>
              <a:gd name="connsiteY116" fmla="*/ 2816225 h 6857999"/>
              <a:gd name="connsiteX117" fmla="*/ 2177991 w 10789097"/>
              <a:gd name="connsiteY117" fmla="*/ 2822257 h 6857999"/>
              <a:gd name="connsiteX118" fmla="*/ 2177641 w 10789097"/>
              <a:gd name="connsiteY118" fmla="*/ 2827972 h 6857999"/>
              <a:gd name="connsiteX119" fmla="*/ 2177991 w 10789097"/>
              <a:gd name="connsiteY119" fmla="*/ 2834005 h 6857999"/>
              <a:gd name="connsiteX120" fmla="*/ 2178339 w 10789097"/>
              <a:gd name="connsiteY120" fmla="*/ 2840037 h 6857999"/>
              <a:gd name="connsiteX121" fmla="*/ 2179037 w 10789097"/>
              <a:gd name="connsiteY121" fmla="*/ 2845752 h 6857999"/>
              <a:gd name="connsiteX122" fmla="*/ 2180085 w 10789097"/>
              <a:gd name="connsiteY122" fmla="*/ 2851785 h 6857999"/>
              <a:gd name="connsiteX123" fmla="*/ 2181480 w 10789097"/>
              <a:gd name="connsiteY123" fmla="*/ 2857817 h 6857999"/>
              <a:gd name="connsiteX124" fmla="*/ 2182876 w 10789097"/>
              <a:gd name="connsiteY124" fmla="*/ 2863532 h 6857999"/>
              <a:gd name="connsiteX125" fmla="*/ 2184621 w 10789097"/>
              <a:gd name="connsiteY125" fmla="*/ 2869247 h 6857999"/>
              <a:gd name="connsiteX126" fmla="*/ 2187064 w 10789097"/>
              <a:gd name="connsiteY126" fmla="*/ 2875280 h 6857999"/>
              <a:gd name="connsiteX127" fmla="*/ 2189507 w 10789097"/>
              <a:gd name="connsiteY127" fmla="*/ 2880677 h 6857999"/>
              <a:gd name="connsiteX128" fmla="*/ 2191950 w 10789097"/>
              <a:gd name="connsiteY128" fmla="*/ 2886075 h 6857999"/>
              <a:gd name="connsiteX129" fmla="*/ 2195091 w 10789097"/>
              <a:gd name="connsiteY129" fmla="*/ 2891472 h 6857999"/>
              <a:gd name="connsiteX130" fmla="*/ 2198581 w 10789097"/>
              <a:gd name="connsiteY130" fmla="*/ 2896870 h 6857999"/>
              <a:gd name="connsiteX131" fmla="*/ 2202070 w 10789097"/>
              <a:gd name="connsiteY131" fmla="*/ 2901632 h 6857999"/>
              <a:gd name="connsiteX132" fmla="*/ 2206258 w 10789097"/>
              <a:gd name="connsiteY132" fmla="*/ 2906712 h 6857999"/>
              <a:gd name="connsiteX133" fmla="*/ 2210097 w 10789097"/>
              <a:gd name="connsiteY133" fmla="*/ 2911475 h 6857999"/>
              <a:gd name="connsiteX134" fmla="*/ 2214633 w 10789097"/>
              <a:gd name="connsiteY134" fmla="*/ 2916237 h 6857999"/>
              <a:gd name="connsiteX135" fmla="*/ 2938420 w 10789097"/>
              <a:gd name="connsiteY135" fmla="*/ 3639502 h 6857999"/>
              <a:gd name="connsiteX136" fmla="*/ 2942957 w 10789097"/>
              <a:gd name="connsiteY136" fmla="*/ 3643947 h 6857999"/>
              <a:gd name="connsiteX137" fmla="*/ 2947145 w 10789097"/>
              <a:gd name="connsiteY137" fmla="*/ 3648710 h 6857999"/>
              <a:gd name="connsiteX138" fmla="*/ 2950984 w 10789097"/>
              <a:gd name="connsiteY138" fmla="*/ 3653790 h 6857999"/>
              <a:gd name="connsiteX139" fmla="*/ 2954473 w 10789097"/>
              <a:gd name="connsiteY139" fmla="*/ 3658870 h 6857999"/>
              <a:gd name="connsiteX140" fmla="*/ 2957614 w 10789097"/>
              <a:gd name="connsiteY140" fmla="*/ 3664267 h 6857999"/>
              <a:gd name="connsiteX141" fmla="*/ 2960755 w 10789097"/>
              <a:gd name="connsiteY141" fmla="*/ 3669347 h 6857999"/>
              <a:gd name="connsiteX142" fmla="*/ 2963547 w 10789097"/>
              <a:gd name="connsiteY142" fmla="*/ 3675062 h 6857999"/>
              <a:gd name="connsiteX143" fmla="*/ 2965641 w 10789097"/>
              <a:gd name="connsiteY143" fmla="*/ 3680460 h 6857999"/>
              <a:gd name="connsiteX144" fmla="*/ 2968084 w 10789097"/>
              <a:gd name="connsiteY144" fmla="*/ 3686175 h 6857999"/>
              <a:gd name="connsiteX145" fmla="*/ 2969829 w 10789097"/>
              <a:gd name="connsiteY145" fmla="*/ 3691890 h 6857999"/>
              <a:gd name="connsiteX146" fmla="*/ 2971224 w 10789097"/>
              <a:gd name="connsiteY146" fmla="*/ 3697605 h 6857999"/>
              <a:gd name="connsiteX147" fmla="*/ 2972620 w 10789097"/>
              <a:gd name="connsiteY147" fmla="*/ 3703637 h 6857999"/>
              <a:gd name="connsiteX148" fmla="*/ 2973667 w 10789097"/>
              <a:gd name="connsiteY148" fmla="*/ 3709670 h 6857999"/>
              <a:gd name="connsiteX149" fmla="*/ 2974365 w 10789097"/>
              <a:gd name="connsiteY149" fmla="*/ 3715385 h 6857999"/>
              <a:gd name="connsiteX150" fmla="*/ 2974714 w 10789097"/>
              <a:gd name="connsiteY150" fmla="*/ 3721417 h 6857999"/>
              <a:gd name="connsiteX151" fmla="*/ 2975063 w 10789097"/>
              <a:gd name="connsiteY151" fmla="*/ 3727450 h 6857999"/>
              <a:gd name="connsiteX152" fmla="*/ 2974714 w 10789097"/>
              <a:gd name="connsiteY152" fmla="*/ 3733165 h 6857999"/>
              <a:gd name="connsiteX153" fmla="*/ 2974365 w 10789097"/>
              <a:gd name="connsiteY153" fmla="*/ 3739197 h 6857999"/>
              <a:gd name="connsiteX154" fmla="*/ 2973667 w 10789097"/>
              <a:gd name="connsiteY154" fmla="*/ 3745230 h 6857999"/>
              <a:gd name="connsiteX155" fmla="*/ 2972620 w 10789097"/>
              <a:gd name="connsiteY155" fmla="*/ 3750945 h 6857999"/>
              <a:gd name="connsiteX156" fmla="*/ 2971224 w 10789097"/>
              <a:gd name="connsiteY156" fmla="*/ 3756977 h 6857999"/>
              <a:gd name="connsiteX157" fmla="*/ 2969829 w 10789097"/>
              <a:gd name="connsiteY157" fmla="*/ 3763010 h 6857999"/>
              <a:gd name="connsiteX158" fmla="*/ 2968084 w 10789097"/>
              <a:gd name="connsiteY158" fmla="*/ 3768407 h 6857999"/>
              <a:gd name="connsiteX159" fmla="*/ 2965641 w 10789097"/>
              <a:gd name="connsiteY159" fmla="*/ 3774122 h 6857999"/>
              <a:gd name="connsiteX160" fmla="*/ 2963547 w 10789097"/>
              <a:gd name="connsiteY160" fmla="*/ 3779837 h 6857999"/>
              <a:gd name="connsiteX161" fmla="*/ 2960755 w 10789097"/>
              <a:gd name="connsiteY161" fmla="*/ 3785235 h 6857999"/>
              <a:gd name="connsiteX162" fmla="*/ 2957614 w 10789097"/>
              <a:gd name="connsiteY162" fmla="*/ 3790632 h 6857999"/>
              <a:gd name="connsiteX163" fmla="*/ 2954473 w 10789097"/>
              <a:gd name="connsiteY163" fmla="*/ 3795712 h 6857999"/>
              <a:gd name="connsiteX164" fmla="*/ 2950984 w 10789097"/>
              <a:gd name="connsiteY164" fmla="*/ 3801110 h 6857999"/>
              <a:gd name="connsiteX165" fmla="*/ 2947145 w 10789097"/>
              <a:gd name="connsiteY165" fmla="*/ 3805872 h 6857999"/>
              <a:gd name="connsiteX166" fmla="*/ 2942957 w 10789097"/>
              <a:gd name="connsiteY166" fmla="*/ 3810635 h 6857999"/>
              <a:gd name="connsiteX167" fmla="*/ 2938420 w 10789097"/>
              <a:gd name="connsiteY167" fmla="*/ 3815397 h 6857999"/>
              <a:gd name="connsiteX168" fmla="*/ 2933884 w 10789097"/>
              <a:gd name="connsiteY168" fmla="*/ 3819842 h 6857999"/>
              <a:gd name="connsiteX169" fmla="*/ 2928998 w 10789097"/>
              <a:gd name="connsiteY169" fmla="*/ 3823970 h 6857999"/>
              <a:gd name="connsiteX170" fmla="*/ 2924112 w 10789097"/>
              <a:gd name="connsiteY170" fmla="*/ 3827780 h 6857999"/>
              <a:gd name="connsiteX171" fmla="*/ 2918877 w 10789097"/>
              <a:gd name="connsiteY171" fmla="*/ 3831272 h 6857999"/>
              <a:gd name="connsiteX172" fmla="*/ 2913643 w 10789097"/>
              <a:gd name="connsiteY172" fmla="*/ 3834447 h 6857999"/>
              <a:gd name="connsiteX173" fmla="*/ 2908408 w 10789097"/>
              <a:gd name="connsiteY173" fmla="*/ 3837622 h 6857999"/>
              <a:gd name="connsiteX174" fmla="*/ 2902824 w 10789097"/>
              <a:gd name="connsiteY174" fmla="*/ 3840480 h 6857999"/>
              <a:gd name="connsiteX175" fmla="*/ 2897240 w 10789097"/>
              <a:gd name="connsiteY175" fmla="*/ 3843020 h 6857999"/>
              <a:gd name="connsiteX176" fmla="*/ 2891657 w 10789097"/>
              <a:gd name="connsiteY176" fmla="*/ 3844925 h 6857999"/>
              <a:gd name="connsiteX177" fmla="*/ 2885724 w 10789097"/>
              <a:gd name="connsiteY177" fmla="*/ 3846830 h 6857999"/>
              <a:gd name="connsiteX178" fmla="*/ 2880140 w 10789097"/>
              <a:gd name="connsiteY178" fmla="*/ 3848417 h 6857999"/>
              <a:gd name="connsiteX179" fmla="*/ 2874208 w 10789097"/>
              <a:gd name="connsiteY179" fmla="*/ 3849370 h 6857999"/>
              <a:gd name="connsiteX180" fmla="*/ 2868275 w 10789097"/>
              <a:gd name="connsiteY180" fmla="*/ 3850640 h 6857999"/>
              <a:gd name="connsiteX181" fmla="*/ 2862342 w 10789097"/>
              <a:gd name="connsiteY181" fmla="*/ 3851275 h 6857999"/>
              <a:gd name="connsiteX182" fmla="*/ 2856410 w 10789097"/>
              <a:gd name="connsiteY182" fmla="*/ 3851592 h 6857999"/>
              <a:gd name="connsiteX183" fmla="*/ 2850477 w 10789097"/>
              <a:gd name="connsiteY183" fmla="*/ 3851910 h 6857999"/>
              <a:gd name="connsiteX184" fmla="*/ 2844544 w 10789097"/>
              <a:gd name="connsiteY184" fmla="*/ 3851592 h 6857999"/>
              <a:gd name="connsiteX185" fmla="*/ 2838612 w 10789097"/>
              <a:gd name="connsiteY185" fmla="*/ 3851275 h 6857999"/>
              <a:gd name="connsiteX186" fmla="*/ 2832679 w 10789097"/>
              <a:gd name="connsiteY186" fmla="*/ 3850640 h 6857999"/>
              <a:gd name="connsiteX187" fmla="*/ 2826746 w 10789097"/>
              <a:gd name="connsiteY187" fmla="*/ 3849370 h 6857999"/>
              <a:gd name="connsiteX188" fmla="*/ 2820814 w 10789097"/>
              <a:gd name="connsiteY188" fmla="*/ 3848417 h 6857999"/>
              <a:gd name="connsiteX189" fmla="*/ 2814881 w 10789097"/>
              <a:gd name="connsiteY189" fmla="*/ 3846830 h 6857999"/>
              <a:gd name="connsiteX190" fmla="*/ 2809297 w 10789097"/>
              <a:gd name="connsiteY190" fmla="*/ 3844925 h 6857999"/>
              <a:gd name="connsiteX191" fmla="*/ 2803714 w 10789097"/>
              <a:gd name="connsiteY191" fmla="*/ 3843020 h 6857999"/>
              <a:gd name="connsiteX192" fmla="*/ 2798130 w 10789097"/>
              <a:gd name="connsiteY192" fmla="*/ 3840480 h 6857999"/>
              <a:gd name="connsiteX193" fmla="*/ 2792546 w 10789097"/>
              <a:gd name="connsiteY193" fmla="*/ 3837622 h 6857999"/>
              <a:gd name="connsiteX194" fmla="*/ 2787311 w 10789097"/>
              <a:gd name="connsiteY194" fmla="*/ 3834447 h 6857999"/>
              <a:gd name="connsiteX195" fmla="*/ 2782077 w 10789097"/>
              <a:gd name="connsiteY195" fmla="*/ 3831272 h 6857999"/>
              <a:gd name="connsiteX196" fmla="*/ 2776842 w 10789097"/>
              <a:gd name="connsiteY196" fmla="*/ 3827780 h 6857999"/>
              <a:gd name="connsiteX197" fmla="*/ 2771956 w 10789097"/>
              <a:gd name="connsiteY197" fmla="*/ 3823970 h 6857999"/>
              <a:gd name="connsiteX198" fmla="*/ 2767071 w 10789097"/>
              <a:gd name="connsiteY198" fmla="*/ 3819842 h 6857999"/>
              <a:gd name="connsiteX199" fmla="*/ 2762534 w 10789097"/>
              <a:gd name="connsiteY199" fmla="*/ 3815397 h 6857999"/>
              <a:gd name="connsiteX200" fmla="*/ 2666564 w 10789097"/>
              <a:gd name="connsiteY200" fmla="*/ 3720147 h 6857999"/>
              <a:gd name="connsiteX201" fmla="*/ 2559078 w 10789097"/>
              <a:gd name="connsiteY201" fmla="*/ 3612515 h 6857999"/>
              <a:gd name="connsiteX202" fmla="*/ 2554541 w 10789097"/>
              <a:gd name="connsiteY202" fmla="*/ 3608070 h 6857999"/>
              <a:gd name="connsiteX203" fmla="*/ 2549655 w 10789097"/>
              <a:gd name="connsiteY203" fmla="*/ 3604260 h 6857999"/>
              <a:gd name="connsiteX204" fmla="*/ 2544770 w 10789097"/>
              <a:gd name="connsiteY204" fmla="*/ 3600132 h 6857999"/>
              <a:gd name="connsiteX205" fmla="*/ 2539535 w 10789097"/>
              <a:gd name="connsiteY205" fmla="*/ 3596640 h 6857999"/>
              <a:gd name="connsiteX206" fmla="*/ 2534300 w 10789097"/>
              <a:gd name="connsiteY206" fmla="*/ 3593465 h 6857999"/>
              <a:gd name="connsiteX207" fmla="*/ 2529066 w 10789097"/>
              <a:gd name="connsiteY207" fmla="*/ 3590290 h 6857999"/>
              <a:gd name="connsiteX208" fmla="*/ 2523482 w 10789097"/>
              <a:gd name="connsiteY208" fmla="*/ 3587750 h 6857999"/>
              <a:gd name="connsiteX209" fmla="*/ 2517898 w 10789097"/>
              <a:gd name="connsiteY209" fmla="*/ 3585210 h 6857999"/>
              <a:gd name="connsiteX210" fmla="*/ 2512314 w 10789097"/>
              <a:gd name="connsiteY210" fmla="*/ 3583305 h 6857999"/>
              <a:gd name="connsiteX211" fmla="*/ 2506731 w 10789097"/>
              <a:gd name="connsiteY211" fmla="*/ 3581082 h 6857999"/>
              <a:gd name="connsiteX212" fmla="*/ 2500798 w 10789097"/>
              <a:gd name="connsiteY212" fmla="*/ 3579812 h 6857999"/>
              <a:gd name="connsiteX213" fmla="*/ 2494865 w 10789097"/>
              <a:gd name="connsiteY213" fmla="*/ 3578225 h 6857999"/>
              <a:gd name="connsiteX214" fmla="*/ 2488933 w 10789097"/>
              <a:gd name="connsiteY214" fmla="*/ 3577272 h 6857999"/>
              <a:gd name="connsiteX215" fmla="*/ 2483000 w 10789097"/>
              <a:gd name="connsiteY215" fmla="*/ 3576637 h 6857999"/>
              <a:gd name="connsiteX216" fmla="*/ 2476718 w 10789097"/>
              <a:gd name="connsiteY216" fmla="*/ 3576320 h 6857999"/>
              <a:gd name="connsiteX217" fmla="*/ 2470786 w 10789097"/>
              <a:gd name="connsiteY217" fmla="*/ 3576320 h 6857999"/>
              <a:gd name="connsiteX218" fmla="*/ 2464853 w 10789097"/>
              <a:gd name="connsiteY218" fmla="*/ 3576320 h 6857999"/>
              <a:gd name="connsiteX219" fmla="*/ 2458920 w 10789097"/>
              <a:gd name="connsiteY219" fmla="*/ 3576637 h 6857999"/>
              <a:gd name="connsiteX220" fmla="*/ 2452988 w 10789097"/>
              <a:gd name="connsiteY220" fmla="*/ 3577272 h 6857999"/>
              <a:gd name="connsiteX221" fmla="*/ 2447055 w 10789097"/>
              <a:gd name="connsiteY221" fmla="*/ 3578225 h 6857999"/>
              <a:gd name="connsiteX222" fmla="*/ 2441122 w 10789097"/>
              <a:gd name="connsiteY222" fmla="*/ 3579812 h 6857999"/>
              <a:gd name="connsiteX223" fmla="*/ 2435190 w 10789097"/>
              <a:gd name="connsiteY223" fmla="*/ 3581082 h 6857999"/>
              <a:gd name="connsiteX224" fmla="*/ 2429606 w 10789097"/>
              <a:gd name="connsiteY224" fmla="*/ 3583305 h 6857999"/>
              <a:gd name="connsiteX225" fmla="*/ 2424022 w 10789097"/>
              <a:gd name="connsiteY225" fmla="*/ 3585210 h 6857999"/>
              <a:gd name="connsiteX226" fmla="*/ 2418439 w 10789097"/>
              <a:gd name="connsiteY226" fmla="*/ 3587750 h 6857999"/>
              <a:gd name="connsiteX227" fmla="*/ 2412855 w 10789097"/>
              <a:gd name="connsiteY227" fmla="*/ 3590290 h 6857999"/>
              <a:gd name="connsiteX228" fmla="*/ 2407620 w 10789097"/>
              <a:gd name="connsiteY228" fmla="*/ 3593465 h 6857999"/>
              <a:gd name="connsiteX229" fmla="*/ 2402385 w 10789097"/>
              <a:gd name="connsiteY229" fmla="*/ 3596640 h 6857999"/>
              <a:gd name="connsiteX230" fmla="*/ 2397151 w 10789097"/>
              <a:gd name="connsiteY230" fmla="*/ 3600450 h 6857999"/>
              <a:gd name="connsiteX231" fmla="*/ 2392265 w 10789097"/>
              <a:gd name="connsiteY231" fmla="*/ 3604260 h 6857999"/>
              <a:gd name="connsiteX232" fmla="*/ 2387379 w 10789097"/>
              <a:gd name="connsiteY232" fmla="*/ 3608070 h 6857999"/>
              <a:gd name="connsiteX233" fmla="*/ 2382842 w 10789097"/>
              <a:gd name="connsiteY233" fmla="*/ 3612515 h 6857999"/>
              <a:gd name="connsiteX234" fmla="*/ 2379003 w 10789097"/>
              <a:gd name="connsiteY234" fmla="*/ 3616325 h 6857999"/>
              <a:gd name="connsiteX235" fmla="*/ 2375863 w 10789097"/>
              <a:gd name="connsiteY235" fmla="*/ 3620135 h 6857999"/>
              <a:gd name="connsiteX236" fmla="*/ 2369581 w 10789097"/>
              <a:gd name="connsiteY236" fmla="*/ 3628390 h 6857999"/>
              <a:gd name="connsiteX237" fmla="*/ 2363997 w 10789097"/>
              <a:gd name="connsiteY237" fmla="*/ 3636327 h 6857999"/>
              <a:gd name="connsiteX238" fmla="*/ 2359461 w 10789097"/>
              <a:gd name="connsiteY238" fmla="*/ 3644900 h 6857999"/>
              <a:gd name="connsiteX239" fmla="*/ 2355273 w 10789097"/>
              <a:gd name="connsiteY239" fmla="*/ 3654107 h 6857999"/>
              <a:gd name="connsiteX240" fmla="*/ 2352132 w 10789097"/>
              <a:gd name="connsiteY240" fmla="*/ 3663315 h 6857999"/>
              <a:gd name="connsiteX241" fmla="*/ 2349689 w 10789097"/>
              <a:gd name="connsiteY241" fmla="*/ 3672522 h 6857999"/>
              <a:gd name="connsiteX242" fmla="*/ 2347944 w 10789097"/>
              <a:gd name="connsiteY242" fmla="*/ 3682047 h 6857999"/>
              <a:gd name="connsiteX243" fmla="*/ 2346897 w 10789097"/>
              <a:gd name="connsiteY243" fmla="*/ 3691572 h 6857999"/>
              <a:gd name="connsiteX244" fmla="*/ 2346548 w 10789097"/>
              <a:gd name="connsiteY244" fmla="*/ 3701097 h 6857999"/>
              <a:gd name="connsiteX245" fmla="*/ 2347246 w 10789097"/>
              <a:gd name="connsiteY245" fmla="*/ 3710622 h 6857999"/>
              <a:gd name="connsiteX246" fmla="*/ 2348293 w 10789097"/>
              <a:gd name="connsiteY246" fmla="*/ 3720465 h 6857999"/>
              <a:gd name="connsiteX247" fmla="*/ 2350387 w 10789097"/>
              <a:gd name="connsiteY247" fmla="*/ 3729672 h 6857999"/>
              <a:gd name="connsiteX248" fmla="*/ 2352830 w 10789097"/>
              <a:gd name="connsiteY248" fmla="*/ 3739197 h 6857999"/>
              <a:gd name="connsiteX249" fmla="*/ 2356320 w 10789097"/>
              <a:gd name="connsiteY249" fmla="*/ 3748405 h 6857999"/>
              <a:gd name="connsiteX250" fmla="*/ 2360507 w 10789097"/>
              <a:gd name="connsiteY250" fmla="*/ 3756977 h 6857999"/>
              <a:gd name="connsiteX251" fmla="*/ 2651907 w 10789097"/>
              <a:gd name="connsiteY251" fmla="*/ 4048442 h 6857999"/>
              <a:gd name="connsiteX252" fmla="*/ 2656444 w 10789097"/>
              <a:gd name="connsiteY252" fmla="*/ 4052887 h 6857999"/>
              <a:gd name="connsiteX253" fmla="*/ 2660631 w 10789097"/>
              <a:gd name="connsiteY253" fmla="*/ 4057967 h 6857999"/>
              <a:gd name="connsiteX254" fmla="*/ 2664470 w 10789097"/>
              <a:gd name="connsiteY254" fmla="*/ 4062730 h 6857999"/>
              <a:gd name="connsiteX255" fmla="*/ 2667960 w 10789097"/>
              <a:gd name="connsiteY255" fmla="*/ 4067810 h 6857999"/>
              <a:gd name="connsiteX256" fmla="*/ 2671101 w 10789097"/>
              <a:gd name="connsiteY256" fmla="*/ 4073207 h 6857999"/>
              <a:gd name="connsiteX257" fmla="*/ 2674242 w 10789097"/>
              <a:gd name="connsiteY257" fmla="*/ 4078287 h 6857999"/>
              <a:gd name="connsiteX258" fmla="*/ 2677033 w 10789097"/>
              <a:gd name="connsiteY258" fmla="*/ 4084002 h 6857999"/>
              <a:gd name="connsiteX259" fmla="*/ 2679476 w 10789097"/>
              <a:gd name="connsiteY259" fmla="*/ 4089717 h 6857999"/>
              <a:gd name="connsiteX260" fmla="*/ 2681570 w 10789097"/>
              <a:gd name="connsiteY260" fmla="*/ 4095115 h 6857999"/>
              <a:gd name="connsiteX261" fmla="*/ 2683315 w 10789097"/>
              <a:gd name="connsiteY261" fmla="*/ 4100830 h 6857999"/>
              <a:gd name="connsiteX262" fmla="*/ 2684711 w 10789097"/>
              <a:gd name="connsiteY262" fmla="*/ 4106862 h 6857999"/>
              <a:gd name="connsiteX263" fmla="*/ 2686107 w 10789097"/>
              <a:gd name="connsiteY263" fmla="*/ 4112577 h 6857999"/>
              <a:gd name="connsiteX264" fmla="*/ 2687154 w 10789097"/>
              <a:gd name="connsiteY264" fmla="*/ 4118610 h 6857999"/>
              <a:gd name="connsiteX265" fmla="*/ 2687852 w 10789097"/>
              <a:gd name="connsiteY265" fmla="*/ 4124642 h 6857999"/>
              <a:gd name="connsiteX266" fmla="*/ 2688201 w 10789097"/>
              <a:gd name="connsiteY266" fmla="*/ 4130357 h 6857999"/>
              <a:gd name="connsiteX267" fmla="*/ 2688550 w 10789097"/>
              <a:gd name="connsiteY267" fmla="*/ 4136390 h 6857999"/>
              <a:gd name="connsiteX268" fmla="*/ 2688201 w 10789097"/>
              <a:gd name="connsiteY268" fmla="*/ 4142422 h 6857999"/>
              <a:gd name="connsiteX269" fmla="*/ 2687852 w 10789097"/>
              <a:gd name="connsiteY269" fmla="*/ 4148137 h 6857999"/>
              <a:gd name="connsiteX270" fmla="*/ 2687154 w 10789097"/>
              <a:gd name="connsiteY270" fmla="*/ 4154170 h 6857999"/>
              <a:gd name="connsiteX271" fmla="*/ 2686107 w 10789097"/>
              <a:gd name="connsiteY271" fmla="*/ 4160202 h 6857999"/>
              <a:gd name="connsiteX272" fmla="*/ 2684711 w 10789097"/>
              <a:gd name="connsiteY272" fmla="*/ 4165917 h 6857999"/>
              <a:gd name="connsiteX273" fmla="*/ 2683315 w 10789097"/>
              <a:gd name="connsiteY273" fmla="*/ 4171632 h 6857999"/>
              <a:gd name="connsiteX274" fmla="*/ 2681570 w 10789097"/>
              <a:gd name="connsiteY274" fmla="*/ 4177665 h 6857999"/>
              <a:gd name="connsiteX275" fmla="*/ 2679476 w 10789097"/>
              <a:gd name="connsiteY275" fmla="*/ 4183062 h 6857999"/>
              <a:gd name="connsiteX276" fmla="*/ 2677033 w 10789097"/>
              <a:gd name="connsiteY276" fmla="*/ 4188777 h 6857999"/>
              <a:gd name="connsiteX277" fmla="*/ 2674242 w 10789097"/>
              <a:gd name="connsiteY277" fmla="*/ 4194175 h 6857999"/>
              <a:gd name="connsiteX278" fmla="*/ 2671101 w 10789097"/>
              <a:gd name="connsiteY278" fmla="*/ 4199572 h 6857999"/>
              <a:gd name="connsiteX279" fmla="*/ 2667960 w 10789097"/>
              <a:gd name="connsiteY279" fmla="*/ 4204652 h 6857999"/>
              <a:gd name="connsiteX280" fmla="*/ 2664470 w 10789097"/>
              <a:gd name="connsiteY280" fmla="*/ 4210050 h 6857999"/>
              <a:gd name="connsiteX281" fmla="*/ 2660631 w 10789097"/>
              <a:gd name="connsiteY281" fmla="*/ 4214812 h 6857999"/>
              <a:gd name="connsiteX282" fmla="*/ 2656444 w 10789097"/>
              <a:gd name="connsiteY282" fmla="*/ 4219892 h 6857999"/>
              <a:gd name="connsiteX283" fmla="*/ 2651907 w 10789097"/>
              <a:gd name="connsiteY283" fmla="*/ 4224337 h 6857999"/>
              <a:gd name="connsiteX284" fmla="*/ 2647370 w 10789097"/>
              <a:gd name="connsiteY284" fmla="*/ 4228782 h 6857999"/>
              <a:gd name="connsiteX285" fmla="*/ 2642484 w 10789097"/>
              <a:gd name="connsiteY285" fmla="*/ 4232592 h 6857999"/>
              <a:gd name="connsiteX286" fmla="*/ 2637599 w 10789097"/>
              <a:gd name="connsiteY286" fmla="*/ 4236402 h 6857999"/>
              <a:gd name="connsiteX287" fmla="*/ 2632713 w 10789097"/>
              <a:gd name="connsiteY287" fmla="*/ 4239895 h 6857999"/>
              <a:gd name="connsiteX288" fmla="*/ 2627478 w 10789097"/>
              <a:gd name="connsiteY288" fmla="*/ 4243387 h 6857999"/>
              <a:gd name="connsiteX289" fmla="*/ 2622243 w 10789097"/>
              <a:gd name="connsiteY289" fmla="*/ 4246245 h 6857999"/>
              <a:gd name="connsiteX290" fmla="*/ 2616660 w 10789097"/>
              <a:gd name="connsiteY290" fmla="*/ 4249102 h 6857999"/>
              <a:gd name="connsiteX291" fmla="*/ 2611425 w 10789097"/>
              <a:gd name="connsiteY291" fmla="*/ 4251642 h 6857999"/>
              <a:gd name="connsiteX292" fmla="*/ 2605841 w 10789097"/>
              <a:gd name="connsiteY292" fmla="*/ 4253547 h 6857999"/>
              <a:gd name="connsiteX293" fmla="*/ 2599909 w 10789097"/>
              <a:gd name="connsiteY293" fmla="*/ 4255452 h 6857999"/>
              <a:gd name="connsiteX294" fmla="*/ 2594325 w 10789097"/>
              <a:gd name="connsiteY294" fmla="*/ 4257040 h 6857999"/>
              <a:gd name="connsiteX295" fmla="*/ 2588392 w 10789097"/>
              <a:gd name="connsiteY295" fmla="*/ 4258627 h 6857999"/>
              <a:gd name="connsiteX296" fmla="*/ 2582809 w 10789097"/>
              <a:gd name="connsiteY296" fmla="*/ 4259262 h 6857999"/>
              <a:gd name="connsiteX297" fmla="*/ 2576876 w 10789097"/>
              <a:gd name="connsiteY297" fmla="*/ 4260215 h 6857999"/>
              <a:gd name="connsiteX298" fmla="*/ 2570943 w 10789097"/>
              <a:gd name="connsiteY298" fmla="*/ 4260532 h 6857999"/>
              <a:gd name="connsiteX299" fmla="*/ 2565011 w 10789097"/>
              <a:gd name="connsiteY299" fmla="*/ 4260532 h 6857999"/>
              <a:gd name="connsiteX300" fmla="*/ 5169805 w 10789097"/>
              <a:gd name="connsiteY300" fmla="*/ 6857999 h 6857999"/>
              <a:gd name="connsiteX301" fmla="*/ 10789097 w 10789097"/>
              <a:gd name="connsiteY301" fmla="*/ 6857999 h 6857999"/>
              <a:gd name="connsiteX302" fmla="*/ 10789097 w 10789097"/>
              <a:gd name="connsiteY302" fmla="*/ 0 h 6857999"/>
              <a:gd name="connsiteX0" fmla="*/ 10789097 w 10789097"/>
              <a:gd name="connsiteY0" fmla="*/ 0 h 6857999"/>
              <a:gd name="connsiteX1" fmla="*/ 240539 w 10789097"/>
              <a:gd name="connsiteY1" fmla="*/ 0 h 6857999"/>
              <a:gd name="connsiteX2" fmla="*/ 0 w 10789097"/>
              <a:gd name="connsiteY2" fmla="*/ 0 h 6857999"/>
              <a:gd name="connsiteX3" fmla="*/ 34549 w 10789097"/>
              <a:gd name="connsiteY3" fmla="*/ 34608 h 6857999"/>
              <a:gd name="connsiteX4" fmla="*/ 2681221 w 10789097"/>
              <a:gd name="connsiteY4" fmla="*/ 2678112 h 6857999"/>
              <a:gd name="connsiteX5" fmla="*/ 2685758 w 10789097"/>
              <a:gd name="connsiteY5" fmla="*/ 2682875 h 6857999"/>
              <a:gd name="connsiteX6" fmla="*/ 2689946 w 10789097"/>
              <a:gd name="connsiteY6" fmla="*/ 2687320 h 6857999"/>
              <a:gd name="connsiteX7" fmla="*/ 2693785 w 10789097"/>
              <a:gd name="connsiteY7" fmla="*/ 2692717 h 6857999"/>
              <a:gd name="connsiteX8" fmla="*/ 2697274 w 10789097"/>
              <a:gd name="connsiteY8" fmla="*/ 2697480 h 6857999"/>
              <a:gd name="connsiteX9" fmla="*/ 2700415 w 10789097"/>
              <a:gd name="connsiteY9" fmla="*/ 2702877 h 6857999"/>
              <a:gd name="connsiteX10" fmla="*/ 2703556 w 10789097"/>
              <a:gd name="connsiteY10" fmla="*/ 2708275 h 6857999"/>
              <a:gd name="connsiteX11" fmla="*/ 2706348 w 10789097"/>
              <a:gd name="connsiteY11" fmla="*/ 2713672 h 6857999"/>
              <a:gd name="connsiteX12" fmla="*/ 2708791 w 10789097"/>
              <a:gd name="connsiteY12" fmla="*/ 2719070 h 6857999"/>
              <a:gd name="connsiteX13" fmla="*/ 2710885 w 10789097"/>
              <a:gd name="connsiteY13" fmla="*/ 2725102 h 6857999"/>
              <a:gd name="connsiteX14" fmla="*/ 2712630 w 10789097"/>
              <a:gd name="connsiteY14" fmla="*/ 2730817 h 6857999"/>
              <a:gd name="connsiteX15" fmla="*/ 2714025 w 10789097"/>
              <a:gd name="connsiteY15" fmla="*/ 2736532 h 6857999"/>
              <a:gd name="connsiteX16" fmla="*/ 2715421 w 10789097"/>
              <a:gd name="connsiteY16" fmla="*/ 2742565 h 6857999"/>
              <a:gd name="connsiteX17" fmla="*/ 2716468 w 10789097"/>
              <a:gd name="connsiteY17" fmla="*/ 2748280 h 6857999"/>
              <a:gd name="connsiteX18" fmla="*/ 2717166 w 10789097"/>
              <a:gd name="connsiteY18" fmla="*/ 2753995 h 6857999"/>
              <a:gd name="connsiteX19" fmla="*/ 2717515 w 10789097"/>
              <a:gd name="connsiteY19" fmla="*/ 2760345 h 6857999"/>
              <a:gd name="connsiteX20" fmla="*/ 2717864 w 10789097"/>
              <a:gd name="connsiteY20" fmla="*/ 2766377 h 6857999"/>
              <a:gd name="connsiteX21" fmla="*/ 2717515 w 10789097"/>
              <a:gd name="connsiteY21" fmla="*/ 2772092 h 6857999"/>
              <a:gd name="connsiteX22" fmla="*/ 2717166 w 10789097"/>
              <a:gd name="connsiteY22" fmla="*/ 2778125 h 6857999"/>
              <a:gd name="connsiteX23" fmla="*/ 2716468 w 10789097"/>
              <a:gd name="connsiteY23" fmla="*/ 2784157 h 6857999"/>
              <a:gd name="connsiteX24" fmla="*/ 2715421 w 10789097"/>
              <a:gd name="connsiteY24" fmla="*/ 2790190 h 6857999"/>
              <a:gd name="connsiteX25" fmla="*/ 2714025 w 10789097"/>
              <a:gd name="connsiteY25" fmla="*/ 2795905 h 6857999"/>
              <a:gd name="connsiteX26" fmla="*/ 2712630 w 10789097"/>
              <a:gd name="connsiteY26" fmla="*/ 2801620 h 6857999"/>
              <a:gd name="connsiteX27" fmla="*/ 2710885 w 10789097"/>
              <a:gd name="connsiteY27" fmla="*/ 2807335 h 6857999"/>
              <a:gd name="connsiteX28" fmla="*/ 2708791 w 10789097"/>
              <a:gd name="connsiteY28" fmla="*/ 2813050 h 6857999"/>
              <a:gd name="connsiteX29" fmla="*/ 2706348 w 10789097"/>
              <a:gd name="connsiteY29" fmla="*/ 2818765 h 6857999"/>
              <a:gd name="connsiteX30" fmla="*/ 2703556 w 10789097"/>
              <a:gd name="connsiteY30" fmla="*/ 2824162 h 6857999"/>
              <a:gd name="connsiteX31" fmla="*/ 2700415 w 10789097"/>
              <a:gd name="connsiteY31" fmla="*/ 2829560 h 6857999"/>
              <a:gd name="connsiteX32" fmla="*/ 2697274 w 10789097"/>
              <a:gd name="connsiteY32" fmla="*/ 2834640 h 6857999"/>
              <a:gd name="connsiteX33" fmla="*/ 2693785 w 10789097"/>
              <a:gd name="connsiteY33" fmla="*/ 2840037 h 6857999"/>
              <a:gd name="connsiteX34" fmla="*/ 2689946 w 10789097"/>
              <a:gd name="connsiteY34" fmla="*/ 2844800 h 6857999"/>
              <a:gd name="connsiteX35" fmla="*/ 2685758 w 10789097"/>
              <a:gd name="connsiteY35" fmla="*/ 2849562 h 6857999"/>
              <a:gd name="connsiteX36" fmla="*/ 2681221 w 10789097"/>
              <a:gd name="connsiteY36" fmla="*/ 2854325 h 6857999"/>
              <a:gd name="connsiteX37" fmla="*/ 2676684 w 10789097"/>
              <a:gd name="connsiteY37" fmla="*/ 2858770 h 6857999"/>
              <a:gd name="connsiteX38" fmla="*/ 2671799 w 10789097"/>
              <a:gd name="connsiteY38" fmla="*/ 2862580 h 6857999"/>
              <a:gd name="connsiteX39" fmla="*/ 2666913 w 10789097"/>
              <a:gd name="connsiteY39" fmla="*/ 2866390 h 6857999"/>
              <a:gd name="connsiteX40" fmla="*/ 2661678 w 10789097"/>
              <a:gd name="connsiteY40" fmla="*/ 2870200 h 6857999"/>
              <a:gd name="connsiteX41" fmla="*/ 2656444 w 10789097"/>
              <a:gd name="connsiteY41" fmla="*/ 2873375 h 6857999"/>
              <a:gd name="connsiteX42" fmla="*/ 2651209 w 10789097"/>
              <a:gd name="connsiteY42" fmla="*/ 2876550 h 6857999"/>
              <a:gd name="connsiteX43" fmla="*/ 2645625 w 10789097"/>
              <a:gd name="connsiteY43" fmla="*/ 2879090 h 6857999"/>
              <a:gd name="connsiteX44" fmla="*/ 2640041 w 10789097"/>
              <a:gd name="connsiteY44" fmla="*/ 2881312 h 6857999"/>
              <a:gd name="connsiteX45" fmla="*/ 2634458 w 10789097"/>
              <a:gd name="connsiteY45" fmla="*/ 2883535 h 6857999"/>
              <a:gd name="connsiteX46" fmla="*/ 2628525 w 10789097"/>
              <a:gd name="connsiteY46" fmla="*/ 2885757 h 6857999"/>
              <a:gd name="connsiteX47" fmla="*/ 2622941 w 10789097"/>
              <a:gd name="connsiteY47" fmla="*/ 2887027 h 6857999"/>
              <a:gd name="connsiteX48" fmla="*/ 2617009 w 10789097"/>
              <a:gd name="connsiteY48" fmla="*/ 2888297 h 6857999"/>
              <a:gd name="connsiteX49" fmla="*/ 2611076 w 10789097"/>
              <a:gd name="connsiteY49" fmla="*/ 2889567 h 6857999"/>
              <a:gd name="connsiteX50" fmla="*/ 2605143 w 10789097"/>
              <a:gd name="connsiteY50" fmla="*/ 2890202 h 6857999"/>
              <a:gd name="connsiteX51" fmla="*/ 2599211 w 10789097"/>
              <a:gd name="connsiteY51" fmla="*/ 2890520 h 6857999"/>
              <a:gd name="connsiteX52" fmla="*/ 2593278 w 10789097"/>
              <a:gd name="connsiteY52" fmla="*/ 2890520 h 6857999"/>
              <a:gd name="connsiteX53" fmla="*/ 2587345 w 10789097"/>
              <a:gd name="connsiteY53" fmla="*/ 2890520 h 6857999"/>
              <a:gd name="connsiteX54" fmla="*/ 2581413 w 10789097"/>
              <a:gd name="connsiteY54" fmla="*/ 2890202 h 6857999"/>
              <a:gd name="connsiteX55" fmla="*/ 2575480 w 10789097"/>
              <a:gd name="connsiteY55" fmla="*/ 2889567 h 6857999"/>
              <a:gd name="connsiteX56" fmla="*/ 2569547 w 10789097"/>
              <a:gd name="connsiteY56" fmla="*/ 2888297 h 6857999"/>
              <a:gd name="connsiteX57" fmla="*/ 2563615 w 10789097"/>
              <a:gd name="connsiteY57" fmla="*/ 2887027 h 6857999"/>
              <a:gd name="connsiteX58" fmla="*/ 2557682 w 10789097"/>
              <a:gd name="connsiteY58" fmla="*/ 2885757 h 6857999"/>
              <a:gd name="connsiteX59" fmla="*/ 2552098 w 10789097"/>
              <a:gd name="connsiteY59" fmla="*/ 2883535 h 6857999"/>
              <a:gd name="connsiteX60" fmla="*/ 2546515 w 10789097"/>
              <a:gd name="connsiteY60" fmla="*/ 2881312 h 6857999"/>
              <a:gd name="connsiteX61" fmla="*/ 2540931 w 10789097"/>
              <a:gd name="connsiteY61" fmla="*/ 2879090 h 6857999"/>
              <a:gd name="connsiteX62" fmla="*/ 2535347 w 10789097"/>
              <a:gd name="connsiteY62" fmla="*/ 2876550 h 6857999"/>
              <a:gd name="connsiteX63" fmla="*/ 2530112 w 10789097"/>
              <a:gd name="connsiteY63" fmla="*/ 2873375 h 6857999"/>
              <a:gd name="connsiteX64" fmla="*/ 2524878 w 10789097"/>
              <a:gd name="connsiteY64" fmla="*/ 2870200 h 6857999"/>
              <a:gd name="connsiteX65" fmla="*/ 2519643 w 10789097"/>
              <a:gd name="connsiteY65" fmla="*/ 2866390 h 6857999"/>
              <a:gd name="connsiteX66" fmla="*/ 2514757 w 10789097"/>
              <a:gd name="connsiteY66" fmla="*/ 2862580 h 6857999"/>
              <a:gd name="connsiteX67" fmla="*/ 2509872 w 10789097"/>
              <a:gd name="connsiteY67" fmla="*/ 2858770 h 6857999"/>
              <a:gd name="connsiteX68" fmla="*/ 2505335 w 10789097"/>
              <a:gd name="connsiteY68" fmla="*/ 2854325 h 6857999"/>
              <a:gd name="connsiteX69" fmla="*/ 2390869 w 10789097"/>
              <a:gd name="connsiteY69" fmla="*/ 2740025 h 6857999"/>
              <a:gd name="connsiteX70" fmla="*/ 2385983 w 10789097"/>
              <a:gd name="connsiteY70" fmla="*/ 2735580 h 6857999"/>
              <a:gd name="connsiteX71" fmla="*/ 2381097 w 10789097"/>
              <a:gd name="connsiteY71" fmla="*/ 2731452 h 6857999"/>
              <a:gd name="connsiteX72" fmla="*/ 2376212 w 10789097"/>
              <a:gd name="connsiteY72" fmla="*/ 2727642 h 6857999"/>
              <a:gd name="connsiteX73" fmla="*/ 2371326 w 10789097"/>
              <a:gd name="connsiteY73" fmla="*/ 2724150 h 6857999"/>
              <a:gd name="connsiteX74" fmla="*/ 2366091 w 10789097"/>
              <a:gd name="connsiteY74" fmla="*/ 2720975 h 6857999"/>
              <a:gd name="connsiteX75" fmla="*/ 2360507 w 10789097"/>
              <a:gd name="connsiteY75" fmla="*/ 2717800 h 6857999"/>
              <a:gd name="connsiteX76" fmla="*/ 2355273 w 10789097"/>
              <a:gd name="connsiteY76" fmla="*/ 2715260 h 6857999"/>
              <a:gd name="connsiteX77" fmla="*/ 2349689 w 10789097"/>
              <a:gd name="connsiteY77" fmla="*/ 2713037 h 6857999"/>
              <a:gd name="connsiteX78" fmla="*/ 2343757 w 10789097"/>
              <a:gd name="connsiteY78" fmla="*/ 2710497 h 6857999"/>
              <a:gd name="connsiteX79" fmla="*/ 2338173 w 10789097"/>
              <a:gd name="connsiteY79" fmla="*/ 2708592 h 6857999"/>
              <a:gd name="connsiteX80" fmla="*/ 2332240 w 10789097"/>
              <a:gd name="connsiteY80" fmla="*/ 2707322 h 6857999"/>
              <a:gd name="connsiteX81" fmla="*/ 2326307 w 10789097"/>
              <a:gd name="connsiteY81" fmla="*/ 2706052 h 6857999"/>
              <a:gd name="connsiteX82" fmla="*/ 2320724 w 10789097"/>
              <a:gd name="connsiteY82" fmla="*/ 2704782 h 6857999"/>
              <a:gd name="connsiteX83" fmla="*/ 2314442 w 10789097"/>
              <a:gd name="connsiteY83" fmla="*/ 2704147 h 6857999"/>
              <a:gd name="connsiteX84" fmla="*/ 2308509 w 10789097"/>
              <a:gd name="connsiteY84" fmla="*/ 2703830 h 6857999"/>
              <a:gd name="connsiteX85" fmla="*/ 2302577 w 10789097"/>
              <a:gd name="connsiteY85" fmla="*/ 2703512 h 6857999"/>
              <a:gd name="connsiteX86" fmla="*/ 2296644 w 10789097"/>
              <a:gd name="connsiteY86" fmla="*/ 2703830 h 6857999"/>
              <a:gd name="connsiteX87" fmla="*/ 2290711 w 10789097"/>
              <a:gd name="connsiteY87" fmla="*/ 2704147 h 6857999"/>
              <a:gd name="connsiteX88" fmla="*/ 2284779 w 10789097"/>
              <a:gd name="connsiteY88" fmla="*/ 2704782 h 6857999"/>
              <a:gd name="connsiteX89" fmla="*/ 2278846 w 10789097"/>
              <a:gd name="connsiteY89" fmla="*/ 2706052 h 6857999"/>
              <a:gd name="connsiteX90" fmla="*/ 2272913 w 10789097"/>
              <a:gd name="connsiteY90" fmla="*/ 2707322 h 6857999"/>
              <a:gd name="connsiteX91" fmla="*/ 2267330 w 10789097"/>
              <a:gd name="connsiteY91" fmla="*/ 2708592 h 6857999"/>
              <a:gd name="connsiteX92" fmla="*/ 2261397 w 10789097"/>
              <a:gd name="connsiteY92" fmla="*/ 2710497 h 6857999"/>
              <a:gd name="connsiteX93" fmla="*/ 2255813 w 10789097"/>
              <a:gd name="connsiteY93" fmla="*/ 2713037 h 6857999"/>
              <a:gd name="connsiteX94" fmla="*/ 2250229 w 10789097"/>
              <a:gd name="connsiteY94" fmla="*/ 2715260 h 6857999"/>
              <a:gd name="connsiteX95" fmla="*/ 2244646 w 10789097"/>
              <a:gd name="connsiteY95" fmla="*/ 2717800 h 6857999"/>
              <a:gd name="connsiteX96" fmla="*/ 2239411 w 10789097"/>
              <a:gd name="connsiteY96" fmla="*/ 2720975 h 6857999"/>
              <a:gd name="connsiteX97" fmla="*/ 2234177 w 10789097"/>
              <a:gd name="connsiteY97" fmla="*/ 2724150 h 6857999"/>
              <a:gd name="connsiteX98" fmla="*/ 2228942 w 10789097"/>
              <a:gd name="connsiteY98" fmla="*/ 2727642 h 6857999"/>
              <a:gd name="connsiteX99" fmla="*/ 2224056 w 10789097"/>
              <a:gd name="connsiteY99" fmla="*/ 2731452 h 6857999"/>
              <a:gd name="connsiteX100" fmla="*/ 2219170 w 10789097"/>
              <a:gd name="connsiteY100" fmla="*/ 2735580 h 6857999"/>
              <a:gd name="connsiteX101" fmla="*/ 2214633 w 10789097"/>
              <a:gd name="connsiteY101" fmla="*/ 2740025 h 6857999"/>
              <a:gd name="connsiteX102" fmla="*/ 2210097 w 10789097"/>
              <a:gd name="connsiteY102" fmla="*/ 2744787 h 6857999"/>
              <a:gd name="connsiteX103" fmla="*/ 2206258 w 10789097"/>
              <a:gd name="connsiteY103" fmla="*/ 2749550 h 6857999"/>
              <a:gd name="connsiteX104" fmla="*/ 2202070 w 10789097"/>
              <a:gd name="connsiteY104" fmla="*/ 2754312 h 6857999"/>
              <a:gd name="connsiteX105" fmla="*/ 2198581 w 10789097"/>
              <a:gd name="connsiteY105" fmla="*/ 2759710 h 6857999"/>
              <a:gd name="connsiteX106" fmla="*/ 2195091 w 10789097"/>
              <a:gd name="connsiteY106" fmla="*/ 2764790 h 6857999"/>
              <a:gd name="connsiteX107" fmla="*/ 2191950 w 10789097"/>
              <a:gd name="connsiteY107" fmla="*/ 2770187 h 6857999"/>
              <a:gd name="connsiteX108" fmla="*/ 2189507 w 10789097"/>
              <a:gd name="connsiteY108" fmla="*/ 2775585 h 6857999"/>
              <a:gd name="connsiteX109" fmla="*/ 2187064 w 10789097"/>
              <a:gd name="connsiteY109" fmla="*/ 2781300 h 6857999"/>
              <a:gd name="connsiteX110" fmla="*/ 2184621 w 10789097"/>
              <a:gd name="connsiteY110" fmla="*/ 2787015 h 6857999"/>
              <a:gd name="connsiteX111" fmla="*/ 2182876 w 10789097"/>
              <a:gd name="connsiteY111" fmla="*/ 2792730 h 6857999"/>
              <a:gd name="connsiteX112" fmla="*/ 2181480 w 10789097"/>
              <a:gd name="connsiteY112" fmla="*/ 2798445 h 6857999"/>
              <a:gd name="connsiteX113" fmla="*/ 2180085 w 10789097"/>
              <a:gd name="connsiteY113" fmla="*/ 2804477 h 6857999"/>
              <a:gd name="connsiteX114" fmla="*/ 2179037 w 10789097"/>
              <a:gd name="connsiteY114" fmla="*/ 2810192 h 6857999"/>
              <a:gd name="connsiteX115" fmla="*/ 2178339 w 10789097"/>
              <a:gd name="connsiteY115" fmla="*/ 2816225 h 6857999"/>
              <a:gd name="connsiteX116" fmla="*/ 2177991 w 10789097"/>
              <a:gd name="connsiteY116" fmla="*/ 2822257 h 6857999"/>
              <a:gd name="connsiteX117" fmla="*/ 2177641 w 10789097"/>
              <a:gd name="connsiteY117" fmla="*/ 2827972 h 6857999"/>
              <a:gd name="connsiteX118" fmla="*/ 2177991 w 10789097"/>
              <a:gd name="connsiteY118" fmla="*/ 2834005 h 6857999"/>
              <a:gd name="connsiteX119" fmla="*/ 2178339 w 10789097"/>
              <a:gd name="connsiteY119" fmla="*/ 2840037 h 6857999"/>
              <a:gd name="connsiteX120" fmla="*/ 2179037 w 10789097"/>
              <a:gd name="connsiteY120" fmla="*/ 2845752 h 6857999"/>
              <a:gd name="connsiteX121" fmla="*/ 2180085 w 10789097"/>
              <a:gd name="connsiteY121" fmla="*/ 2851785 h 6857999"/>
              <a:gd name="connsiteX122" fmla="*/ 2181480 w 10789097"/>
              <a:gd name="connsiteY122" fmla="*/ 2857817 h 6857999"/>
              <a:gd name="connsiteX123" fmla="*/ 2182876 w 10789097"/>
              <a:gd name="connsiteY123" fmla="*/ 2863532 h 6857999"/>
              <a:gd name="connsiteX124" fmla="*/ 2184621 w 10789097"/>
              <a:gd name="connsiteY124" fmla="*/ 2869247 h 6857999"/>
              <a:gd name="connsiteX125" fmla="*/ 2187064 w 10789097"/>
              <a:gd name="connsiteY125" fmla="*/ 2875280 h 6857999"/>
              <a:gd name="connsiteX126" fmla="*/ 2189507 w 10789097"/>
              <a:gd name="connsiteY126" fmla="*/ 2880677 h 6857999"/>
              <a:gd name="connsiteX127" fmla="*/ 2191950 w 10789097"/>
              <a:gd name="connsiteY127" fmla="*/ 2886075 h 6857999"/>
              <a:gd name="connsiteX128" fmla="*/ 2195091 w 10789097"/>
              <a:gd name="connsiteY128" fmla="*/ 2891472 h 6857999"/>
              <a:gd name="connsiteX129" fmla="*/ 2198581 w 10789097"/>
              <a:gd name="connsiteY129" fmla="*/ 2896870 h 6857999"/>
              <a:gd name="connsiteX130" fmla="*/ 2202070 w 10789097"/>
              <a:gd name="connsiteY130" fmla="*/ 2901632 h 6857999"/>
              <a:gd name="connsiteX131" fmla="*/ 2206258 w 10789097"/>
              <a:gd name="connsiteY131" fmla="*/ 2906712 h 6857999"/>
              <a:gd name="connsiteX132" fmla="*/ 2210097 w 10789097"/>
              <a:gd name="connsiteY132" fmla="*/ 2911475 h 6857999"/>
              <a:gd name="connsiteX133" fmla="*/ 2214633 w 10789097"/>
              <a:gd name="connsiteY133" fmla="*/ 2916237 h 6857999"/>
              <a:gd name="connsiteX134" fmla="*/ 2938420 w 10789097"/>
              <a:gd name="connsiteY134" fmla="*/ 3639502 h 6857999"/>
              <a:gd name="connsiteX135" fmla="*/ 2942957 w 10789097"/>
              <a:gd name="connsiteY135" fmla="*/ 3643947 h 6857999"/>
              <a:gd name="connsiteX136" fmla="*/ 2947145 w 10789097"/>
              <a:gd name="connsiteY136" fmla="*/ 3648710 h 6857999"/>
              <a:gd name="connsiteX137" fmla="*/ 2950984 w 10789097"/>
              <a:gd name="connsiteY137" fmla="*/ 3653790 h 6857999"/>
              <a:gd name="connsiteX138" fmla="*/ 2954473 w 10789097"/>
              <a:gd name="connsiteY138" fmla="*/ 3658870 h 6857999"/>
              <a:gd name="connsiteX139" fmla="*/ 2957614 w 10789097"/>
              <a:gd name="connsiteY139" fmla="*/ 3664267 h 6857999"/>
              <a:gd name="connsiteX140" fmla="*/ 2960755 w 10789097"/>
              <a:gd name="connsiteY140" fmla="*/ 3669347 h 6857999"/>
              <a:gd name="connsiteX141" fmla="*/ 2963547 w 10789097"/>
              <a:gd name="connsiteY141" fmla="*/ 3675062 h 6857999"/>
              <a:gd name="connsiteX142" fmla="*/ 2965641 w 10789097"/>
              <a:gd name="connsiteY142" fmla="*/ 3680460 h 6857999"/>
              <a:gd name="connsiteX143" fmla="*/ 2968084 w 10789097"/>
              <a:gd name="connsiteY143" fmla="*/ 3686175 h 6857999"/>
              <a:gd name="connsiteX144" fmla="*/ 2969829 w 10789097"/>
              <a:gd name="connsiteY144" fmla="*/ 3691890 h 6857999"/>
              <a:gd name="connsiteX145" fmla="*/ 2971224 w 10789097"/>
              <a:gd name="connsiteY145" fmla="*/ 3697605 h 6857999"/>
              <a:gd name="connsiteX146" fmla="*/ 2972620 w 10789097"/>
              <a:gd name="connsiteY146" fmla="*/ 3703637 h 6857999"/>
              <a:gd name="connsiteX147" fmla="*/ 2973667 w 10789097"/>
              <a:gd name="connsiteY147" fmla="*/ 3709670 h 6857999"/>
              <a:gd name="connsiteX148" fmla="*/ 2974365 w 10789097"/>
              <a:gd name="connsiteY148" fmla="*/ 3715385 h 6857999"/>
              <a:gd name="connsiteX149" fmla="*/ 2974714 w 10789097"/>
              <a:gd name="connsiteY149" fmla="*/ 3721417 h 6857999"/>
              <a:gd name="connsiteX150" fmla="*/ 2975063 w 10789097"/>
              <a:gd name="connsiteY150" fmla="*/ 3727450 h 6857999"/>
              <a:gd name="connsiteX151" fmla="*/ 2974714 w 10789097"/>
              <a:gd name="connsiteY151" fmla="*/ 3733165 h 6857999"/>
              <a:gd name="connsiteX152" fmla="*/ 2974365 w 10789097"/>
              <a:gd name="connsiteY152" fmla="*/ 3739197 h 6857999"/>
              <a:gd name="connsiteX153" fmla="*/ 2973667 w 10789097"/>
              <a:gd name="connsiteY153" fmla="*/ 3745230 h 6857999"/>
              <a:gd name="connsiteX154" fmla="*/ 2972620 w 10789097"/>
              <a:gd name="connsiteY154" fmla="*/ 3750945 h 6857999"/>
              <a:gd name="connsiteX155" fmla="*/ 2971224 w 10789097"/>
              <a:gd name="connsiteY155" fmla="*/ 3756977 h 6857999"/>
              <a:gd name="connsiteX156" fmla="*/ 2969829 w 10789097"/>
              <a:gd name="connsiteY156" fmla="*/ 3763010 h 6857999"/>
              <a:gd name="connsiteX157" fmla="*/ 2968084 w 10789097"/>
              <a:gd name="connsiteY157" fmla="*/ 3768407 h 6857999"/>
              <a:gd name="connsiteX158" fmla="*/ 2965641 w 10789097"/>
              <a:gd name="connsiteY158" fmla="*/ 3774122 h 6857999"/>
              <a:gd name="connsiteX159" fmla="*/ 2963547 w 10789097"/>
              <a:gd name="connsiteY159" fmla="*/ 3779837 h 6857999"/>
              <a:gd name="connsiteX160" fmla="*/ 2960755 w 10789097"/>
              <a:gd name="connsiteY160" fmla="*/ 3785235 h 6857999"/>
              <a:gd name="connsiteX161" fmla="*/ 2957614 w 10789097"/>
              <a:gd name="connsiteY161" fmla="*/ 3790632 h 6857999"/>
              <a:gd name="connsiteX162" fmla="*/ 2954473 w 10789097"/>
              <a:gd name="connsiteY162" fmla="*/ 3795712 h 6857999"/>
              <a:gd name="connsiteX163" fmla="*/ 2950984 w 10789097"/>
              <a:gd name="connsiteY163" fmla="*/ 3801110 h 6857999"/>
              <a:gd name="connsiteX164" fmla="*/ 2947145 w 10789097"/>
              <a:gd name="connsiteY164" fmla="*/ 3805872 h 6857999"/>
              <a:gd name="connsiteX165" fmla="*/ 2942957 w 10789097"/>
              <a:gd name="connsiteY165" fmla="*/ 3810635 h 6857999"/>
              <a:gd name="connsiteX166" fmla="*/ 2938420 w 10789097"/>
              <a:gd name="connsiteY166" fmla="*/ 3815397 h 6857999"/>
              <a:gd name="connsiteX167" fmla="*/ 2933884 w 10789097"/>
              <a:gd name="connsiteY167" fmla="*/ 3819842 h 6857999"/>
              <a:gd name="connsiteX168" fmla="*/ 2928998 w 10789097"/>
              <a:gd name="connsiteY168" fmla="*/ 3823970 h 6857999"/>
              <a:gd name="connsiteX169" fmla="*/ 2924112 w 10789097"/>
              <a:gd name="connsiteY169" fmla="*/ 3827780 h 6857999"/>
              <a:gd name="connsiteX170" fmla="*/ 2918877 w 10789097"/>
              <a:gd name="connsiteY170" fmla="*/ 3831272 h 6857999"/>
              <a:gd name="connsiteX171" fmla="*/ 2913643 w 10789097"/>
              <a:gd name="connsiteY171" fmla="*/ 3834447 h 6857999"/>
              <a:gd name="connsiteX172" fmla="*/ 2908408 w 10789097"/>
              <a:gd name="connsiteY172" fmla="*/ 3837622 h 6857999"/>
              <a:gd name="connsiteX173" fmla="*/ 2902824 w 10789097"/>
              <a:gd name="connsiteY173" fmla="*/ 3840480 h 6857999"/>
              <a:gd name="connsiteX174" fmla="*/ 2897240 w 10789097"/>
              <a:gd name="connsiteY174" fmla="*/ 3843020 h 6857999"/>
              <a:gd name="connsiteX175" fmla="*/ 2891657 w 10789097"/>
              <a:gd name="connsiteY175" fmla="*/ 3844925 h 6857999"/>
              <a:gd name="connsiteX176" fmla="*/ 2885724 w 10789097"/>
              <a:gd name="connsiteY176" fmla="*/ 3846830 h 6857999"/>
              <a:gd name="connsiteX177" fmla="*/ 2880140 w 10789097"/>
              <a:gd name="connsiteY177" fmla="*/ 3848417 h 6857999"/>
              <a:gd name="connsiteX178" fmla="*/ 2874208 w 10789097"/>
              <a:gd name="connsiteY178" fmla="*/ 3849370 h 6857999"/>
              <a:gd name="connsiteX179" fmla="*/ 2868275 w 10789097"/>
              <a:gd name="connsiteY179" fmla="*/ 3850640 h 6857999"/>
              <a:gd name="connsiteX180" fmla="*/ 2862342 w 10789097"/>
              <a:gd name="connsiteY180" fmla="*/ 3851275 h 6857999"/>
              <a:gd name="connsiteX181" fmla="*/ 2856410 w 10789097"/>
              <a:gd name="connsiteY181" fmla="*/ 3851592 h 6857999"/>
              <a:gd name="connsiteX182" fmla="*/ 2850477 w 10789097"/>
              <a:gd name="connsiteY182" fmla="*/ 3851910 h 6857999"/>
              <a:gd name="connsiteX183" fmla="*/ 2844544 w 10789097"/>
              <a:gd name="connsiteY183" fmla="*/ 3851592 h 6857999"/>
              <a:gd name="connsiteX184" fmla="*/ 2838612 w 10789097"/>
              <a:gd name="connsiteY184" fmla="*/ 3851275 h 6857999"/>
              <a:gd name="connsiteX185" fmla="*/ 2832679 w 10789097"/>
              <a:gd name="connsiteY185" fmla="*/ 3850640 h 6857999"/>
              <a:gd name="connsiteX186" fmla="*/ 2826746 w 10789097"/>
              <a:gd name="connsiteY186" fmla="*/ 3849370 h 6857999"/>
              <a:gd name="connsiteX187" fmla="*/ 2820814 w 10789097"/>
              <a:gd name="connsiteY187" fmla="*/ 3848417 h 6857999"/>
              <a:gd name="connsiteX188" fmla="*/ 2814881 w 10789097"/>
              <a:gd name="connsiteY188" fmla="*/ 3846830 h 6857999"/>
              <a:gd name="connsiteX189" fmla="*/ 2809297 w 10789097"/>
              <a:gd name="connsiteY189" fmla="*/ 3844925 h 6857999"/>
              <a:gd name="connsiteX190" fmla="*/ 2803714 w 10789097"/>
              <a:gd name="connsiteY190" fmla="*/ 3843020 h 6857999"/>
              <a:gd name="connsiteX191" fmla="*/ 2798130 w 10789097"/>
              <a:gd name="connsiteY191" fmla="*/ 3840480 h 6857999"/>
              <a:gd name="connsiteX192" fmla="*/ 2792546 w 10789097"/>
              <a:gd name="connsiteY192" fmla="*/ 3837622 h 6857999"/>
              <a:gd name="connsiteX193" fmla="*/ 2787311 w 10789097"/>
              <a:gd name="connsiteY193" fmla="*/ 3834447 h 6857999"/>
              <a:gd name="connsiteX194" fmla="*/ 2782077 w 10789097"/>
              <a:gd name="connsiteY194" fmla="*/ 3831272 h 6857999"/>
              <a:gd name="connsiteX195" fmla="*/ 2776842 w 10789097"/>
              <a:gd name="connsiteY195" fmla="*/ 3827780 h 6857999"/>
              <a:gd name="connsiteX196" fmla="*/ 2771956 w 10789097"/>
              <a:gd name="connsiteY196" fmla="*/ 3823970 h 6857999"/>
              <a:gd name="connsiteX197" fmla="*/ 2767071 w 10789097"/>
              <a:gd name="connsiteY197" fmla="*/ 3819842 h 6857999"/>
              <a:gd name="connsiteX198" fmla="*/ 2762534 w 10789097"/>
              <a:gd name="connsiteY198" fmla="*/ 3815397 h 6857999"/>
              <a:gd name="connsiteX199" fmla="*/ 2666564 w 10789097"/>
              <a:gd name="connsiteY199" fmla="*/ 3720147 h 6857999"/>
              <a:gd name="connsiteX200" fmla="*/ 2559078 w 10789097"/>
              <a:gd name="connsiteY200" fmla="*/ 3612515 h 6857999"/>
              <a:gd name="connsiteX201" fmla="*/ 2554541 w 10789097"/>
              <a:gd name="connsiteY201" fmla="*/ 3608070 h 6857999"/>
              <a:gd name="connsiteX202" fmla="*/ 2549655 w 10789097"/>
              <a:gd name="connsiteY202" fmla="*/ 3604260 h 6857999"/>
              <a:gd name="connsiteX203" fmla="*/ 2544770 w 10789097"/>
              <a:gd name="connsiteY203" fmla="*/ 3600132 h 6857999"/>
              <a:gd name="connsiteX204" fmla="*/ 2539535 w 10789097"/>
              <a:gd name="connsiteY204" fmla="*/ 3596640 h 6857999"/>
              <a:gd name="connsiteX205" fmla="*/ 2534300 w 10789097"/>
              <a:gd name="connsiteY205" fmla="*/ 3593465 h 6857999"/>
              <a:gd name="connsiteX206" fmla="*/ 2529066 w 10789097"/>
              <a:gd name="connsiteY206" fmla="*/ 3590290 h 6857999"/>
              <a:gd name="connsiteX207" fmla="*/ 2523482 w 10789097"/>
              <a:gd name="connsiteY207" fmla="*/ 3587750 h 6857999"/>
              <a:gd name="connsiteX208" fmla="*/ 2517898 w 10789097"/>
              <a:gd name="connsiteY208" fmla="*/ 3585210 h 6857999"/>
              <a:gd name="connsiteX209" fmla="*/ 2512314 w 10789097"/>
              <a:gd name="connsiteY209" fmla="*/ 3583305 h 6857999"/>
              <a:gd name="connsiteX210" fmla="*/ 2506731 w 10789097"/>
              <a:gd name="connsiteY210" fmla="*/ 3581082 h 6857999"/>
              <a:gd name="connsiteX211" fmla="*/ 2500798 w 10789097"/>
              <a:gd name="connsiteY211" fmla="*/ 3579812 h 6857999"/>
              <a:gd name="connsiteX212" fmla="*/ 2494865 w 10789097"/>
              <a:gd name="connsiteY212" fmla="*/ 3578225 h 6857999"/>
              <a:gd name="connsiteX213" fmla="*/ 2488933 w 10789097"/>
              <a:gd name="connsiteY213" fmla="*/ 3577272 h 6857999"/>
              <a:gd name="connsiteX214" fmla="*/ 2483000 w 10789097"/>
              <a:gd name="connsiteY214" fmla="*/ 3576637 h 6857999"/>
              <a:gd name="connsiteX215" fmla="*/ 2476718 w 10789097"/>
              <a:gd name="connsiteY215" fmla="*/ 3576320 h 6857999"/>
              <a:gd name="connsiteX216" fmla="*/ 2470786 w 10789097"/>
              <a:gd name="connsiteY216" fmla="*/ 3576320 h 6857999"/>
              <a:gd name="connsiteX217" fmla="*/ 2464853 w 10789097"/>
              <a:gd name="connsiteY217" fmla="*/ 3576320 h 6857999"/>
              <a:gd name="connsiteX218" fmla="*/ 2458920 w 10789097"/>
              <a:gd name="connsiteY218" fmla="*/ 3576637 h 6857999"/>
              <a:gd name="connsiteX219" fmla="*/ 2452988 w 10789097"/>
              <a:gd name="connsiteY219" fmla="*/ 3577272 h 6857999"/>
              <a:gd name="connsiteX220" fmla="*/ 2447055 w 10789097"/>
              <a:gd name="connsiteY220" fmla="*/ 3578225 h 6857999"/>
              <a:gd name="connsiteX221" fmla="*/ 2441122 w 10789097"/>
              <a:gd name="connsiteY221" fmla="*/ 3579812 h 6857999"/>
              <a:gd name="connsiteX222" fmla="*/ 2435190 w 10789097"/>
              <a:gd name="connsiteY222" fmla="*/ 3581082 h 6857999"/>
              <a:gd name="connsiteX223" fmla="*/ 2429606 w 10789097"/>
              <a:gd name="connsiteY223" fmla="*/ 3583305 h 6857999"/>
              <a:gd name="connsiteX224" fmla="*/ 2424022 w 10789097"/>
              <a:gd name="connsiteY224" fmla="*/ 3585210 h 6857999"/>
              <a:gd name="connsiteX225" fmla="*/ 2418439 w 10789097"/>
              <a:gd name="connsiteY225" fmla="*/ 3587750 h 6857999"/>
              <a:gd name="connsiteX226" fmla="*/ 2412855 w 10789097"/>
              <a:gd name="connsiteY226" fmla="*/ 3590290 h 6857999"/>
              <a:gd name="connsiteX227" fmla="*/ 2407620 w 10789097"/>
              <a:gd name="connsiteY227" fmla="*/ 3593465 h 6857999"/>
              <a:gd name="connsiteX228" fmla="*/ 2402385 w 10789097"/>
              <a:gd name="connsiteY228" fmla="*/ 3596640 h 6857999"/>
              <a:gd name="connsiteX229" fmla="*/ 2397151 w 10789097"/>
              <a:gd name="connsiteY229" fmla="*/ 3600450 h 6857999"/>
              <a:gd name="connsiteX230" fmla="*/ 2392265 w 10789097"/>
              <a:gd name="connsiteY230" fmla="*/ 3604260 h 6857999"/>
              <a:gd name="connsiteX231" fmla="*/ 2387379 w 10789097"/>
              <a:gd name="connsiteY231" fmla="*/ 3608070 h 6857999"/>
              <a:gd name="connsiteX232" fmla="*/ 2382842 w 10789097"/>
              <a:gd name="connsiteY232" fmla="*/ 3612515 h 6857999"/>
              <a:gd name="connsiteX233" fmla="*/ 2379003 w 10789097"/>
              <a:gd name="connsiteY233" fmla="*/ 3616325 h 6857999"/>
              <a:gd name="connsiteX234" fmla="*/ 2375863 w 10789097"/>
              <a:gd name="connsiteY234" fmla="*/ 3620135 h 6857999"/>
              <a:gd name="connsiteX235" fmla="*/ 2369581 w 10789097"/>
              <a:gd name="connsiteY235" fmla="*/ 3628390 h 6857999"/>
              <a:gd name="connsiteX236" fmla="*/ 2363997 w 10789097"/>
              <a:gd name="connsiteY236" fmla="*/ 3636327 h 6857999"/>
              <a:gd name="connsiteX237" fmla="*/ 2359461 w 10789097"/>
              <a:gd name="connsiteY237" fmla="*/ 3644900 h 6857999"/>
              <a:gd name="connsiteX238" fmla="*/ 2355273 w 10789097"/>
              <a:gd name="connsiteY238" fmla="*/ 3654107 h 6857999"/>
              <a:gd name="connsiteX239" fmla="*/ 2352132 w 10789097"/>
              <a:gd name="connsiteY239" fmla="*/ 3663315 h 6857999"/>
              <a:gd name="connsiteX240" fmla="*/ 2349689 w 10789097"/>
              <a:gd name="connsiteY240" fmla="*/ 3672522 h 6857999"/>
              <a:gd name="connsiteX241" fmla="*/ 2347944 w 10789097"/>
              <a:gd name="connsiteY241" fmla="*/ 3682047 h 6857999"/>
              <a:gd name="connsiteX242" fmla="*/ 2346897 w 10789097"/>
              <a:gd name="connsiteY242" fmla="*/ 3691572 h 6857999"/>
              <a:gd name="connsiteX243" fmla="*/ 2346548 w 10789097"/>
              <a:gd name="connsiteY243" fmla="*/ 3701097 h 6857999"/>
              <a:gd name="connsiteX244" fmla="*/ 2347246 w 10789097"/>
              <a:gd name="connsiteY244" fmla="*/ 3710622 h 6857999"/>
              <a:gd name="connsiteX245" fmla="*/ 2348293 w 10789097"/>
              <a:gd name="connsiteY245" fmla="*/ 3720465 h 6857999"/>
              <a:gd name="connsiteX246" fmla="*/ 2350387 w 10789097"/>
              <a:gd name="connsiteY246" fmla="*/ 3729672 h 6857999"/>
              <a:gd name="connsiteX247" fmla="*/ 2352830 w 10789097"/>
              <a:gd name="connsiteY247" fmla="*/ 3739197 h 6857999"/>
              <a:gd name="connsiteX248" fmla="*/ 2356320 w 10789097"/>
              <a:gd name="connsiteY248" fmla="*/ 3748405 h 6857999"/>
              <a:gd name="connsiteX249" fmla="*/ 2360507 w 10789097"/>
              <a:gd name="connsiteY249" fmla="*/ 3756977 h 6857999"/>
              <a:gd name="connsiteX250" fmla="*/ 2651907 w 10789097"/>
              <a:gd name="connsiteY250" fmla="*/ 4048442 h 6857999"/>
              <a:gd name="connsiteX251" fmla="*/ 2656444 w 10789097"/>
              <a:gd name="connsiteY251" fmla="*/ 4052887 h 6857999"/>
              <a:gd name="connsiteX252" fmla="*/ 2660631 w 10789097"/>
              <a:gd name="connsiteY252" fmla="*/ 4057967 h 6857999"/>
              <a:gd name="connsiteX253" fmla="*/ 2664470 w 10789097"/>
              <a:gd name="connsiteY253" fmla="*/ 4062730 h 6857999"/>
              <a:gd name="connsiteX254" fmla="*/ 2667960 w 10789097"/>
              <a:gd name="connsiteY254" fmla="*/ 4067810 h 6857999"/>
              <a:gd name="connsiteX255" fmla="*/ 2671101 w 10789097"/>
              <a:gd name="connsiteY255" fmla="*/ 4073207 h 6857999"/>
              <a:gd name="connsiteX256" fmla="*/ 2674242 w 10789097"/>
              <a:gd name="connsiteY256" fmla="*/ 4078287 h 6857999"/>
              <a:gd name="connsiteX257" fmla="*/ 2677033 w 10789097"/>
              <a:gd name="connsiteY257" fmla="*/ 4084002 h 6857999"/>
              <a:gd name="connsiteX258" fmla="*/ 2679476 w 10789097"/>
              <a:gd name="connsiteY258" fmla="*/ 4089717 h 6857999"/>
              <a:gd name="connsiteX259" fmla="*/ 2681570 w 10789097"/>
              <a:gd name="connsiteY259" fmla="*/ 4095115 h 6857999"/>
              <a:gd name="connsiteX260" fmla="*/ 2683315 w 10789097"/>
              <a:gd name="connsiteY260" fmla="*/ 4100830 h 6857999"/>
              <a:gd name="connsiteX261" fmla="*/ 2684711 w 10789097"/>
              <a:gd name="connsiteY261" fmla="*/ 4106862 h 6857999"/>
              <a:gd name="connsiteX262" fmla="*/ 2686107 w 10789097"/>
              <a:gd name="connsiteY262" fmla="*/ 4112577 h 6857999"/>
              <a:gd name="connsiteX263" fmla="*/ 2687154 w 10789097"/>
              <a:gd name="connsiteY263" fmla="*/ 4118610 h 6857999"/>
              <a:gd name="connsiteX264" fmla="*/ 2687852 w 10789097"/>
              <a:gd name="connsiteY264" fmla="*/ 4124642 h 6857999"/>
              <a:gd name="connsiteX265" fmla="*/ 2688201 w 10789097"/>
              <a:gd name="connsiteY265" fmla="*/ 4130357 h 6857999"/>
              <a:gd name="connsiteX266" fmla="*/ 2688550 w 10789097"/>
              <a:gd name="connsiteY266" fmla="*/ 4136390 h 6857999"/>
              <a:gd name="connsiteX267" fmla="*/ 2688201 w 10789097"/>
              <a:gd name="connsiteY267" fmla="*/ 4142422 h 6857999"/>
              <a:gd name="connsiteX268" fmla="*/ 2687852 w 10789097"/>
              <a:gd name="connsiteY268" fmla="*/ 4148137 h 6857999"/>
              <a:gd name="connsiteX269" fmla="*/ 2687154 w 10789097"/>
              <a:gd name="connsiteY269" fmla="*/ 4154170 h 6857999"/>
              <a:gd name="connsiteX270" fmla="*/ 2686107 w 10789097"/>
              <a:gd name="connsiteY270" fmla="*/ 4160202 h 6857999"/>
              <a:gd name="connsiteX271" fmla="*/ 2684711 w 10789097"/>
              <a:gd name="connsiteY271" fmla="*/ 4165917 h 6857999"/>
              <a:gd name="connsiteX272" fmla="*/ 2683315 w 10789097"/>
              <a:gd name="connsiteY272" fmla="*/ 4171632 h 6857999"/>
              <a:gd name="connsiteX273" fmla="*/ 2681570 w 10789097"/>
              <a:gd name="connsiteY273" fmla="*/ 4177665 h 6857999"/>
              <a:gd name="connsiteX274" fmla="*/ 2679476 w 10789097"/>
              <a:gd name="connsiteY274" fmla="*/ 4183062 h 6857999"/>
              <a:gd name="connsiteX275" fmla="*/ 2677033 w 10789097"/>
              <a:gd name="connsiteY275" fmla="*/ 4188777 h 6857999"/>
              <a:gd name="connsiteX276" fmla="*/ 2674242 w 10789097"/>
              <a:gd name="connsiteY276" fmla="*/ 4194175 h 6857999"/>
              <a:gd name="connsiteX277" fmla="*/ 2671101 w 10789097"/>
              <a:gd name="connsiteY277" fmla="*/ 4199572 h 6857999"/>
              <a:gd name="connsiteX278" fmla="*/ 2667960 w 10789097"/>
              <a:gd name="connsiteY278" fmla="*/ 4204652 h 6857999"/>
              <a:gd name="connsiteX279" fmla="*/ 2664470 w 10789097"/>
              <a:gd name="connsiteY279" fmla="*/ 4210050 h 6857999"/>
              <a:gd name="connsiteX280" fmla="*/ 2660631 w 10789097"/>
              <a:gd name="connsiteY280" fmla="*/ 4214812 h 6857999"/>
              <a:gd name="connsiteX281" fmla="*/ 2656444 w 10789097"/>
              <a:gd name="connsiteY281" fmla="*/ 4219892 h 6857999"/>
              <a:gd name="connsiteX282" fmla="*/ 2651907 w 10789097"/>
              <a:gd name="connsiteY282" fmla="*/ 4224337 h 6857999"/>
              <a:gd name="connsiteX283" fmla="*/ 2647370 w 10789097"/>
              <a:gd name="connsiteY283" fmla="*/ 4228782 h 6857999"/>
              <a:gd name="connsiteX284" fmla="*/ 2642484 w 10789097"/>
              <a:gd name="connsiteY284" fmla="*/ 4232592 h 6857999"/>
              <a:gd name="connsiteX285" fmla="*/ 2637599 w 10789097"/>
              <a:gd name="connsiteY285" fmla="*/ 4236402 h 6857999"/>
              <a:gd name="connsiteX286" fmla="*/ 2632713 w 10789097"/>
              <a:gd name="connsiteY286" fmla="*/ 4239895 h 6857999"/>
              <a:gd name="connsiteX287" fmla="*/ 2627478 w 10789097"/>
              <a:gd name="connsiteY287" fmla="*/ 4243387 h 6857999"/>
              <a:gd name="connsiteX288" fmla="*/ 2622243 w 10789097"/>
              <a:gd name="connsiteY288" fmla="*/ 4246245 h 6857999"/>
              <a:gd name="connsiteX289" fmla="*/ 2616660 w 10789097"/>
              <a:gd name="connsiteY289" fmla="*/ 4249102 h 6857999"/>
              <a:gd name="connsiteX290" fmla="*/ 2611425 w 10789097"/>
              <a:gd name="connsiteY290" fmla="*/ 4251642 h 6857999"/>
              <a:gd name="connsiteX291" fmla="*/ 2605841 w 10789097"/>
              <a:gd name="connsiteY291" fmla="*/ 4253547 h 6857999"/>
              <a:gd name="connsiteX292" fmla="*/ 2599909 w 10789097"/>
              <a:gd name="connsiteY292" fmla="*/ 4255452 h 6857999"/>
              <a:gd name="connsiteX293" fmla="*/ 2594325 w 10789097"/>
              <a:gd name="connsiteY293" fmla="*/ 4257040 h 6857999"/>
              <a:gd name="connsiteX294" fmla="*/ 2588392 w 10789097"/>
              <a:gd name="connsiteY294" fmla="*/ 4258627 h 6857999"/>
              <a:gd name="connsiteX295" fmla="*/ 2582809 w 10789097"/>
              <a:gd name="connsiteY295" fmla="*/ 4259262 h 6857999"/>
              <a:gd name="connsiteX296" fmla="*/ 2576876 w 10789097"/>
              <a:gd name="connsiteY296" fmla="*/ 4260215 h 6857999"/>
              <a:gd name="connsiteX297" fmla="*/ 2570943 w 10789097"/>
              <a:gd name="connsiteY297" fmla="*/ 4260532 h 6857999"/>
              <a:gd name="connsiteX298" fmla="*/ 2565011 w 10789097"/>
              <a:gd name="connsiteY298" fmla="*/ 4260532 h 6857999"/>
              <a:gd name="connsiteX299" fmla="*/ 5169805 w 10789097"/>
              <a:gd name="connsiteY299" fmla="*/ 6857999 h 6857999"/>
              <a:gd name="connsiteX300" fmla="*/ 10789097 w 10789097"/>
              <a:gd name="connsiteY300" fmla="*/ 6857999 h 6857999"/>
              <a:gd name="connsiteX301" fmla="*/ 10789097 w 10789097"/>
              <a:gd name="connsiteY301" fmla="*/ 0 h 6857999"/>
              <a:gd name="connsiteX0" fmla="*/ 10789097 w 10789097"/>
              <a:gd name="connsiteY0" fmla="*/ 0 h 6857999"/>
              <a:gd name="connsiteX1" fmla="*/ 0 w 10789097"/>
              <a:gd name="connsiteY1" fmla="*/ 0 h 6857999"/>
              <a:gd name="connsiteX2" fmla="*/ 34549 w 10789097"/>
              <a:gd name="connsiteY2" fmla="*/ 34608 h 6857999"/>
              <a:gd name="connsiteX3" fmla="*/ 2681221 w 10789097"/>
              <a:gd name="connsiteY3" fmla="*/ 2678112 h 6857999"/>
              <a:gd name="connsiteX4" fmla="*/ 2685758 w 10789097"/>
              <a:gd name="connsiteY4" fmla="*/ 2682875 h 6857999"/>
              <a:gd name="connsiteX5" fmla="*/ 2689946 w 10789097"/>
              <a:gd name="connsiteY5" fmla="*/ 2687320 h 6857999"/>
              <a:gd name="connsiteX6" fmla="*/ 2693785 w 10789097"/>
              <a:gd name="connsiteY6" fmla="*/ 2692717 h 6857999"/>
              <a:gd name="connsiteX7" fmla="*/ 2697274 w 10789097"/>
              <a:gd name="connsiteY7" fmla="*/ 2697480 h 6857999"/>
              <a:gd name="connsiteX8" fmla="*/ 2700415 w 10789097"/>
              <a:gd name="connsiteY8" fmla="*/ 2702877 h 6857999"/>
              <a:gd name="connsiteX9" fmla="*/ 2703556 w 10789097"/>
              <a:gd name="connsiteY9" fmla="*/ 2708275 h 6857999"/>
              <a:gd name="connsiteX10" fmla="*/ 2706348 w 10789097"/>
              <a:gd name="connsiteY10" fmla="*/ 2713672 h 6857999"/>
              <a:gd name="connsiteX11" fmla="*/ 2708791 w 10789097"/>
              <a:gd name="connsiteY11" fmla="*/ 2719070 h 6857999"/>
              <a:gd name="connsiteX12" fmla="*/ 2710885 w 10789097"/>
              <a:gd name="connsiteY12" fmla="*/ 2725102 h 6857999"/>
              <a:gd name="connsiteX13" fmla="*/ 2712630 w 10789097"/>
              <a:gd name="connsiteY13" fmla="*/ 2730817 h 6857999"/>
              <a:gd name="connsiteX14" fmla="*/ 2714025 w 10789097"/>
              <a:gd name="connsiteY14" fmla="*/ 2736532 h 6857999"/>
              <a:gd name="connsiteX15" fmla="*/ 2715421 w 10789097"/>
              <a:gd name="connsiteY15" fmla="*/ 2742565 h 6857999"/>
              <a:gd name="connsiteX16" fmla="*/ 2716468 w 10789097"/>
              <a:gd name="connsiteY16" fmla="*/ 2748280 h 6857999"/>
              <a:gd name="connsiteX17" fmla="*/ 2717166 w 10789097"/>
              <a:gd name="connsiteY17" fmla="*/ 2753995 h 6857999"/>
              <a:gd name="connsiteX18" fmla="*/ 2717515 w 10789097"/>
              <a:gd name="connsiteY18" fmla="*/ 2760345 h 6857999"/>
              <a:gd name="connsiteX19" fmla="*/ 2717864 w 10789097"/>
              <a:gd name="connsiteY19" fmla="*/ 2766377 h 6857999"/>
              <a:gd name="connsiteX20" fmla="*/ 2717515 w 10789097"/>
              <a:gd name="connsiteY20" fmla="*/ 2772092 h 6857999"/>
              <a:gd name="connsiteX21" fmla="*/ 2717166 w 10789097"/>
              <a:gd name="connsiteY21" fmla="*/ 2778125 h 6857999"/>
              <a:gd name="connsiteX22" fmla="*/ 2716468 w 10789097"/>
              <a:gd name="connsiteY22" fmla="*/ 2784157 h 6857999"/>
              <a:gd name="connsiteX23" fmla="*/ 2715421 w 10789097"/>
              <a:gd name="connsiteY23" fmla="*/ 2790190 h 6857999"/>
              <a:gd name="connsiteX24" fmla="*/ 2714025 w 10789097"/>
              <a:gd name="connsiteY24" fmla="*/ 2795905 h 6857999"/>
              <a:gd name="connsiteX25" fmla="*/ 2712630 w 10789097"/>
              <a:gd name="connsiteY25" fmla="*/ 2801620 h 6857999"/>
              <a:gd name="connsiteX26" fmla="*/ 2710885 w 10789097"/>
              <a:gd name="connsiteY26" fmla="*/ 2807335 h 6857999"/>
              <a:gd name="connsiteX27" fmla="*/ 2708791 w 10789097"/>
              <a:gd name="connsiteY27" fmla="*/ 2813050 h 6857999"/>
              <a:gd name="connsiteX28" fmla="*/ 2706348 w 10789097"/>
              <a:gd name="connsiteY28" fmla="*/ 2818765 h 6857999"/>
              <a:gd name="connsiteX29" fmla="*/ 2703556 w 10789097"/>
              <a:gd name="connsiteY29" fmla="*/ 2824162 h 6857999"/>
              <a:gd name="connsiteX30" fmla="*/ 2700415 w 10789097"/>
              <a:gd name="connsiteY30" fmla="*/ 2829560 h 6857999"/>
              <a:gd name="connsiteX31" fmla="*/ 2697274 w 10789097"/>
              <a:gd name="connsiteY31" fmla="*/ 2834640 h 6857999"/>
              <a:gd name="connsiteX32" fmla="*/ 2693785 w 10789097"/>
              <a:gd name="connsiteY32" fmla="*/ 2840037 h 6857999"/>
              <a:gd name="connsiteX33" fmla="*/ 2689946 w 10789097"/>
              <a:gd name="connsiteY33" fmla="*/ 2844800 h 6857999"/>
              <a:gd name="connsiteX34" fmla="*/ 2685758 w 10789097"/>
              <a:gd name="connsiteY34" fmla="*/ 2849562 h 6857999"/>
              <a:gd name="connsiteX35" fmla="*/ 2681221 w 10789097"/>
              <a:gd name="connsiteY35" fmla="*/ 2854325 h 6857999"/>
              <a:gd name="connsiteX36" fmla="*/ 2676684 w 10789097"/>
              <a:gd name="connsiteY36" fmla="*/ 2858770 h 6857999"/>
              <a:gd name="connsiteX37" fmla="*/ 2671799 w 10789097"/>
              <a:gd name="connsiteY37" fmla="*/ 2862580 h 6857999"/>
              <a:gd name="connsiteX38" fmla="*/ 2666913 w 10789097"/>
              <a:gd name="connsiteY38" fmla="*/ 2866390 h 6857999"/>
              <a:gd name="connsiteX39" fmla="*/ 2661678 w 10789097"/>
              <a:gd name="connsiteY39" fmla="*/ 2870200 h 6857999"/>
              <a:gd name="connsiteX40" fmla="*/ 2656444 w 10789097"/>
              <a:gd name="connsiteY40" fmla="*/ 2873375 h 6857999"/>
              <a:gd name="connsiteX41" fmla="*/ 2651209 w 10789097"/>
              <a:gd name="connsiteY41" fmla="*/ 2876550 h 6857999"/>
              <a:gd name="connsiteX42" fmla="*/ 2645625 w 10789097"/>
              <a:gd name="connsiteY42" fmla="*/ 2879090 h 6857999"/>
              <a:gd name="connsiteX43" fmla="*/ 2640041 w 10789097"/>
              <a:gd name="connsiteY43" fmla="*/ 2881312 h 6857999"/>
              <a:gd name="connsiteX44" fmla="*/ 2634458 w 10789097"/>
              <a:gd name="connsiteY44" fmla="*/ 2883535 h 6857999"/>
              <a:gd name="connsiteX45" fmla="*/ 2628525 w 10789097"/>
              <a:gd name="connsiteY45" fmla="*/ 2885757 h 6857999"/>
              <a:gd name="connsiteX46" fmla="*/ 2622941 w 10789097"/>
              <a:gd name="connsiteY46" fmla="*/ 2887027 h 6857999"/>
              <a:gd name="connsiteX47" fmla="*/ 2617009 w 10789097"/>
              <a:gd name="connsiteY47" fmla="*/ 2888297 h 6857999"/>
              <a:gd name="connsiteX48" fmla="*/ 2611076 w 10789097"/>
              <a:gd name="connsiteY48" fmla="*/ 2889567 h 6857999"/>
              <a:gd name="connsiteX49" fmla="*/ 2605143 w 10789097"/>
              <a:gd name="connsiteY49" fmla="*/ 2890202 h 6857999"/>
              <a:gd name="connsiteX50" fmla="*/ 2599211 w 10789097"/>
              <a:gd name="connsiteY50" fmla="*/ 2890520 h 6857999"/>
              <a:gd name="connsiteX51" fmla="*/ 2593278 w 10789097"/>
              <a:gd name="connsiteY51" fmla="*/ 2890520 h 6857999"/>
              <a:gd name="connsiteX52" fmla="*/ 2587345 w 10789097"/>
              <a:gd name="connsiteY52" fmla="*/ 2890520 h 6857999"/>
              <a:gd name="connsiteX53" fmla="*/ 2581413 w 10789097"/>
              <a:gd name="connsiteY53" fmla="*/ 2890202 h 6857999"/>
              <a:gd name="connsiteX54" fmla="*/ 2575480 w 10789097"/>
              <a:gd name="connsiteY54" fmla="*/ 2889567 h 6857999"/>
              <a:gd name="connsiteX55" fmla="*/ 2569547 w 10789097"/>
              <a:gd name="connsiteY55" fmla="*/ 2888297 h 6857999"/>
              <a:gd name="connsiteX56" fmla="*/ 2563615 w 10789097"/>
              <a:gd name="connsiteY56" fmla="*/ 2887027 h 6857999"/>
              <a:gd name="connsiteX57" fmla="*/ 2557682 w 10789097"/>
              <a:gd name="connsiteY57" fmla="*/ 2885757 h 6857999"/>
              <a:gd name="connsiteX58" fmla="*/ 2552098 w 10789097"/>
              <a:gd name="connsiteY58" fmla="*/ 2883535 h 6857999"/>
              <a:gd name="connsiteX59" fmla="*/ 2546515 w 10789097"/>
              <a:gd name="connsiteY59" fmla="*/ 2881312 h 6857999"/>
              <a:gd name="connsiteX60" fmla="*/ 2540931 w 10789097"/>
              <a:gd name="connsiteY60" fmla="*/ 2879090 h 6857999"/>
              <a:gd name="connsiteX61" fmla="*/ 2535347 w 10789097"/>
              <a:gd name="connsiteY61" fmla="*/ 2876550 h 6857999"/>
              <a:gd name="connsiteX62" fmla="*/ 2530112 w 10789097"/>
              <a:gd name="connsiteY62" fmla="*/ 2873375 h 6857999"/>
              <a:gd name="connsiteX63" fmla="*/ 2524878 w 10789097"/>
              <a:gd name="connsiteY63" fmla="*/ 2870200 h 6857999"/>
              <a:gd name="connsiteX64" fmla="*/ 2519643 w 10789097"/>
              <a:gd name="connsiteY64" fmla="*/ 2866390 h 6857999"/>
              <a:gd name="connsiteX65" fmla="*/ 2514757 w 10789097"/>
              <a:gd name="connsiteY65" fmla="*/ 2862580 h 6857999"/>
              <a:gd name="connsiteX66" fmla="*/ 2509872 w 10789097"/>
              <a:gd name="connsiteY66" fmla="*/ 2858770 h 6857999"/>
              <a:gd name="connsiteX67" fmla="*/ 2505335 w 10789097"/>
              <a:gd name="connsiteY67" fmla="*/ 2854325 h 6857999"/>
              <a:gd name="connsiteX68" fmla="*/ 2390869 w 10789097"/>
              <a:gd name="connsiteY68" fmla="*/ 2740025 h 6857999"/>
              <a:gd name="connsiteX69" fmla="*/ 2385983 w 10789097"/>
              <a:gd name="connsiteY69" fmla="*/ 2735580 h 6857999"/>
              <a:gd name="connsiteX70" fmla="*/ 2381097 w 10789097"/>
              <a:gd name="connsiteY70" fmla="*/ 2731452 h 6857999"/>
              <a:gd name="connsiteX71" fmla="*/ 2376212 w 10789097"/>
              <a:gd name="connsiteY71" fmla="*/ 2727642 h 6857999"/>
              <a:gd name="connsiteX72" fmla="*/ 2371326 w 10789097"/>
              <a:gd name="connsiteY72" fmla="*/ 2724150 h 6857999"/>
              <a:gd name="connsiteX73" fmla="*/ 2366091 w 10789097"/>
              <a:gd name="connsiteY73" fmla="*/ 2720975 h 6857999"/>
              <a:gd name="connsiteX74" fmla="*/ 2360507 w 10789097"/>
              <a:gd name="connsiteY74" fmla="*/ 2717800 h 6857999"/>
              <a:gd name="connsiteX75" fmla="*/ 2355273 w 10789097"/>
              <a:gd name="connsiteY75" fmla="*/ 2715260 h 6857999"/>
              <a:gd name="connsiteX76" fmla="*/ 2349689 w 10789097"/>
              <a:gd name="connsiteY76" fmla="*/ 2713037 h 6857999"/>
              <a:gd name="connsiteX77" fmla="*/ 2343757 w 10789097"/>
              <a:gd name="connsiteY77" fmla="*/ 2710497 h 6857999"/>
              <a:gd name="connsiteX78" fmla="*/ 2338173 w 10789097"/>
              <a:gd name="connsiteY78" fmla="*/ 2708592 h 6857999"/>
              <a:gd name="connsiteX79" fmla="*/ 2332240 w 10789097"/>
              <a:gd name="connsiteY79" fmla="*/ 2707322 h 6857999"/>
              <a:gd name="connsiteX80" fmla="*/ 2326307 w 10789097"/>
              <a:gd name="connsiteY80" fmla="*/ 2706052 h 6857999"/>
              <a:gd name="connsiteX81" fmla="*/ 2320724 w 10789097"/>
              <a:gd name="connsiteY81" fmla="*/ 2704782 h 6857999"/>
              <a:gd name="connsiteX82" fmla="*/ 2314442 w 10789097"/>
              <a:gd name="connsiteY82" fmla="*/ 2704147 h 6857999"/>
              <a:gd name="connsiteX83" fmla="*/ 2308509 w 10789097"/>
              <a:gd name="connsiteY83" fmla="*/ 2703830 h 6857999"/>
              <a:gd name="connsiteX84" fmla="*/ 2302577 w 10789097"/>
              <a:gd name="connsiteY84" fmla="*/ 2703512 h 6857999"/>
              <a:gd name="connsiteX85" fmla="*/ 2296644 w 10789097"/>
              <a:gd name="connsiteY85" fmla="*/ 2703830 h 6857999"/>
              <a:gd name="connsiteX86" fmla="*/ 2290711 w 10789097"/>
              <a:gd name="connsiteY86" fmla="*/ 2704147 h 6857999"/>
              <a:gd name="connsiteX87" fmla="*/ 2284779 w 10789097"/>
              <a:gd name="connsiteY87" fmla="*/ 2704782 h 6857999"/>
              <a:gd name="connsiteX88" fmla="*/ 2278846 w 10789097"/>
              <a:gd name="connsiteY88" fmla="*/ 2706052 h 6857999"/>
              <a:gd name="connsiteX89" fmla="*/ 2272913 w 10789097"/>
              <a:gd name="connsiteY89" fmla="*/ 2707322 h 6857999"/>
              <a:gd name="connsiteX90" fmla="*/ 2267330 w 10789097"/>
              <a:gd name="connsiteY90" fmla="*/ 2708592 h 6857999"/>
              <a:gd name="connsiteX91" fmla="*/ 2261397 w 10789097"/>
              <a:gd name="connsiteY91" fmla="*/ 2710497 h 6857999"/>
              <a:gd name="connsiteX92" fmla="*/ 2255813 w 10789097"/>
              <a:gd name="connsiteY92" fmla="*/ 2713037 h 6857999"/>
              <a:gd name="connsiteX93" fmla="*/ 2250229 w 10789097"/>
              <a:gd name="connsiteY93" fmla="*/ 2715260 h 6857999"/>
              <a:gd name="connsiteX94" fmla="*/ 2244646 w 10789097"/>
              <a:gd name="connsiteY94" fmla="*/ 2717800 h 6857999"/>
              <a:gd name="connsiteX95" fmla="*/ 2239411 w 10789097"/>
              <a:gd name="connsiteY95" fmla="*/ 2720975 h 6857999"/>
              <a:gd name="connsiteX96" fmla="*/ 2234177 w 10789097"/>
              <a:gd name="connsiteY96" fmla="*/ 2724150 h 6857999"/>
              <a:gd name="connsiteX97" fmla="*/ 2228942 w 10789097"/>
              <a:gd name="connsiteY97" fmla="*/ 2727642 h 6857999"/>
              <a:gd name="connsiteX98" fmla="*/ 2224056 w 10789097"/>
              <a:gd name="connsiteY98" fmla="*/ 2731452 h 6857999"/>
              <a:gd name="connsiteX99" fmla="*/ 2219170 w 10789097"/>
              <a:gd name="connsiteY99" fmla="*/ 2735580 h 6857999"/>
              <a:gd name="connsiteX100" fmla="*/ 2214633 w 10789097"/>
              <a:gd name="connsiteY100" fmla="*/ 2740025 h 6857999"/>
              <a:gd name="connsiteX101" fmla="*/ 2210097 w 10789097"/>
              <a:gd name="connsiteY101" fmla="*/ 2744787 h 6857999"/>
              <a:gd name="connsiteX102" fmla="*/ 2206258 w 10789097"/>
              <a:gd name="connsiteY102" fmla="*/ 2749550 h 6857999"/>
              <a:gd name="connsiteX103" fmla="*/ 2202070 w 10789097"/>
              <a:gd name="connsiteY103" fmla="*/ 2754312 h 6857999"/>
              <a:gd name="connsiteX104" fmla="*/ 2198581 w 10789097"/>
              <a:gd name="connsiteY104" fmla="*/ 2759710 h 6857999"/>
              <a:gd name="connsiteX105" fmla="*/ 2195091 w 10789097"/>
              <a:gd name="connsiteY105" fmla="*/ 2764790 h 6857999"/>
              <a:gd name="connsiteX106" fmla="*/ 2191950 w 10789097"/>
              <a:gd name="connsiteY106" fmla="*/ 2770187 h 6857999"/>
              <a:gd name="connsiteX107" fmla="*/ 2189507 w 10789097"/>
              <a:gd name="connsiteY107" fmla="*/ 2775585 h 6857999"/>
              <a:gd name="connsiteX108" fmla="*/ 2187064 w 10789097"/>
              <a:gd name="connsiteY108" fmla="*/ 2781300 h 6857999"/>
              <a:gd name="connsiteX109" fmla="*/ 2184621 w 10789097"/>
              <a:gd name="connsiteY109" fmla="*/ 2787015 h 6857999"/>
              <a:gd name="connsiteX110" fmla="*/ 2182876 w 10789097"/>
              <a:gd name="connsiteY110" fmla="*/ 2792730 h 6857999"/>
              <a:gd name="connsiteX111" fmla="*/ 2181480 w 10789097"/>
              <a:gd name="connsiteY111" fmla="*/ 2798445 h 6857999"/>
              <a:gd name="connsiteX112" fmla="*/ 2180085 w 10789097"/>
              <a:gd name="connsiteY112" fmla="*/ 2804477 h 6857999"/>
              <a:gd name="connsiteX113" fmla="*/ 2179037 w 10789097"/>
              <a:gd name="connsiteY113" fmla="*/ 2810192 h 6857999"/>
              <a:gd name="connsiteX114" fmla="*/ 2178339 w 10789097"/>
              <a:gd name="connsiteY114" fmla="*/ 2816225 h 6857999"/>
              <a:gd name="connsiteX115" fmla="*/ 2177991 w 10789097"/>
              <a:gd name="connsiteY115" fmla="*/ 2822257 h 6857999"/>
              <a:gd name="connsiteX116" fmla="*/ 2177641 w 10789097"/>
              <a:gd name="connsiteY116" fmla="*/ 2827972 h 6857999"/>
              <a:gd name="connsiteX117" fmla="*/ 2177991 w 10789097"/>
              <a:gd name="connsiteY117" fmla="*/ 2834005 h 6857999"/>
              <a:gd name="connsiteX118" fmla="*/ 2178339 w 10789097"/>
              <a:gd name="connsiteY118" fmla="*/ 2840037 h 6857999"/>
              <a:gd name="connsiteX119" fmla="*/ 2179037 w 10789097"/>
              <a:gd name="connsiteY119" fmla="*/ 2845752 h 6857999"/>
              <a:gd name="connsiteX120" fmla="*/ 2180085 w 10789097"/>
              <a:gd name="connsiteY120" fmla="*/ 2851785 h 6857999"/>
              <a:gd name="connsiteX121" fmla="*/ 2181480 w 10789097"/>
              <a:gd name="connsiteY121" fmla="*/ 2857817 h 6857999"/>
              <a:gd name="connsiteX122" fmla="*/ 2182876 w 10789097"/>
              <a:gd name="connsiteY122" fmla="*/ 2863532 h 6857999"/>
              <a:gd name="connsiteX123" fmla="*/ 2184621 w 10789097"/>
              <a:gd name="connsiteY123" fmla="*/ 2869247 h 6857999"/>
              <a:gd name="connsiteX124" fmla="*/ 2187064 w 10789097"/>
              <a:gd name="connsiteY124" fmla="*/ 2875280 h 6857999"/>
              <a:gd name="connsiteX125" fmla="*/ 2189507 w 10789097"/>
              <a:gd name="connsiteY125" fmla="*/ 2880677 h 6857999"/>
              <a:gd name="connsiteX126" fmla="*/ 2191950 w 10789097"/>
              <a:gd name="connsiteY126" fmla="*/ 2886075 h 6857999"/>
              <a:gd name="connsiteX127" fmla="*/ 2195091 w 10789097"/>
              <a:gd name="connsiteY127" fmla="*/ 2891472 h 6857999"/>
              <a:gd name="connsiteX128" fmla="*/ 2198581 w 10789097"/>
              <a:gd name="connsiteY128" fmla="*/ 2896870 h 6857999"/>
              <a:gd name="connsiteX129" fmla="*/ 2202070 w 10789097"/>
              <a:gd name="connsiteY129" fmla="*/ 2901632 h 6857999"/>
              <a:gd name="connsiteX130" fmla="*/ 2206258 w 10789097"/>
              <a:gd name="connsiteY130" fmla="*/ 2906712 h 6857999"/>
              <a:gd name="connsiteX131" fmla="*/ 2210097 w 10789097"/>
              <a:gd name="connsiteY131" fmla="*/ 2911475 h 6857999"/>
              <a:gd name="connsiteX132" fmla="*/ 2214633 w 10789097"/>
              <a:gd name="connsiteY132" fmla="*/ 2916237 h 6857999"/>
              <a:gd name="connsiteX133" fmla="*/ 2938420 w 10789097"/>
              <a:gd name="connsiteY133" fmla="*/ 3639502 h 6857999"/>
              <a:gd name="connsiteX134" fmla="*/ 2942957 w 10789097"/>
              <a:gd name="connsiteY134" fmla="*/ 3643947 h 6857999"/>
              <a:gd name="connsiteX135" fmla="*/ 2947145 w 10789097"/>
              <a:gd name="connsiteY135" fmla="*/ 3648710 h 6857999"/>
              <a:gd name="connsiteX136" fmla="*/ 2950984 w 10789097"/>
              <a:gd name="connsiteY136" fmla="*/ 3653790 h 6857999"/>
              <a:gd name="connsiteX137" fmla="*/ 2954473 w 10789097"/>
              <a:gd name="connsiteY137" fmla="*/ 3658870 h 6857999"/>
              <a:gd name="connsiteX138" fmla="*/ 2957614 w 10789097"/>
              <a:gd name="connsiteY138" fmla="*/ 3664267 h 6857999"/>
              <a:gd name="connsiteX139" fmla="*/ 2960755 w 10789097"/>
              <a:gd name="connsiteY139" fmla="*/ 3669347 h 6857999"/>
              <a:gd name="connsiteX140" fmla="*/ 2963547 w 10789097"/>
              <a:gd name="connsiteY140" fmla="*/ 3675062 h 6857999"/>
              <a:gd name="connsiteX141" fmla="*/ 2965641 w 10789097"/>
              <a:gd name="connsiteY141" fmla="*/ 3680460 h 6857999"/>
              <a:gd name="connsiteX142" fmla="*/ 2968084 w 10789097"/>
              <a:gd name="connsiteY142" fmla="*/ 3686175 h 6857999"/>
              <a:gd name="connsiteX143" fmla="*/ 2969829 w 10789097"/>
              <a:gd name="connsiteY143" fmla="*/ 3691890 h 6857999"/>
              <a:gd name="connsiteX144" fmla="*/ 2971224 w 10789097"/>
              <a:gd name="connsiteY144" fmla="*/ 3697605 h 6857999"/>
              <a:gd name="connsiteX145" fmla="*/ 2972620 w 10789097"/>
              <a:gd name="connsiteY145" fmla="*/ 3703637 h 6857999"/>
              <a:gd name="connsiteX146" fmla="*/ 2973667 w 10789097"/>
              <a:gd name="connsiteY146" fmla="*/ 3709670 h 6857999"/>
              <a:gd name="connsiteX147" fmla="*/ 2974365 w 10789097"/>
              <a:gd name="connsiteY147" fmla="*/ 3715385 h 6857999"/>
              <a:gd name="connsiteX148" fmla="*/ 2974714 w 10789097"/>
              <a:gd name="connsiteY148" fmla="*/ 3721417 h 6857999"/>
              <a:gd name="connsiteX149" fmla="*/ 2975063 w 10789097"/>
              <a:gd name="connsiteY149" fmla="*/ 3727450 h 6857999"/>
              <a:gd name="connsiteX150" fmla="*/ 2974714 w 10789097"/>
              <a:gd name="connsiteY150" fmla="*/ 3733165 h 6857999"/>
              <a:gd name="connsiteX151" fmla="*/ 2974365 w 10789097"/>
              <a:gd name="connsiteY151" fmla="*/ 3739197 h 6857999"/>
              <a:gd name="connsiteX152" fmla="*/ 2973667 w 10789097"/>
              <a:gd name="connsiteY152" fmla="*/ 3745230 h 6857999"/>
              <a:gd name="connsiteX153" fmla="*/ 2972620 w 10789097"/>
              <a:gd name="connsiteY153" fmla="*/ 3750945 h 6857999"/>
              <a:gd name="connsiteX154" fmla="*/ 2971224 w 10789097"/>
              <a:gd name="connsiteY154" fmla="*/ 3756977 h 6857999"/>
              <a:gd name="connsiteX155" fmla="*/ 2969829 w 10789097"/>
              <a:gd name="connsiteY155" fmla="*/ 3763010 h 6857999"/>
              <a:gd name="connsiteX156" fmla="*/ 2968084 w 10789097"/>
              <a:gd name="connsiteY156" fmla="*/ 3768407 h 6857999"/>
              <a:gd name="connsiteX157" fmla="*/ 2965641 w 10789097"/>
              <a:gd name="connsiteY157" fmla="*/ 3774122 h 6857999"/>
              <a:gd name="connsiteX158" fmla="*/ 2963547 w 10789097"/>
              <a:gd name="connsiteY158" fmla="*/ 3779837 h 6857999"/>
              <a:gd name="connsiteX159" fmla="*/ 2960755 w 10789097"/>
              <a:gd name="connsiteY159" fmla="*/ 3785235 h 6857999"/>
              <a:gd name="connsiteX160" fmla="*/ 2957614 w 10789097"/>
              <a:gd name="connsiteY160" fmla="*/ 3790632 h 6857999"/>
              <a:gd name="connsiteX161" fmla="*/ 2954473 w 10789097"/>
              <a:gd name="connsiteY161" fmla="*/ 3795712 h 6857999"/>
              <a:gd name="connsiteX162" fmla="*/ 2950984 w 10789097"/>
              <a:gd name="connsiteY162" fmla="*/ 3801110 h 6857999"/>
              <a:gd name="connsiteX163" fmla="*/ 2947145 w 10789097"/>
              <a:gd name="connsiteY163" fmla="*/ 3805872 h 6857999"/>
              <a:gd name="connsiteX164" fmla="*/ 2942957 w 10789097"/>
              <a:gd name="connsiteY164" fmla="*/ 3810635 h 6857999"/>
              <a:gd name="connsiteX165" fmla="*/ 2938420 w 10789097"/>
              <a:gd name="connsiteY165" fmla="*/ 3815397 h 6857999"/>
              <a:gd name="connsiteX166" fmla="*/ 2933884 w 10789097"/>
              <a:gd name="connsiteY166" fmla="*/ 3819842 h 6857999"/>
              <a:gd name="connsiteX167" fmla="*/ 2928998 w 10789097"/>
              <a:gd name="connsiteY167" fmla="*/ 3823970 h 6857999"/>
              <a:gd name="connsiteX168" fmla="*/ 2924112 w 10789097"/>
              <a:gd name="connsiteY168" fmla="*/ 3827780 h 6857999"/>
              <a:gd name="connsiteX169" fmla="*/ 2918877 w 10789097"/>
              <a:gd name="connsiteY169" fmla="*/ 3831272 h 6857999"/>
              <a:gd name="connsiteX170" fmla="*/ 2913643 w 10789097"/>
              <a:gd name="connsiteY170" fmla="*/ 3834447 h 6857999"/>
              <a:gd name="connsiteX171" fmla="*/ 2908408 w 10789097"/>
              <a:gd name="connsiteY171" fmla="*/ 3837622 h 6857999"/>
              <a:gd name="connsiteX172" fmla="*/ 2902824 w 10789097"/>
              <a:gd name="connsiteY172" fmla="*/ 3840480 h 6857999"/>
              <a:gd name="connsiteX173" fmla="*/ 2897240 w 10789097"/>
              <a:gd name="connsiteY173" fmla="*/ 3843020 h 6857999"/>
              <a:gd name="connsiteX174" fmla="*/ 2891657 w 10789097"/>
              <a:gd name="connsiteY174" fmla="*/ 3844925 h 6857999"/>
              <a:gd name="connsiteX175" fmla="*/ 2885724 w 10789097"/>
              <a:gd name="connsiteY175" fmla="*/ 3846830 h 6857999"/>
              <a:gd name="connsiteX176" fmla="*/ 2880140 w 10789097"/>
              <a:gd name="connsiteY176" fmla="*/ 3848417 h 6857999"/>
              <a:gd name="connsiteX177" fmla="*/ 2874208 w 10789097"/>
              <a:gd name="connsiteY177" fmla="*/ 3849370 h 6857999"/>
              <a:gd name="connsiteX178" fmla="*/ 2868275 w 10789097"/>
              <a:gd name="connsiteY178" fmla="*/ 3850640 h 6857999"/>
              <a:gd name="connsiteX179" fmla="*/ 2862342 w 10789097"/>
              <a:gd name="connsiteY179" fmla="*/ 3851275 h 6857999"/>
              <a:gd name="connsiteX180" fmla="*/ 2856410 w 10789097"/>
              <a:gd name="connsiteY180" fmla="*/ 3851592 h 6857999"/>
              <a:gd name="connsiteX181" fmla="*/ 2850477 w 10789097"/>
              <a:gd name="connsiteY181" fmla="*/ 3851910 h 6857999"/>
              <a:gd name="connsiteX182" fmla="*/ 2844544 w 10789097"/>
              <a:gd name="connsiteY182" fmla="*/ 3851592 h 6857999"/>
              <a:gd name="connsiteX183" fmla="*/ 2838612 w 10789097"/>
              <a:gd name="connsiteY183" fmla="*/ 3851275 h 6857999"/>
              <a:gd name="connsiteX184" fmla="*/ 2832679 w 10789097"/>
              <a:gd name="connsiteY184" fmla="*/ 3850640 h 6857999"/>
              <a:gd name="connsiteX185" fmla="*/ 2826746 w 10789097"/>
              <a:gd name="connsiteY185" fmla="*/ 3849370 h 6857999"/>
              <a:gd name="connsiteX186" fmla="*/ 2820814 w 10789097"/>
              <a:gd name="connsiteY186" fmla="*/ 3848417 h 6857999"/>
              <a:gd name="connsiteX187" fmla="*/ 2814881 w 10789097"/>
              <a:gd name="connsiteY187" fmla="*/ 3846830 h 6857999"/>
              <a:gd name="connsiteX188" fmla="*/ 2809297 w 10789097"/>
              <a:gd name="connsiteY188" fmla="*/ 3844925 h 6857999"/>
              <a:gd name="connsiteX189" fmla="*/ 2803714 w 10789097"/>
              <a:gd name="connsiteY189" fmla="*/ 3843020 h 6857999"/>
              <a:gd name="connsiteX190" fmla="*/ 2798130 w 10789097"/>
              <a:gd name="connsiteY190" fmla="*/ 3840480 h 6857999"/>
              <a:gd name="connsiteX191" fmla="*/ 2792546 w 10789097"/>
              <a:gd name="connsiteY191" fmla="*/ 3837622 h 6857999"/>
              <a:gd name="connsiteX192" fmla="*/ 2787311 w 10789097"/>
              <a:gd name="connsiteY192" fmla="*/ 3834447 h 6857999"/>
              <a:gd name="connsiteX193" fmla="*/ 2782077 w 10789097"/>
              <a:gd name="connsiteY193" fmla="*/ 3831272 h 6857999"/>
              <a:gd name="connsiteX194" fmla="*/ 2776842 w 10789097"/>
              <a:gd name="connsiteY194" fmla="*/ 3827780 h 6857999"/>
              <a:gd name="connsiteX195" fmla="*/ 2771956 w 10789097"/>
              <a:gd name="connsiteY195" fmla="*/ 3823970 h 6857999"/>
              <a:gd name="connsiteX196" fmla="*/ 2767071 w 10789097"/>
              <a:gd name="connsiteY196" fmla="*/ 3819842 h 6857999"/>
              <a:gd name="connsiteX197" fmla="*/ 2762534 w 10789097"/>
              <a:gd name="connsiteY197" fmla="*/ 3815397 h 6857999"/>
              <a:gd name="connsiteX198" fmla="*/ 2666564 w 10789097"/>
              <a:gd name="connsiteY198" fmla="*/ 3720147 h 6857999"/>
              <a:gd name="connsiteX199" fmla="*/ 2559078 w 10789097"/>
              <a:gd name="connsiteY199" fmla="*/ 3612515 h 6857999"/>
              <a:gd name="connsiteX200" fmla="*/ 2554541 w 10789097"/>
              <a:gd name="connsiteY200" fmla="*/ 3608070 h 6857999"/>
              <a:gd name="connsiteX201" fmla="*/ 2549655 w 10789097"/>
              <a:gd name="connsiteY201" fmla="*/ 3604260 h 6857999"/>
              <a:gd name="connsiteX202" fmla="*/ 2544770 w 10789097"/>
              <a:gd name="connsiteY202" fmla="*/ 3600132 h 6857999"/>
              <a:gd name="connsiteX203" fmla="*/ 2539535 w 10789097"/>
              <a:gd name="connsiteY203" fmla="*/ 3596640 h 6857999"/>
              <a:gd name="connsiteX204" fmla="*/ 2534300 w 10789097"/>
              <a:gd name="connsiteY204" fmla="*/ 3593465 h 6857999"/>
              <a:gd name="connsiteX205" fmla="*/ 2529066 w 10789097"/>
              <a:gd name="connsiteY205" fmla="*/ 3590290 h 6857999"/>
              <a:gd name="connsiteX206" fmla="*/ 2523482 w 10789097"/>
              <a:gd name="connsiteY206" fmla="*/ 3587750 h 6857999"/>
              <a:gd name="connsiteX207" fmla="*/ 2517898 w 10789097"/>
              <a:gd name="connsiteY207" fmla="*/ 3585210 h 6857999"/>
              <a:gd name="connsiteX208" fmla="*/ 2512314 w 10789097"/>
              <a:gd name="connsiteY208" fmla="*/ 3583305 h 6857999"/>
              <a:gd name="connsiteX209" fmla="*/ 2506731 w 10789097"/>
              <a:gd name="connsiteY209" fmla="*/ 3581082 h 6857999"/>
              <a:gd name="connsiteX210" fmla="*/ 2500798 w 10789097"/>
              <a:gd name="connsiteY210" fmla="*/ 3579812 h 6857999"/>
              <a:gd name="connsiteX211" fmla="*/ 2494865 w 10789097"/>
              <a:gd name="connsiteY211" fmla="*/ 3578225 h 6857999"/>
              <a:gd name="connsiteX212" fmla="*/ 2488933 w 10789097"/>
              <a:gd name="connsiteY212" fmla="*/ 3577272 h 6857999"/>
              <a:gd name="connsiteX213" fmla="*/ 2483000 w 10789097"/>
              <a:gd name="connsiteY213" fmla="*/ 3576637 h 6857999"/>
              <a:gd name="connsiteX214" fmla="*/ 2476718 w 10789097"/>
              <a:gd name="connsiteY214" fmla="*/ 3576320 h 6857999"/>
              <a:gd name="connsiteX215" fmla="*/ 2470786 w 10789097"/>
              <a:gd name="connsiteY215" fmla="*/ 3576320 h 6857999"/>
              <a:gd name="connsiteX216" fmla="*/ 2464853 w 10789097"/>
              <a:gd name="connsiteY216" fmla="*/ 3576320 h 6857999"/>
              <a:gd name="connsiteX217" fmla="*/ 2458920 w 10789097"/>
              <a:gd name="connsiteY217" fmla="*/ 3576637 h 6857999"/>
              <a:gd name="connsiteX218" fmla="*/ 2452988 w 10789097"/>
              <a:gd name="connsiteY218" fmla="*/ 3577272 h 6857999"/>
              <a:gd name="connsiteX219" fmla="*/ 2447055 w 10789097"/>
              <a:gd name="connsiteY219" fmla="*/ 3578225 h 6857999"/>
              <a:gd name="connsiteX220" fmla="*/ 2441122 w 10789097"/>
              <a:gd name="connsiteY220" fmla="*/ 3579812 h 6857999"/>
              <a:gd name="connsiteX221" fmla="*/ 2435190 w 10789097"/>
              <a:gd name="connsiteY221" fmla="*/ 3581082 h 6857999"/>
              <a:gd name="connsiteX222" fmla="*/ 2429606 w 10789097"/>
              <a:gd name="connsiteY222" fmla="*/ 3583305 h 6857999"/>
              <a:gd name="connsiteX223" fmla="*/ 2424022 w 10789097"/>
              <a:gd name="connsiteY223" fmla="*/ 3585210 h 6857999"/>
              <a:gd name="connsiteX224" fmla="*/ 2418439 w 10789097"/>
              <a:gd name="connsiteY224" fmla="*/ 3587750 h 6857999"/>
              <a:gd name="connsiteX225" fmla="*/ 2412855 w 10789097"/>
              <a:gd name="connsiteY225" fmla="*/ 3590290 h 6857999"/>
              <a:gd name="connsiteX226" fmla="*/ 2407620 w 10789097"/>
              <a:gd name="connsiteY226" fmla="*/ 3593465 h 6857999"/>
              <a:gd name="connsiteX227" fmla="*/ 2402385 w 10789097"/>
              <a:gd name="connsiteY227" fmla="*/ 3596640 h 6857999"/>
              <a:gd name="connsiteX228" fmla="*/ 2397151 w 10789097"/>
              <a:gd name="connsiteY228" fmla="*/ 3600450 h 6857999"/>
              <a:gd name="connsiteX229" fmla="*/ 2392265 w 10789097"/>
              <a:gd name="connsiteY229" fmla="*/ 3604260 h 6857999"/>
              <a:gd name="connsiteX230" fmla="*/ 2387379 w 10789097"/>
              <a:gd name="connsiteY230" fmla="*/ 3608070 h 6857999"/>
              <a:gd name="connsiteX231" fmla="*/ 2382842 w 10789097"/>
              <a:gd name="connsiteY231" fmla="*/ 3612515 h 6857999"/>
              <a:gd name="connsiteX232" fmla="*/ 2379003 w 10789097"/>
              <a:gd name="connsiteY232" fmla="*/ 3616325 h 6857999"/>
              <a:gd name="connsiteX233" fmla="*/ 2375863 w 10789097"/>
              <a:gd name="connsiteY233" fmla="*/ 3620135 h 6857999"/>
              <a:gd name="connsiteX234" fmla="*/ 2369581 w 10789097"/>
              <a:gd name="connsiteY234" fmla="*/ 3628390 h 6857999"/>
              <a:gd name="connsiteX235" fmla="*/ 2363997 w 10789097"/>
              <a:gd name="connsiteY235" fmla="*/ 3636327 h 6857999"/>
              <a:gd name="connsiteX236" fmla="*/ 2359461 w 10789097"/>
              <a:gd name="connsiteY236" fmla="*/ 3644900 h 6857999"/>
              <a:gd name="connsiteX237" fmla="*/ 2355273 w 10789097"/>
              <a:gd name="connsiteY237" fmla="*/ 3654107 h 6857999"/>
              <a:gd name="connsiteX238" fmla="*/ 2352132 w 10789097"/>
              <a:gd name="connsiteY238" fmla="*/ 3663315 h 6857999"/>
              <a:gd name="connsiteX239" fmla="*/ 2349689 w 10789097"/>
              <a:gd name="connsiteY239" fmla="*/ 3672522 h 6857999"/>
              <a:gd name="connsiteX240" fmla="*/ 2347944 w 10789097"/>
              <a:gd name="connsiteY240" fmla="*/ 3682047 h 6857999"/>
              <a:gd name="connsiteX241" fmla="*/ 2346897 w 10789097"/>
              <a:gd name="connsiteY241" fmla="*/ 3691572 h 6857999"/>
              <a:gd name="connsiteX242" fmla="*/ 2346548 w 10789097"/>
              <a:gd name="connsiteY242" fmla="*/ 3701097 h 6857999"/>
              <a:gd name="connsiteX243" fmla="*/ 2347246 w 10789097"/>
              <a:gd name="connsiteY243" fmla="*/ 3710622 h 6857999"/>
              <a:gd name="connsiteX244" fmla="*/ 2348293 w 10789097"/>
              <a:gd name="connsiteY244" fmla="*/ 3720465 h 6857999"/>
              <a:gd name="connsiteX245" fmla="*/ 2350387 w 10789097"/>
              <a:gd name="connsiteY245" fmla="*/ 3729672 h 6857999"/>
              <a:gd name="connsiteX246" fmla="*/ 2352830 w 10789097"/>
              <a:gd name="connsiteY246" fmla="*/ 3739197 h 6857999"/>
              <a:gd name="connsiteX247" fmla="*/ 2356320 w 10789097"/>
              <a:gd name="connsiteY247" fmla="*/ 3748405 h 6857999"/>
              <a:gd name="connsiteX248" fmla="*/ 2360507 w 10789097"/>
              <a:gd name="connsiteY248" fmla="*/ 3756977 h 6857999"/>
              <a:gd name="connsiteX249" fmla="*/ 2651907 w 10789097"/>
              <a:gd name="connsiteY249" fmla="*/ 4048442 h 6857999"/>
              <a:gd name="connsiteX250" fmla="*/ 2656444 w 10789097"/>
              <a:gd name="connsiteY250" fmla="*/ 4052887 h 6857999"/>
              <a:gd name="connsiteX251" fmla="*/ 2660631 w 10789097"/>
              <a:gd name="connsiteY251" fmla="*/ 4057967 h 6857999"/>
              <a:gd name="connsiteX252" fmla="*/ 2664470 w 10789097"/>
              <a:gd name="connsiteY252" fmla="*/ 4062730 h 6857999"/>
              <a:gd name="connsiteX253" fmla="*/ 2667960 w 10789097"/>
              <a:gd name="connsiteY253" fmla="*/ 4067810 h 6857999"/>
              <a:gd name="connsiteX254" fmla="*/ 2671101 w 10789097"/>
              <a:gd name="connsiteY254" fmla="*/ 4073207 h 6857999"/>
              <a:gd name="connsiteX255" fmla="*/ 2674242 w 10789097"/>
              <a:gd name="connsiteY255" fmla="*/ 4078287 h 6857999"/>
              <a:gd name="connsiteX256" fmla="*/ 2677033 w 10789097"/>
              <a:gd name="connsiteY256" fmla="*/ 4084002 h 6857999"/>
              <a:gd name="connsiteX257" fmla="*/ 2679476 w 10789097"/>
              <a:gd name="connsiteY257" fmla="*/ 4089717 h 6857999"/>
              <a:gd name="connsiteX258" fmla="*/ 2681570 w 10789097"/>
              <a:gd name="connsiteY258" fmla="*/ 4095115 h 6857999"/>
              <a:gd name="connsiteX259" fmla="*/ 2683315 w 10789097"/>
              <a:gd name="connsiteY259" fmla="*/ 4100830 h 6857999"/>
              <a:gd name="connsiteX260" fmla="*/ 2684711 w 10789097"/>
              <a:gd name="connsiteY260" fmla="*/ 4106862 h 6857999"/>
              <a:gd name="connsiteX261" fmla="*/ 2686107 w 10789097"/>
              <a:gd name="connsiteY261" fmla="*/ 4112577 h 6857999"/>
              <a:gd name="connsiteX262" fmla="*/ 2687154 w 10789097"/>
              <a:gd name="connsiteY262" fmla="*/ 4118610 h 6857999"/>
              <a:gd name="connsiteX263" fmla="*/ 2687852 w 10789097"/>
              <a:gd name="connsiteY263" fmla="*/ 4124642 h 6857999"/>
              <a:gd name="connsiteX264" fmla="*/ 2688201 w 10789097"/>
              <a:gd name="connsiteY264" fmla="*/ 4130357 h 6857999"/>
              <a:gd name="connsiteX265" fmla="*/ 2688550 w 10789097"/>
              <a:gd name="connsiteY265" fmla="*/ 4136390 h 6857999"/>
              <a:gd name="connsiteX266" fmla="*/ 2688201 w 10789097"/>
              <a:gd name="connsiteY266" fmla="*/ 4142422 h 6857999"/>
              <a:gd name="connsiteX267" fmla="*/ 2687852 w 10789097"/>
              <a:gd name="connsiteY267" fmla="*/ 4148137 h 6857999"/>
              <a:gd name="connsiteX268" fmla="*/ 2687154 w 10789097"/>
              <a:gd name="connsiteY268" fmla="*/ 4154170 h 6857999"/>
              <a:gd name="connsiteX269" fmla="*/ 2686107 w 10789097"/>
              <a:gd name="connsiteY269" fmla="*/ 4160202 h 6857999"/>
              <a:gd name="connsiteX270" fmla="*/ 2684711 w 10789097"/>
              <a:gd name="connsiteY270" fmla="*/ 4165917 h 6857999"/>
              <a:gd name="connsiteX271" fmla="*/ 2683315 w 10789097"/>
              <a:gd name="connsiteY271" fmla="*/ 4171632 h 6857999"/>
              <a:gd name="connsiteX272" fmla="*/ 2681570 w 10789097"/>
              <a:gd name="connsiteY272" fmla="*/ 4177665 h 6857999"/>
              <a:gd name="connsiteX273" fmla="*/ 2679476 w 10789097"/>
              <a:gd name="connsiteY273" fmla="*/ 4183062 h 6857999"/>
              <a:gd name="connsiteX274" fmla="*/ 2677033 w 10789097"/>
              <a:gd name="connsiteY274" fmla="*/ 4188777 h 6857999"/>
              <a:gd name="connsiteX275" fmla="*/ 2674242 w 10789097"/>
              <a:gd name="connsiteY275" fmla="*/ 4194175 h 6857999"/>
              <a:gd name="connsiteX276" fmla="*/ 2671101 w 10789097"/>
              <a:gd name="connsiteY276" fmla="*/ 4199572 h 6857999"/>
              <a:gd name="connsiteX277" fmla="*/ 2667960 w 10789097"/>
              <a:gd name="connsiteY277" fmla="*/ 4204652 h 6857999"/>
              <a:gd name="connsiteX278" fmla="*/ 2664470 w 10789097"/>
              <a:gd name="connsiteY278" fmla="*/ 4210050 h 6857999"/>
              <a:gd name="connsiteX279" fmla="*/ 2660631 w 10789097"/>
              <a:gd name="connsiteY279" fmla="*/ 4214812 h 6857999"/>
              <a:gd name="connsiteX280" fmla="*/ 2656444 w 10789097"/>
              <a:gd name="connsiteY280" fmla="*/ 4219892 h 6857999"/>
              <a:gd name="connsiteX281" fmla="*/ 2651907 w 10789097"/>
              <a:gd name="connsiteY281" fmla="*/ 4224337 h 6857999"/>
              <a:gd name="connsiteX282" fmla="*/ 2647370 w 10789097"/>
              <a:gd name="connsiteY282" fmla="*/ 4228782 h 6857999"/>
              <a:gd name="connsiteX283" fmla="*/ 2642484 w 10789097"/>
              <a:gd name="connsiteY283" fmla="*/ 4232592 h 6857999"/>
              <a:gd name="connsiteX284" fmla="*/ 2637599 w 10789097"/>
              <a:gd name="connsiteY284" fmla="*/ 4236402 h 6857999"/>
              <a:gd name="connsiteX285" fmla="*/ 2632713 w 10789097"/>
              <a:gd name="connsiteY285" fmla="*/ 4239895 h 6857999"/>
              <a:gd name="connsiteX286" fmla="*/ 2627478 w 10789097"/>
              <a:gd name="connsiteY286" fmla="*/ 4243387 h 6857999"/>
              <a:gd name="connsiteX287" fmla="*/ 2622243 w 10789097"/>
              <a:gd name="connsiteY287" fmla="*/ 4246245 h 6857999"/>
              <a:gd name="connsiteX288" fmla="*/ 2616660 w 10789097"/>
              <a:gd name="connsiteY288" fmla="*/ 4249102 h 6857999"/>
              <a:gd name="connsiteX289" fmla="*/ 2611425 w 10789097"/>
              <a:gd name="connsiteY289" fmla="*/ 4251642 h 6857999"/>
              <a:gd name="connsiteX290" fmla="*/ 2605841 w 10789097"/>
              <a:gd name="connsiteY290" fmla="*/ 4253547 h 6857999"/>
              <a:gd name="connsiteX291" fmla="*/ 2599909 w 10789097"/>
              <a:gd name="connsiteY291" fmla="*/ 4255452 h 6857999"/>
              <a:gd name="connsiteX292" fmla="*/ 2594325 w 10789097"/>
              <a:gd name="connsiteY292" fmla="*/ 4257040 h 6857999"/>
              <a:gd name="connsiteX293" fmla="*/ 2588392 w 10789097"/>
              <a:gd name="connsiteY293" fmla="*/ 4258627 h 6857999"/>
              <a:gd name="connsiteX294" fmla="*/ 2582809 w 10789097"/>
              <a:gd name="connsiteY294" fmla="*/ 4259262 h 6857999"/>
              <a:gd name="connsiteX295" fmla="*/ 2576876 w 10789097"/>
              <a:gd name="connsiteY295" fmla="*/ 4260215 h 6857999"/>
              <a:gd name="connsiteX296" fmla="*/ 2570943 w 10789097"/>
              <a:gd name="connsiteY296" fmla="*/ 4260532 h 6857999"/>
              <a:gd name="connsiteX297" fmla="*/ 2565011 w 10789097"/>
              <a:gd name="connsiteY297" fmla="*/ 4260532 h 6857999"/>
              <a:gd name="connsiteX298" fmla="*/ 5169805 w 10789097"/>
              <a:gd name="connsiteY298" fmla="*/ 6857999 h 6857999"/>
              <a:gd name="connsiteX299" fmla="*/ 10789097 w 10789097"/>
              <a:gd name="connsiteY299" fmla="*/ 6857999 h 6857999"/>
              <a:gd name="connsiteX300" fmla="*/ 10789097 w 10789097"/>
              <a:gd name="connsiteY300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</a:cxnLst>
            <a:rect l="l" t="t" r="r" b="b"/>
            <a:pathLst>
              <a:path w="10789097" h="6857999">
                <a:moveTo>
                  <a:pt x="10789097" y="0"/>
                </a:moveTo>
                <a:lnTo>
                  <a:pt x="0" y="0"/>
                </a:lnTo>
                <a:lnTo>
                  <a:pt x="34549" y="34608"/>
                </a:lnTo>
                <a:lnTo>
                  <a:pt x="2681221" y="2678112"/>
                </a:lnTo>
                <a:lnTo>
                  <a:pt x="2685758" y="2682875"/>
                </a:lnTo>
                <a:lnTo>
                  <a:pt x="2689946" y="2687320"/>
                </a:lnTo>
                <a:lnTo>
                  <a:pt x="2693785" y="2692717"/>
                </a:lnTo>
                <a:lnTo>
                  <a:pt x="2697274" y="2697480"/>
                </a:lnTo>
                <a:lnTo>
                  <a:pt x="2700415" y="2702877"/>
                </a:lnTo>
                <a:lnTo>
                  <a:pt x="2703556" y="2708275"/>
                </a:lnTo>
                <a:lnTo>
                  <a:pt x="2706348" y="2713672"/>
                </a:lnTo>
                <a:lnTo>
                  <a:pt x="2708791" y="2719070"/>
                </a:lnTo>
                <a:lnTo>
                  <a:pt x="2710885" y="2725102"/>
                </a:lnTo>
                <a:lnTo>
                  <a:pt x="2712630" y="2730817"/>
                </a:lnTo>
                <a:lnTo>
                  <a:pt x="2714025" y="2736532"/>
                </a:lnTo>
                <a:lnTo>
                  <a:pt x="2715421" y="2742565"/>
                </a:lnTo>
                <a:lnTo>
                  <a:pt x="2716468" y="2748280"/>
                </a:lnTo>
                <a:cubicBezTo>
                  <a:pt x="2716701" y="2750185"/>
                  <a:pt x="2716933" y="2752090"/>
                  <a:pt x="2717166" y="2753995"/>
                </a:cubicBezTo>
                <a:cubicBezTo>
                  <a:pt x="2717282" y="2756112"/>
                  <a:pt x="2717399" y="2758228"/>
                  <a:pt x="2717515" y="2760345"/>
                </a:cubicBezTo>
                <a:cubicBezTo>
                  <a:pt x="2717631" y="2762356"/>
                  <a:pt x="2717748" y="2764366"/>
                  <a:pt x="2717864" y="2766377"/>
                </a:cubicBezTo>
                <a:cubicBezTo>
                  <a:pt x="2717748" y="2768282"/>
                  <a:pt x="2717631" y="2770187"/>
                  <a:pt x="2717515" y="2772092"/>
                </a:cubicBezTo>
                <a:cubicBezTo>
                  <a:pt x="2717399" y="2774103"/>
                  <a:pt x="2717282" y="2776114"/>
                  <a:pt x="2717166" y="2778125"/>
                </a:cubicBezTo>
                <a:cubicBezTo>
                  <a:pt x="2716933" y="2780136"/>
                  <a:pt x="2716701" y="2782146"/>
                  <a:pt x="2716468" y="2784157"/>
                </a:cubicBezTo>
                <a:lnTo>
                  <a:pt x="2715421" y="2790190"/>
                </a:lnTo>
                <a:lnTo>
                  <a:pt x="2714025" y="2795905"/>
                </a:lnTo>
                <a:lnTo>
                  <a:pt x="2712630" y="2801620"/>
                </a:lnTo>
                <a:lnTo>
                  <a:pt x="2710885" y="2807335"/>
                </a:lnTo>
                <a:lnTo>
                  <a:pt x="2708791" y="2813050"/>
                </a:lnTo>
                <a:lnTo>
                  <a:pt x="2706348" y="2818765"/>
                </a:lnTo>
                <a:lnTo>
                  <a:pt x="2703556" y="2824162"/>
                </a:lnTo>
                <a:lnTo>
                  <a:pt x="2700415" y="2829560"/>
                </a:lnTo>
                <a:lnTo>
                  <a:pt x="2697274" y="2834640"/>
                </a:lnTo>
                <a:lnTo>
                  <a:pt x="2693785" y="2840037"/>
                </a:lnTo>
                <a:lnTo>
                  <a:pt x="2689946" y="2844800"/>
                </a:lnTo>
                <a:lnTo>
                  <a:pt x="2685758" y="2849562"/>
                </a:lnTo>
                <a:lnTo>
                  <a:pt x="2681221" y="2854325"/>
                </a:lnTo>
                <a:lnTo>
                  <a:pt x="2676684" y="2858770"/>
                </a:lnTo>
                <a:lnTo>
                  <a:pt x="2671799" y="2862580"/>
                </a:lnTo>
                <a:lnTo>
                  <a:pt x="2666913" y="2866390"/>
                </a:lnTo>
                <a:lnTo>
                  <a:pt x="2661678" y="2870200"/>
                </a:lnTo>
                <a:lnTo>
                  <a:pt x="2656444" y="2873375"/>
                </a:lnTo>
                <a:lnTo>
                  <a:pt x="2651209" y="2876550"/>
                </a:lnTo>
                <a:lnTo>
                  <a:pt x="2645625" y="2879090"/>
                </a:lnTo>
                <a:lnTo>
                  <a:pt x="2640041" y="2881312"/>
                </a:lnTo>
                <a:lnTo>
                  <a:pt x="2634458" y="2883535"/>
                </a:lnTo>
                <a:lnTo>
                  <a:pt x="2628525" y="2885757"/>
                </a:lnTo>
                <a:lnTo>
                  <a:pt x="2622941" y="2887027"/>
                </a:lnTo>
                <a:lnTo>
                  <a:pt x="2617009" y="2888297"/>
                </a:lnTo>
                <a:lnTo>
                  <a:pt x="2611076" y="2889567"/>
                </a:lnTo>
                <a:lnTo>
                  <a:pt x="2605143" y="2890202"/>
                </a:lnTo>
                <a:lnTo>
                  <a:pt x="2599211" y="2890520"/>
                </a:lnTo>
                <a:lnTo>
                  <a:pt x="2593278" y="2890520"/>
                </a:lnTo>
                <a:lnTo>
                  <a:pt x="2587345" y="2890520"/>
                </a:lnTo>
                <a:lnTo>
                  <a:pt x="2581413" y="2890202"/>
                </a:lnTo>
                <a:lnTo>
                  <a:pt x="2575480" y="2889567"/>
                </a:lnTo>
                <a:lnTo>
                  <a:pt x="2569547" y="2888297"/>
                </a:lnTo>
                <a:lnTo>
                  <a:pt x="2563615" y="2887027"/>
                </a:lnTo>
                <a:lnTo>
                  <a:pt x="2557682" y="2885757"/>
                </a:lnTo>
                <a:lnTo>
                  <a:pt x="2552098" y="2883535"/>
                </a:lnTo>
                <a:lnTo>
                  <a:pt x="2546515" y="2881312"/>
                </a:lnTo>
                <a:lnTo>
                  <a:pt x="2540931" y="2879090"/>
                </a:lnTo>
                <a:lnTo>
                  <a:pt x="2535347" y="2876550"/>
                </a:lnTo>
                <a:lnTo>
                  <a:pt x="2530112" y="2873375"/>
                </a:lnTo>
                <a:lnTo>
                  <a:pt x="2524878" y="2870200"/>
                </a:lnTo>
                <a:lnTo>
                  <a:pt x="2519643" y="2866390"/>
                </a:lnTo>
                <a:lnTo>
                  <a:pt x="2514757" y="2862580"/>
                </a:lnTo>
                <a:lnTo>
                  <a:pt x="2509872" y="2858770"/>
                </a:lnTo>
                <a:lnTo>
                  <a:pt x="2505335" y="2854325"/>
                </a:lnTo>
                <a:lnTo>
                  <a:pt x="2390869" y="2740025"/>
                </a:lnTo>
                <a:lnTo>
                  <a:pt x="2385983" y="2735580"/>
                </a:lnTo>
                <a:lnTo>
                  <a:pt x="2381097" y="2731452"/>
                </a:lnTo>
                <a:lnTo>
                  <a:pt x="2376212" y="2727642"/>
                </a:lnTo>
                <a:lnTo>
                  <a:pt x="2371326" y="2724150"/>
                </a:lnTo>
                <a:lnTo>
                  <a:pt x="2366091" y="2720975"/>
                </a:lnTo>
                <a:lnTo>
                  <a:pt x="2360507" y="2717800"/>
                </a:lnTo>
                <a:lnTo>
                  <a:pt x="2355273" y="2715260"/>
                </a:lnTo>
                <a:lnTo>
                  <a:pt x="2349689" y="2713037"/>
                </a:lnTo>
                <a:lnTo>
                  <a:pt x="2343757" y="2710497"/>
                </a:lnTo>
                <a:lnTo>
                  <a:pt x="2338173" y="2708592"/>
                </a:lnTo>
                <a:lnTo>
                  <a:pt x="2332240" y="2707322"/>
                </a:lnTo>
                <a:lnTo>
                  <a:pt x="2326307" y="2706052"/>
                </a:lnTo>
                <a:lnTo>
                  <a:pt x="2320724" y="2704782"/>
                </a:lnTo>
                <a:lnTo>
                  <a:pt x="2314442" y="2704147"/>
                </a:lnTo>
                <a:lnTo>
                  <a:pt x="2308509" y="2703830"/>
                </a:lnTo>
                <a:lnTo>
                  <a:pt x="2302577" y="2703512"/>
                </a:lnTo>
                <a:lnTo>
                  <a:pt x="2296644" y="2703830"/>
                </a:lnTo>
                <a:lnTo>
                  <a:pt x="2290711" y="2704147"/>
                </a:lnTo>
                <a:lnTo>
                  <a:pt x="2284779" y="2704782"/>
                </a:lnTo>
                <a:lnTo>
                  <a:pt x="2278846" y="2706052"/>
                </a:lnTo>
                <a:lnTo>
                  <a:pt x="2272913" y="2707322"/>
                </a:lnTo>
                <a:lnTo>
                  <a:pt x="2267330" y="2708592"/>
                </a:lnTo>
                <a:lnTo>
                  <a:pt x="2261397" y="2710497"/>
                </a:lnTo>
                <a:lnTo>
                  <a:pt x="2255813" y="2713037"/>
                </a:lnTo>
                <a:lnTo>
                  <a:pt x="2250229" y="2715260"/>
                </a:lnTo>
                <a:lnTo>
                  <a:pt x="2244646" y="2717800"/>
                </a:lnTo>
                <a:lnTo>
                  <a:pt x="2239411" y="2720975"/>
                </a:lnTo>
                <a:lnTo>
                  <a:pt x="2234177" y="2724150"/>
                </a:lnTo>
                <a:lnTo>
                  <a:pt x="2228942" y="2727642"/>
                </a:lnTo>
                <a:lnTo>
                  <a:pt x="2224056" y="2731452"/>
                </a:lnTo>
                <a:lnTo>
                  <a:pt x="2219170" y="2735580"/>
                </a:lnTo>
                <a:lnTo>
                  <a:pt x="2214633" y="2740025"/>
                </a:lnTo>
                <a:lnTo>
                  <a:pt x="2210097" y="2744787"/>
                </a:lnTo>
                <a:lnTo>
                  <a:pt x="2206258" y="2749550"/>
                </a:lnTo>
                <a:lnTo>
                  <a:pt x="2202070" y="2754312"/>
                </a:lnTo>
                <a:lnTo>
                  <a:pt x="2198581" y="2759710"/>
                </a:lnTo>
                <a:lnTo>
                  <a:pt x="2195091" y="2764790"/>
                </a:lnTo>
                <a:lnTo>
                  <a:pt x="2191950" y="2770187"/>
                </a:lnTo>
                <a:lnTo>
                  <a:pt x="2189507" y="2775585"/>
                </a:lnTo>
                <a:lnTo>
                  <a:pt x="2187064" y="2781300"/>
                </a:lnTo>
                <a:lnTo>
                  <a:pt x="2184621" y="2787015"/>
                </a:lnTo>
                <a:lnTo>
                  <a:pt x="2182876" y="2792730"/>
                </a:lnTo>
                <a:lnTo>
                  <a:pt x="2181480" y="2798445"/>
                </a:lnTo>
                <a:lnTo>
                  <a:pt x="2180085" y="2804477"/>
                </a:lnTo>
                <a:lnTo>
                  <a:pt x="2179037" y="2810192"/>
                </a:lnTo>
                <a:cubicBezTo>
                  <a:pt x="2178804" y="2812203"/>
                  <a:pt x="2178572" y="2814214"/>
                  <a:pt x="2178339" y="2816225"/>
                </a:cubicBezTo>
                <a:lnTo>
                  <a:pt x="2177991" y="2822257"/>
                </a:lnTo>
                <a:cubicBezTo>
                  <a:pt x="2177874" y="2824162"/>
                  <a:pt x="2177758" y="2826067"/>
                  <a:pt x="2177641" y="2827972"/>
                </a:cubicBezTo>
                <a:cubicBezTo>
                  <a:pt x="2177758" y="2829983"/>
                  <a:pt x="2177874" y="2831994"/>
                  <a:pt x="2177991" y="2834005"/>
                </a:cubicBezTo>
                <a:lnTo>
                  <a:pt x="2178339" y="2840037"/>
                </a:lnTo>
                <a:cubicBezTo>
                  <a:pt x="2178572" y="2841942"/>
                  <a:pt x="2178804" y="2843847"/>
                  <a:pt x="2179037" y="2845752"/>
                </a:cubicBezTo>
                <a:lnTo>
                  <a:pt x="2180085" y="2851785"/>
                </a:lnTo>
                <a:lnTo>
                  <a:pt x="2181480" y="2857817"/>
                </a:lnTo>
                <a:lnTo>
                  <a:pt x="2182876" y="2863532"/>
                </a:lnTo>
                <a:lnTo>
                  <a:pt x="2184621" y="2869247"/>
                </a:lnTo>
                <a:lnTo>
                  <a:pt x="2187064" y="2875280"/>
                </a:lnTo>
                <a:lnTo>
                  <a:pt x="2189507" y="2880677"/>
                </a:lnTo>
                <a:lnTo>
                  <a:pt x="2191950" y="2886075"/>
                </a:lnTo>
                <a:lnTo>
                  <a:pt x="2195091" y="2891472"/>
                </a:lnTo>
                <a:lnTo>
                  <a:pt x="2198581" y="2896870"/>
                </a:lnTo>
                <a:lnTo>
                  <a:pt x="2202070" y="2901632"/>
                </a:lnTo>
                <a:lnTo>
                  <a:pt x="2206258" y="2906712"/>
                </a:lnTo>
                <a:lnTo>
                  <a:pt x="2210097" y="2911475"/>
                </a:lnTo>
                <a:lnTo>
                  <a:pt x="2214633" y="2916237"/>
                </a:lnTo>
                <a:lnTo>
                  <a:pt x="2938420" y="3639502"/>
                </a:lnTo>
                <a:lnTo>
                  <a:pt x="2942957" y="3643947"/>
                </a:lnTo>
                <a:lnTo>
                  <a:pt x="2947145" y="3648710"/>
                </a:lnTo>
                <a:lnTo>
                  <a:pt x="2950984" y="3653790"/>
                </a:lnTo>
                <a:lnTo>
                  <a:pt x="2954473" y="3658870"/>
                </a:lnTo>
                <a:lnTo>
                  <a:pt x="2957614" y="3664267"/>
                </a:lnTo>
                <a:lnTo>
                  <a:pt x="2960755" y="3669347"/>
                </a:lnTo>
                <a:lnTo>
                  <a:pt x="2963547" y="3675062"/>
                </a:lnTo>
                <a:lnTo>
                  <a:pt x="2965641" y="3680460"/>
                </a:lnTo>
                <a:lnTo>
                  <a:pt x="2968084" y="3686175"/>
                </a:lnTo>
                <a:lnTo>
                  <a:pt x="2969829" y="3691890"/>
                </a:lnTo>
                <a:lnTo>
                  <a:pt x="2971224" y="3697605"/>
                </a:lnTo>
                <a:lnTo>
                  <a:pt x="2972620" y="3703637"/>
                </a:lnTo>
                <a:lnTo>
                  <a:pt x="2973667" y="3709670"/>
                </a:lnTo>
                <a:cubicBezTo>
                  <a:pt x="2973900" y="3711575"/>
                  <a:pt x="2974132" y="3713480"/>
                  <a:pt x="2974365" y="3715385"/>
                </a:cubicBezTo>
                <a:cubicBezTo>
                  <a:pt x="2974481" y="3717396"/>
                  <a:pt x="2974598" y="3719406"/>
                  <a:pt x="2974714" y="3721417"/>
                </a:cubicBezTo>
                <a:cubicBezTo>
                  <a:pt x="2974830" y="3723428"/>
                  <a:pt x="2974947" y="3725439"/>
                  <a:pt x="2975063" y="3727450"/>
                </a:cubicBezTo>
                <a:cubicBezTo>
                  <a:pt x="2974947" y="3729355"/>
                  <a:pt x="2974830" y="3731260"/>
                  <a:pt x="2974714" y="3733165"/>
                </a:cubicBezTo>
                <a:cubicBezTo>
                  <a:pt x="2974598" y="3735176"/>
                  <a:pt x="2974481" y="3737186"/>
                  <a:pt x="2974365" y="3739197"/>
                </a:cubicBezTo>
                <a:cubicBezTo>
                  <a:pt x="2974132" y="3741208"/>
                  <a:pt x="2973900" y="3743219"/>
                  <a:pt x="2973667" y="3745230"/>
                </a:cubicBezTo>
                <a:lnTo>
                  <a:pt x="2972620" y="3750945"/>
                </a:lnTo>
                <a:lnTo>
                  <a:pt x="2971224" y="3756977"/>
                </a:lnTo>
                <a:lnTo>
                  <a:pt x="2969829" y="3763010"/>
                </a:lnTo>
                <a:lnTo>
                  <a:pt x="2968084" y="3768407"/>
                </a:lnTo>
                <a:lnTo>
                  <a:pt x="2965641" y="3774122"/>
                </a:lnTo>
                <a:lnTo>
                  <a:pt x="2963547" y="3779837"/>
                </a:lnTo>
                <a:lnTo>
                  <a:pt x="2960755" y="3785235"/>
                </a:lnTo>
                <a:lnTo>
                  <a:pt x="2957614" y="3790632"/>
                </a:lnTo>
                <a:lnTo>
                  <a:pt x="2954473" y="3795712"/>
                </a:lnTo>
                <a:lnTo>
                  <a:pt x="2950984" y="3801110"/>
                </a:lnTo>
                <a:lnTo>
                  <a:pt x="2947145" y="3805872"/>
                </a:lnTo>
                <a:lnTo>
                  <a:pt x="2942957" y="3810635"/>
                </a:lnTo>
                <a:lnTo>
                  <a:pt x="2938420" y="3815397"/>
                </a:lnTo>
                <a:lnTo>
                  <a:pt x="2933884" y="3819842"/>
                </a:lnTo>
                <a:lnTo>
                  <a:pt x="2928998" y="3823970"/>
                </a:lnTo>
                <a:lnTo>
                  <a:pt x="2924112" y="3827780"/>
                </a:lnTo>
                <a:lnTo>
                  <a:pt x="2918877" y="3831272"/>
                </a:lnTo>
                <a:lnTo>
                  <a:pt x="2913643" y="3834447"/>
                </a:lnTo>
                <a:lnTo>
                  <a:pt x="2908408" y="3837622"/>
                </a:lnTo>
                <a:lnTo>
                  <a:pt x="2902824" y="3840480"/>
                </a:lnTo>
                <a:lnTo>
                  <a:pt x="2897240" y="3843020"/>
                </a:lnTo>
                <a:lnTo>
                  <a:pt x="2891657" y="3844925"/>
                </a:lnTo>
                <a:lnTo>
                  <a:pt x="2885724" y="3846830"/>
                </a:lnTo>
                <a:lnTo>
                  <a:pt x="2880140" y="3848417"/>
                </a:lnTo>
                <a:lnTo>
                  <a:pt x="2874208" y="3849370"/>
                </a:lnTo>
                <a:lnTo>
                  <a:pt x="2868275" y="3850640"/>
                </a:lnTo>
                <a:lnTo>
                  <a:pt x="2862342" y="3851275"/>
                </a:lnTo>
                <a:lnTo>
                  <a:pt x="2856410" y="3851592"/>
                </a:lnTo>
                <a:lnTo>
                  <a:pt x="2850477" y="3851910"/>
                </a:lnTo>
                <a:lnTo>
                  <a:pt x="2844544" y="3851592"/>
                </a:lnTo>
                <a:lnTo>
                  <a:pt x="2838612" y="3851275"/>
                </a:lnTo>
                <a:lnTo>
                  <a:pt x="2832679" y="3850640"/>
                </a:lnTo>
                <a:lnTo>
                  <a:pt x="2826746" y="3849370"/>
                </a:lnTo>
                <a:lnTo>
                  <a:pt x="2820814" y="3848417"/>
                </a:lnTo>
                <a:lnTo>
                  <a:pt x="2814881" y="3846830"/>
                </a:lnTo>
                <a:lnTo>
                  <a:pt x="2809297" y="3844925"/>
                </a:lnTo>
                <a:lnTo>
                  <a:pt x="2803714" y="3843020"/>
                </a:lnTo>
                <a:lnTo>
                  <a:pt x="2798130" y="3840480"/>
                </a:lnTo>
                <a:lnTo>
                  <a:pt x="2792546" y="3837622"/>
                </a:lnTo>
                <a:lnTo>
                  <a:pt x="2787311" y="3834447"/>
                </a:lnTo>
                <a:lnTo>
                  <a:pt x="2782077" y="3831272"/>
                </a:lnTo>
                <a:lnTo>
                  <a:pt x="2776842" y="3827780"/>
                </a:lnTo>
                <a:lnTo>
                  <a:pt x="2771956" y="3823970"/>
                </a:lnTo>
                <a:lnTo>
                  <a:pt x="2767071" y="3819842"/>
                </a:lnTo>
                <a:lnTo>
                  <a:pt x="2762534" y="3815397"/>
                </a:lnTo>
                <a:lnTo>
                  <a:pt x="2666564" y="3720147"/>
                </a:lnTo>
                <a:lnTo>
                  <a:pt x="2559078" y="3612515"/>
                </a:lnTo>
                <a:lnTo>
                  <a:pt x="2554541" y="3608070"/>
                </a:lnTo>
                <a:lnTo>
                  <a:pt x="2549655" y="3604260"/>
                </a:lnTo>
                <a:lnTo>
                  <a:pt x="2544770" y="3600132"/>
                </a:lnTo>
                <a:lnTo>
                  <a:pt x="2539535" y="3596640"/>
                </a:lnTo>
                <a:lnTo>
                  <a:pt x="2534300" y="3593465"/>
                </a:lnTo>
                <a:lnTo>
                  <a:pt x="2529066" y="3590290"/>
                </a:lnTo>
                <a:lnTo>
                  <a:pt x="2523482" y="3587750"/>
                </a:lnTo>
                <a:lnTo>
                  <a:pt x="2517898" y="3585210"/>
                </a:lnTo>
                <a:lnTo>
                  <a:pt x="2512314" y="3583305"/>
                </a:lnTo>
                <a:lnTo>
                  <a:pt x="2506731" y="3581082"/>
                </a:lnTo>
                <a:lnTo>
                  <a:pt x="2500798" y="3579812"/>
                </a:lnTo>
                <a:lnTo>
                  <a:pt x="2494865" y="3578225"/>
                </a:lnTo>
                <a:lnTo>
                  <a:pt x="2488933" y="3577272"/>
                </a:lnTo>
                <a:lnTo>
                  <a:pt x="2483000" y="3576637"/>
                </a:lnTo>
                <a:lnTo>
                  <a:pt x="2476718" y="3576320"/>
                </a:lnTo>
                <a:lnTo>
                  <a:pt x="2470786" y="3576320"/>
                </a:lnTo>
                <a:lnTo>
                  <a:pt x="2464853" y="3576320"/>
                </a:lnTo>
                <a:lnTo>
                  <a:pt x="2458920" y="3576637"/>
                </a:lnTo>
                <a:lnTo>
                  <a:pt x="2452988" y="3577272"/>
                </a:lnTo>
                <a:lnTo>
                  <a:pt x="2447055" y="3578225"/>
                </a:lnTo>
                <a:lnTo>
                  <a:pt x="2441122" y="3579812"/>
                </a:lnTo>
                <a:lnTo>
                  <a:pt x="2435190" y="3581082"/>
                </a:lnTo>
                <a:lnTo>
                  <a:pt x="2429606" y="3583305"/>
                </a:lnTo>
                <a:lnTo>
                  <a:pt x="2424022" y="3585210"/>
                </a:lnTo>
                <a:lnTo>
                  <a:pt x="2418439" y="3587750"/>
                </a:lnTo>
                <a:lnTo>
                  <a:pt x="2412855" y="3590290"/>
                </a:lnTo>
                <a:lnTo>
                  <a:pt x="2407620" y="3593465"/>
                </a:lnTo>
                <a:lnTo>
                  <a:pt x="2402385" y="3596640"/>
                </a:lnTo>
                <a:lnTo>
                  <a:pt x="2397151" y="3600450"/>
                </a:lnTo>
                <a:lnTo>
                  <a:pt x="2392265" y="3604260"/>
                </a:lnTo>
                <a:lnTo>
                  <a:pt x="2387379" y="3608070"/>
                </a:lnTo>
                <a:lnTo>
                  <a:pt x="2382842" y="3612515"/>
                </a:lnTo>
                <a:lnTo>
                  <a:pt x="2379003" y="3616325"/>
                </a:lnTo>
                <a:lnTo>
                  <a:pt x="2375863" y="3620135"/>
                </a:lnTo>
                <a:lnTo>
                  <a:pt x="2369581" y="3628390"/>
                </a:lnTo>
                <a:lnTo>
                  <a:pt x="2363997" y="3636327"/>
                </a:lnTo>
                <a:lnTo>
                  <a:pt x="2359461" y="3644900"/>
                </a:lnTo>
                <a:lnTo>
                  <a:pt x="2355273" y="3654107"/>
                </a:lnTo>
                <a:lnTo>
                  <a:pt x="2352132" y="3663315"/>
                </a:lnTo>
                <a:lnTo>
                  <a:pt x="2349689" y="3672522"/>
                </a:lnTo>
                <a:lnTo>
                  <a:pt x="2347944" y="3682047"/>
                </a:lnTo>
                <a:lnTo>
                  <a:pt x="2346897" y="3691572"/>
                </a:lnTo>
                <a:cubicBezTo>
                  <a:pt x="2346781" y="3694747"/>
                  <a:pt x="2346664" y="3697922"/>
                  <a:pt x="2346548" y="3701097"/>
                </a:cubicBezTo>
                <a:cubicBezTo>
                  <a:pt x="2346781" y="3704272"/>
                  <a:pt x="2347013" y="3707447"/>
                  <a:pt x="2347246" y="3710622"/>
                </a:cubicBezTo>
                <a:lnTo>
                  <a:pt x="2348293" y="3720465"/>
                </a:lnTo>
                <a:lnTo>
                  <a:pt x="2350387" y="3729672"/>
                </a:lnTo>
                <a:lnTo>
                  <a:pt x="2352830" y="3739197"/>
                </a:lnTo>
                <a:lnTo>
                  <a:pt x="2356320" y="3748405"/>
                </a:lnTo>
                <a:lnTo>
                  <a:pt x="2360507" y="3756977"/>
                </a:lnTo>
                <a:lnTo>
                  <a:pt x="2651907" y="4048442"/>
                </a:lnTo>
                <a:lnTo>
                  <a:pt x="2656444" y="4052887"/>
                </a:lnTo>
                <a:lnTo>
                  <a:pt x="2660631" y="4057967"/>
                </a:lnTo>
                <a:lnTo>
                  <a:pt x="2664470" y="4062730"/>
                </a:lnTo>
                <a:lnTo>
                  <a:pt x="2667960" y="4067810"/>
                </a:lnTo>
                <a:lnTo>
                  <a:pt x="2671101" y="4073207"/>
                </a:lnTo>
                <a:lnTo>
                  <a:pt x="2674242" y="4078287"/>
                </a:lnTo>
                <a:lnTo>
                  <a:pt x="2677033" y="4084002"/>
                </a:lnTo>
                <a:lnTo>
                  <a:pt x="2679476" y="4089717"/>
                </a:lnTo>
                <a:lnTo>
                  <a:pt x="2681570" y="4095115"/>
                </a:lnTo>
                <a:lnTo>
                  <a:pt x="2683315" y="4100830"/>
                </a:lnTo>
                <a:lnTo>
                  <a:pt x="2684711" y="4106862"/>
                </a:lnTo>
                <a:lnTo>
                  <a:pt x="2686107" y="4112577"/>
                </a:lnTo>
                <a:lnTo>
                  <a:pt x="2687154" y="4118610"/>
                </a:lnTo>
                <a:cubicBezTo>
                  <a:pt x="2687387" y="4120621"/>
                  <a:pt x="2687619" y="4122631"/>
                  <a:pt x="2687852" y="4124642"/>
                </a:cubicBezTo>
                <a:cubicBezTo>
                  <a:pt x="2687968" y="4126547"/>
                  <a:pt x="2688085" y="4128452"/>
                  <a:pt x="2688201" y="4130357"/>
                </a:cubicBezTo>
                <a:cubicBezTo>
                  <a:pt x="2688317" y="4132368"/>
                  <a:pt x="2688434" y="4134379"/>
                  <a:pt x="2688550" y="4136390"/>
                </a:cubicBezTo>
                <a:cubicBezTo>
                  <a:pt x="2688434" y="4138401"/>
                  <a:pt x="2688317" y="4140411"/>
                  <a:pt x="2688201" y="4142422"/>
                </a:cubicBezTo>
                <a:cubicBezTo>
                  <a:pt x="2688085" y="4144327"/>
                  <a:pt x="2687968" y="4146232"/>
                  <a:pt x="2687852" y="4148137"/>
                </a:cubicBezTo>
                <a:cubicBezTo>
                  <a:pt x="2687619" y="4150148"/>
                  <a:pt x="2687387" y="4152159"/>
                  <a:pt x="2687154" y="4154170"/>
                </a:cubicBezTo>
                <a:lnTo>
                  <a:pt x="2686107" y="4160202"/>
                </a:lnTo>
                <a:lnTo>
                  <a:pt x="2684711" y="4165917"/>
                </a:lnTo>
                <a:lnTo>
                  <a:pt x="2683315" y="4171632"/>
                </a:lnTo>
                <a:lnTo>
                  <a:pt x="2681570" y="4177665"/>
                </a:lnTo>
                <a:lnTo>
                  <a:pt x="2679476" y="4183062"/>
                </a:lnTo>
                <a:lnTo>
                  <a:pt x="2677033" y="4188777"/>
                </a:lnTo>
                <a:lnTo>
                  <a:pt x="2674242" y="4194175"/>
                </a:lnTo>
                <a:lnTo>
                  <a:pt x="2671101" y="4199572"/>
                </a:lnTo>
                <a:lnTo>
                  <a:pt x="2667960" y="4204652"/>
                </a:lnTo>
                <a:lnTo>
                  <a:pt x="2664470" y="4210050"/>
                </a:lnTo>
                <a:lnTo>
                  <a:pt x="2660631" y="4214812"/>
                </a:lnTo>
                <a:lnTo>
                  <a:pt x="2656444" y="4219892"/>
                </a:lnTo>
                <a:lnTo>
                  <a:pt x="2651907" y="4224337"/>
                </a:lnTo>
                <a:lnTo>
                  <a:pt x="2647370" y="4228782"/>
                </a:lnTo>
                <a:lnTo>
                  <a:pt x="2642484" y="4232592"/>
                </a:lnTo>
                <a:lnTo>
                  <a:pt x="2637599" y="4236402"/>
                </a:lnTo>
                <a:lnTo>
                  <a:pt x="2632713" y="4239895"/>
                </a:lnTo>
                <a:lnTo>
                  <a:pt x="2627478" y="4243387"/>
                </a:lnTo>
                <a:lnTo>
                  <a:pt x="2622243" y="4246245"/>
                </a:lnTo>
                <a:lnTo>
                  <a:pt x="2616660" y="4249102"/>
                </a:lnTo>
                <a:lnTo>
                  <a:pt x="2611425" y="4251642"/>
                </a:lnTo>
                <a:lnTo>
                  <a:pt x="2605841" y="4253547"/>
                </a:lnTo>
                <a:lnTo>
                  <a:pt x="2599909" y="4255452"/>
                </a:lnTo>
                <a:lnTo>
                  <a:pt x="2594325" y="4257040"/>
                </a:lnTo>
                <a:lnTo>
                  <a:pt x="2588392" y="4258627"/>
                </a:lnTo>
                <a:lnTo>
                  <a:pt x="2582809" y="4259262"/>
                </a:lnTo>
                <a:lnTo>
                  <a:pt x="2576876" y="4260215"/>
                </a:lnTo>
                <a:lnTo>
                  <a:pt x="2570943" y="4260532"/>
                </a:lnTo>
                <a:lnTo>
                  <a:pt x="2565011" y="4260532"/>
                </a:lnTo>
                <a:lnTo>
                  <a:pt x="5169805" y="6857999"/>
                </a:lnTo>
                <a:lnTo>
                  <a:pt x="10789097" y="6857999"/>
                </a:lnTo>
                <a:lnTo>
                  <a:pt x="10789097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  <a:noAutofit/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19" name="Freeform 7">
            <a:extLst>
              <a:ext uri="{FF2B5EF4-FFF2-40B4-BE49-F238E27FC236}">
                <a16:creationId xmlns:a16="http://schemas.microsoft.com/office/drawing/2014/main" id="{AE62DF86-3DD2-401D-9B16-3538AAA12564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5562039" y="2"/>
            <a:ext cx="1495035" cy="1249045"/>
          </a:xfrm>
          <a:custGeom>
            <a:avLst/>
            <a:gdLst>
              <a:gd name="T0" fmla="*/ 2956 w 3061"/>
              <a:gd name="T1" fmla="*/ 2697 h 2812"/>
              <a:gd name="T2" fmla="*/ 2930 w 3061"/>
              <a:gd name="T3" fmla="*/ 2724 h 2812"/>
              <a:gd name="T4" fmla="*/ 2901 w 3061"/>
              <a:gd name="T5" fmla="*/ 2747 h 2812"/>
              <a:gd name="T6" fmla="*/ 2871 w 3061"/>
              <a:gd name="T7" fmla="*/ 2766 h 2812"/>
              <a:gd name="T8" fmla="*/ 2840 w 3061"/>
              <a:gd name="T9" fmla="*/ 2783 h 2812"/>
              <a:gd name="T10" fmla="*/ 2807 w 3061"/>
              <a:gd name="T11" fmla="*/ 2795 h 2812"/>
              <a:gd name="T12" fmla="*/ 2774 w 3061"/>
              <a:gd name="T13" fmla="*/ 2804 h 2812"/>
              <a:gd name="T14" fmla="*/ 2741 w 3061"/>
              <a:gd name="T15" fmla="*/ 2809 h 2812"/>
              <a:gd name="T16" fmla="*/ 2707 w 3061"/>
              <a:gd name="T17" fmla="*/ 2812 h 2812"/>
              <a:gd name="T18" fmla="*/ 2673 w 3061"/>
              <a:gd name="T19" fmla="*/ 2809 h 2812"/>
              <a:gd name="T20" fmla="*/ 2640 w 3061"/>
              <a:gd name="T21" fmla="*/ 2804 h 2812"/>
              <a:gd name="T22" fmla="*/ 2606 w 3061"/>
              <a:gd name="T23" fmla="*/ 2795 h 2812"/>
              <a:gd name="T24" fmla="*/ 2574 w 3061"/>
              <a:gd name="T25" fmla="*/ 2783 h 2812"/>
              <a:gd name="T26" fmla="*/ 2543 w 3061"/>
              <a:gd name="T27" fmla="*/ 2766 h 2812"/>
              <a:gd name="T28" fmla="*/ 2513 w 3061"/>
              <a:gd name="T29" fmla="*/ 2747 h 2812"/>
              <a:gd name="T30" fmla="*/ 2484 w 3061"/>
              <a:gd name="T31" fmla="*/ 2724 h 2812"/>
              <a:gd name="T32" fmla="*/ 2458 w 3061"/>
              <a:gd name="T33" fmla="*/ 2697 h 2812"/>
              <a:gd name="T34" fmla="*/ 999 w 3061"/>
              <a:gd name="T35" fmla="*/ 0 h 2812"/>
              <a:gd name="T36" fmla="*/ 2956 w 3061"/>
              <a:gd name="T37" fmla="*/ 2149 h 2812"/>
              <a:gd name="T38" fmla="*/ 2981 w 3061"/>
              <a:gd name="T39" fmla="*/ 2178 h 2812"/>
              <a:gd name="T40" fmla="*/ 3002 w 3061"/>
              <a:gd name="T41" fmla="*/ 2210 h 2812"/>
              <a:gd name="T42" fmla="*/ 3019 w 3061"/>
              <a:gd name="T43" fmla="*/ 2243 h 2812"/>
              <a:gd name="T44" fmla="*/ 3035 w 3061"/>
              <a:gd name="T45" fmla="*/ 2277 h 2812"/>
              <a:gd name="T46" fmla="*/ 3046 w 3061"/>
              <a:gd name="T47" fmla="*/ 2313 h 2812"/>
              <a:gd name="T48" fmla="*/ 3054 w 3061"/>
              <a:gd name="T49" fmla="*/ 2349 h 2812"/>
              <a:gd name="T50" fmla="*/ 3059 w 3061"/>
              <a:gd name="T51" fmla="*/ 2386 h 2812"/>
              <a:gd name="T52" fmla="*/ 3061 w 3061"/>
              <a:gd name="T53" fmla="*/ 2424 h 2812"/>
              <a:gd name="T54" fmla="*/ 3059 w 3061"/>
              <a:gd name="T55" fmla="*/ 2461 h 2812"/>
              <a:gd name="T56" fmla="*/ 3054 w 3061"/>
              <a:gd name="T57" fmla="*/ 2497 h 2812"/>
              <a:gd name="T58" fmla="*/ 3046 w 3061"/>
              <a:gd name="T59" fmla="*/ 2533 h 2812"/>
              <a:gd name="T60" fmla="*/ 3035 w 3061"/>
              <a:gd name="T61" fmla="*/ 2570 h 2812"/>
              <a:gd name="T62" fmla="*/ 3019 w 3061"/>
              <a:gd name="T63" fmla="*/ 2604 h 2812"/>
              <a:gd name="T64" fmla="*/ 3002 w 3061"/>
              <a:gd name="T65" fmla="*/ 2637 h 2812"/>
              <a:gd name="T66" fmla="*/ 2981 w 3061"/>
              <a:gd name="T67" fmla="*/ 2668 h 2812"/>
              <a:gd name="T68" fmla="*/ 2956 w 3061"/>
              <a:gd name="T69" fmla="*/ 2697 h 28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61" h="2812">
                <a:moveTo>
                  <a:pt x="2956" y="2697"/>
                </a:moveTo>
                <a:lnTo>
                  <a:pt x="2956" y="2697"/>
                </a:lnTo>
                <a:lnTo>
                  <a:pt x="2943" y="2712"/>
                </a:lnTo>
                <a:lnTo>
                  <a:pt x="2930" y="2724"/>
                </a:lnTo>
                <a:lnTo>
                  <a:pt x="2915" y="2736"/>
                </a:lnTo>
                <a:lnTo>
                  <a:pt x="2901" y="2747"/>
                </a:lnTo>
                <a:lnTo>
                  <a:pt x="2886" y="2758"/>
                </a:lnTo>
                <a:lnTo>
                  <a:pt x="2871" y="2766"/>
                </a:lnTo>
                <a:lnTo>
                  <a:pt x="2855" y="2775"/>
                </a:lnTo>
                <a:lnTo>
                  <a:pt x="2840" y="2783"/>
                </a:lnTo>
                <a:lnTo>
                  <a:pt x="2824" y="2790"/>
                </a:lnTo>
                <a:lnTo>
                  <a:pt x="2807" y="2795"/>
                </a:lnTo>
                <a:lnTo>
                  <a:pt x="2791" y="2799"/>
                </a:lnTo>
                <a:lnTo>
                  <a:pt x="2774" y="2804"/>
                </a:lnTo>
                <a:lnTo>
                  <a:pt x="2758" y="2807"/>
                </a:lnTo>
                <a:lnTo>
                  <a:pt x="2741" y="2809"/>
                </a:lnTo>
                <a:lnTo>
                  <a:pt x="2724" y="2810"/>
                </a:lnTo>
                <a:lnTo>
                  <a:pt x="2707" y="2812"/>
                </a:lnTo>
                <a:lnTo>
                  <a:pt x="2690" y="2810"/>
                </a:lnTo>
                <a:lnTo>
                  <a:pt x="2673" y="2809"/>
                </a:lnTo>
                <a:lnTo>
                  <a:pt x="2656" y="2807"/>
                </a:lnTo>
                <a:lnTo>
                  <a:pt x="2640" y="2804"/>
                </a:lnTo>
                <a:lnTo>
                  <a:pt x="2623" y="2799"/>
                </a:lnTo>
                <a:lnTo>
                  <a:pt x="2606" y="2795"/>
                </a:lnTo>
                <a:lnTo>
                  <a:pt x="2590" y="2790"/>
                </a:lnTo>
                <a:lnTo>
                  <a:pt x="2574" y="2783"/>
                </a:lnTo>
                <a:lnTo>
                  <a:pt x="2558" y="2775"/>
                </a:lnTo>
                <a:lnTo>
                  <a:pt x="2543" y="2766"/>
                </a:lnTo>
                <a:lnTo>
                  <a:pt x="2528" y="2758"/>
                </a:lnTo>
                <a:lnTo>
                  <a:pt x="2513" y="2747"/>
                </a:lnTo>
                <a:lnTo>
                  <a:pt x="2498" y="2736"/>
                </a:lnTo>
                <a:lnTo>
                  <a:pt x="2484" y="2724"/>
                </a:lnTo>
                <a:lnTo>
                  <a:pt x="2471" y="2712"/>
                </a:lnTo>
                <a:lnTo>
                  <a:pt x="2458" y="2697"/>
                </a:lnTo>
                <a:lnTo>
                  <a:pt x="0" y="0"/>
                </a:lnTo>
                <a:lnTo>
                  <a:pt x="999" y="0"/>
                </a:lnTo>
                <a:lnTo>
                  <a:pt x="2956" y="2149"/>
                </a:lnTo>
                <a:lnTo>
                  <a:pt x="2956" y="2149"/>
                </a:lnTo>
                <a:lnTo>
                  <a:pt x="2969" y="2164"/>
                </a:lnTo>
                <a:lnTo>
                  <a:pt x="2981" y="2178"/>
                </a:lnTo>
                <a:lnTo>
                  <a:pt x="2991" y="2194"/>
                </a:lnTo>
                <a:lnTo>
                  <a:pt x="3002" y="2210"/>
                </a:lnTo>
                <a:lnTo>
                  <a:pt x="3011" y="2227"/>
                </a:lnTo>
                <a:lnTo>
                  <a:pt x="3019" y="2243"/>
                </a:lnTo>
                <a:lnTo>
                  <a:pt x="3028" y="2260"/>
                </a:lnTo>
                <a:lnTo>
                  <a:pt x="3035" y="2277"/>
                </a:lnTo>
                <a:lnTo>
                  <a:pt x="3041" y="2295"/>
                </a:lnTo>
                <a:lnTo>
                  <a:pt x="3046" y="2313"/>
                </a:lnTo>
                <a:lnTo>
                  <a:pt x="3051" y="2331"/>
                </a:lnTo>
                <a:lnTo>
                  <a:pt x="3054" y="2349"/>
                </a:lnTo>
                <a:lnTo>
                  <a:pt x="3057" y="2368"/>
                </a:lnTo>
                <a:lnTo>
                  <a:pt x="3059" y="2386"/>
                </a:lnTo>
                <a:lnTo>
                  <a:pt x="3060" y="2405"/>
                </a:lnTo>
                <a:lnTo>
                  <a:pt x="3061" y="2424"/>
                </a:lnTo>
                <a:lnTo>
                  <a:pt x="3060" y="2442"/>
                </a:lnTo>
                <a:lnTo>
                  <a:pt x="3059" y="2461"/>
                </a:lnTo>
                <a:lnTo>
                  <a:pt x="3057" y="2479"/>
                </a:lnTo>
                <a:lnTo>
                  <a:pt x="3054" y="2497"/>
                </a:lnTo>
                <a:lnTo>
                  <a:pt x="3051" y="2516"/>
                </a:lnTo>
                <a:lnTo>
                  <a:pt x="3046" y="2533"/>
                </a:lnTo>
                <a:lnTo>
                  <a:pt x="3041" y="2552"/>
                </a:lnTo>
                <a:lnTo>
                  <a:pt x="3035" y="2570"/>
                </a:lnTo>
                <a:lnTo>
                  <a:pt x="3028" y="2586"/>
                </a:lnTo>
                <a:lnTo>
                  <a:pt x="3019" y="2604"/>
                </a:lnTo>
                <a:lnTo>
                  <a:pt x="3011" y="2620"/>
                </a:lnTo>
                <a:lnTo>
                  <a:pt x="3002" y="2637"/>
                </a:lnTo>
                <a:lnTo>
                  <a:pt x="2991" y="2652"/>
                </a:lnTo>
                <a:lnTo>
                  <a:pt x="2981" y="2668"/>
                </a:lnTo>
                <a:lnTo>
                  <a:pt x="2969" y="2683"/>
                </a:lnTo>
                <a:lnTo>
                  <a:pt x="2956" y="2697"/>
                </a:lnTo>
                <a:lnTo>
                  <a:pt x="2956" y="269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0" name="Freeform 9">
            <a:extLst>
              <a:ext uri="{FF2B5EF4-FFF2-40B4-BE49-F238E27FC236}">
                <a16:creationId xmlns:a16="http://schemas.microsoft.com/office/drawing/2014/main" id="{628532B8-829C-416D-A851-C1C1FFE65E94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1987638" y="2"/>
            <a:ext cx="2655885" cy="2404745"/>
          </a:xfrm>
          <a:custGeom>
            <a:avLst/>
            <a:gdLst>
              <a:gd name="T0" fmla="*/ 5330 w 5436"/>
              <a:gd name="T1" fmla="*/ 5296 h 5411"/>
              <a:gd name="T2" fmla="*/ 5303 w 5436"/>
              <a:gd name="T3" fmla="*/ 5323 h 5411"/>
              <a:gd name="T4" fmla="*/ 5274 w 5436"/>
              <a:gd name="T5" fmla="*/ 5346 h 5411"/>
              <a:gd name="T6" fmla="*/ 5244 w 5436"/>
              <a:gd name="T7" fmla="*/ 5366 h 5411"/>
              <a:gd name="T8" fmla="*/ 5212 w 5436"/>
              <a:gd name="T9" fmla="*/ 5382 h 5411"/>
              <a:gd name="T10" fmla="*/ 5179 w 5436"/>
              <a:gd name="T11" fmla="*/ 5395 h 5411"/>
              <a:gd name="T12" fmla="*/ 5145 w 5436"/>
              <a:gd name="T13" fmla="*/ 5403 h 5411"/>
              <a:gd name="T14" fmla="*/ 5111 w 5436"/>
              <a:gd name="T15" fmla="*/ 5409 h 5411"/>
              <a:gd name="T16" fmla="*/ 5077 w 5436"/>
              <a:gd name="T17" fmla="*/ 5411 h 5411"/>
              <a:gd name="T18" fmla="*/ 5043 w 5436"/>
              <a:gd name="T19" fmla="*/ 5409 h 5411"/>
              <a:gd name="T20" fmla="*/ 5009 w 5436"/>
              <a:gd name="T21" fmla="*/ 5403 h 5411"/>
              <a:gd name="T22" fmla="*/ 4975 w 5436"/>
              <a:gd name="T23" fmla="*/ 5395 h 5411"/>
              <a:gd name="T24" fmla="*/ 4942 w 5436"/>
              <a:gd name="T25" fmla="*/ 5382 h 5411"/>
              <a:gd name="T26" fmla="*/ 4911 w 5436"/>
              <a:gd name="T27" fmla="*/ 5366 h 5411"/>
              <a:gd name="T28" fmla="*/ 4880 w 5436"/>
              <a:gd name="T29" fmla="*/ 5346 h 5411"/>
              <a:gd name="T30" fmla="*/ 4851 w 5436"/>
              <a:gd name="T31" fmla="*/ 5323 h 5411"/>
              <a:gd name="T32" fmla="*/ 4824 w 5436"/>
              <a:gd name="T33" fmla="*/ 5296 h 5411"/>
              <a:gd name="T34" fmla="*/ 1013 w 5436"/>
              <a:gd name="T35" fmla="*/ 0 h 5411"/>
              <a:gd name="T36" fmla="*/ 5330 w 5436"/>
              <a:gd name="T37" fmla="*/ 4739 h 5411"/>
              <a:gd name="T38" fmla="*/ 5356 w 5436"/>
              <a:gd name="T39" fmla="*/ 4769 h 5411"/>
              <a:gd name="T40" fmla="*/ 5377 w 5436"/>
              <a:gd name="T41" fmla="*/ 4801 h 5411"/>
              <a:gd name="T42" fmla="*/ 5395 w 5436"/>
              <a:gd name="T43" fmla="*/ 4835 h 5411"/>
              <a:gd name="T44" fmla="*/ 5410 w 5436"/>
              <a:gd name="T45" fmla="*/ 4869 h 5411"/>
              <a:gd name="T46" fmla="*/ 5421 w 5436"/>
              <a:gd name="T47" fmla="*/ 4905 h 5411"/>
              <a:gd name="T48" fmla="*/ 5429 w 5436"/>
              <a:gd name="T49" fmla="*/ 4943 h 5411"/>
              <a:gd name="T50" fmla="*/ 5434 w 5436"/>
              <a:gd name="T51" fmla="*/ 4980 h 5411"/>
              <a:gd name="T52" fmla="*/ 5436 w 5436"/>
              <a:gd name="T53" fmla="*/ 5018 h 5411"/>
              <a:gd name="T54" fmla="*/ 5434 w 5436"/>
              <a:gd name="T55" fmla="*/ 5055 h 5411"/>
              <a:gd name="T56" fmla="*/ 5429 w 5436"/>
              <a:gd name="T57" fmla="*/ 5092 h 5411"/>
              <a:gd name="T58" fmla="*/ 5421 w 5436"/>
              <a:gd name="T59" fmla="*/ 5130 h 5411"/>
              <a:gd name="T60" fmla="*/ 5410 w 5436"/>
              <a:gd name="T61" fmla="*/ 5166 h 5411"/>
              <a:gd name="T62" fmla="*/ 5395 w 5436"/>
              <a:gd name="T63" fmla="*/ 5200 h 5411"/>
              <a:gd name="T64" fmla="*/ 5377 w 5436"/>
              <a:gd name="T65" fmla="*/ 5234 h 5411"/>
              <a:gd name="T66" fmla="*/ 5356 w 5436"/>
              <a:gd name="T67" fmla="*/ 5266 h 5411"/>
              <a:gd name="T68" fmla="*/ 5330 w 5436"/>
              <a:gd name="T69" fmla="*/ 5296 h 5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436" h="5411">
                <a:moveTo>
                  <a:pt x="5330" y="5296"/>
                </a:moveTo>
                <a:lnTo>
                  <a:pt x="5330" y="5296"/>
                </a:lnTo>
                <a:lnTo>
                  <a:pt x="5317" y="5310"/>
                </a:lnTo>
                <a:lnTo>
                  <a:pt x="5303" y="5323"/>
                </a:lnTo>
                <a:lnTo>
                  <a:pt x="5289" y="5335"/>
                </a:lnTo>
                <a:lnTo>
                  <a:pt x="5274" y="5346"/>
                </a:lnTo>
                <a:lnTo>
                  <a:pt x="5259" y="5356"/>
                </a:lnTo>
                <a:lnTo>
                  <a:pt x="5244" y="5366"/>
                </a:lnTo>
                <a:lnTo>
                  <a:pt x="5228" y="5375"/>
                </a:lnTo>
                <a:lnTo>
                  <a:pt x="5212" y="5382"/>
                </a:lnTo>
                <a:lnTo>
                  <a:pt x="5196" y="5389"/>
                </a:lnTo>
                <a:lnTo>
                  <a:pt x="5179" y="5395"/>
                </a:lnTo>
                <a:lnTo>
                  <a:pt x="5162" y="5400"/>
                </a:lnTo>
                <a:lnTo>
                  <a:pt x="5145" y="5403"/>
                </a:lnTo>
                <a:lnTo>
                  <a:pt x="5129" y="5407"/>
                </a:lnTo>
                <a:lnTo>
                  <a:pt x="5111" y="5409"/>
                </a:lnTo>
                <a:lnTo>
                  <a:pt x="5094" y="5410"/>
                </a:lnTo>
                <a:lnTo>
                  <a:pt x="5077" y="5411"/>
                </a:lnTo>
                <a:lnTo>
                  <a:pt x="5060" y="5410"/>
                </a:lnTo>
                <a:lnTo>
                  <a:pt x="5043" y="5409"/>
                </a:lnTo>
                <a:lnTo>
                  <a:pt x="5026" y="5407"/>
                </a:lnTo>
                <a:lnTo>
                  <a:pt x="5009" y="5403"/>
                </a:lnTo>
                <a:lnTo>
                  <a:pt x="4992" y="5400"/>
                </a:lnTo>
                <a:lnTo>
                  <a:pt x="4975" y="5395"/>
                </a:lnTo>
                <a:lnTo>
                  <a:pt x="4959" y="5389"/>
                </a:lnTo>
                <a:lnTo>
                  <a:pt x="4942" y="5382"/>
                </a:lnTo>
                <a:lnTo>
                  <a:pt x="4926" y="5375"/>
                </a:lnTo>
                <a:lnTo>
                  <a:pt x="4911" y="5366"/>
                </a:lnTo>
                <a:lnTo>
                  <a:pt x="4895" y="5356"/>
                </a:lnTo>
                <a:lnTo>
                  <a:pt x="4880" y="5346"/>
                </a:lnTo>
                <a:lnTo>
                  <a:pt x="4866" y="5335"/>
                </a:lnTo>
                <a:lnTo>
                  <a:pt x="4851" y="5323"/>
                </a:lnTo>
                <a:lnTo>
                  <a:pt x="4837" y="5310"/>
                </a:lnTo>
                <a:lnTo>
                  <a:pt x="4824" y="5296"/>
                </a:lnTo>
                <a:lnTo>
                  <a:pt x="0" y="0"/>
                </a:lnTo>
                <a:lnTo>
                  <a:pt x="1013" y="0"/>
                </a:lnTo>
                <a:lnTo>
                  <a:pt x="5330" y="4739"/>
                </a:lnTo>
                <a:lnTo>
                  <a:pt x="5330" y="4739"/>
                </a:lnTo>
                <a:lnTo>
                  <a:pt x="5343" y="4754"/>
                </a:lnTo>
                <a:lnTo>
                  <a:pt x="5356" y="4769"/>
                </a:lnTo>
                <a:lnTo>
                  <a:pt x="5367" y="4784"/>
                </a:lnTo>
                <a:lnTo>
                  <a:pt x="5377" y="4801"/>
                </a:lnTo>
                <a:lnTo>
                  <a:pt x="5386" y="4817"/>
                </a:lnTo>
                <a:lnTo>
                  <a:pt x="5395" y="4835"/>
                </a:lnTo>
                <a:lnTo>
                  <a:pt x="5403" y="4852"/>
                </a:lnTo>
                <a:lnTo>
                  <a:pt x="5410" y="4869"/>
                </a:lnTo>
                <a:lnTo>
                  <a:pt x="5416" y="4888"/>
                </a:lnTo>
                <a:lnTo>
                  <a:pt x="5421" y="4905"/>
                </a:lnTo>
                <a:lnTo>
                  <a:pt x="5426" y="4924"/>
                </a:lnTo>
                <a:lnTo>
                  <a:pt x="5429" y="4943"/>
                </a:lnTo>
                <a:lnTo>
                  <a:pt x="5432" y="4961"/>
                </a:lnTo>
                <a:lnTo>
                  <a:pt x="5434" y="4980"/>
                </a:lnTo>
                <a:lnTo>
                  <a:pt x="5436" y="4999"/>
                </a:lnTo>
                <a:lnTo>
                  <a:pt x="5436" y="5018"/>
                </a:lnTo>
                <a:lnTo>
                  <a:pt x="5436" y="5036"/>
                </a:lnTo>
                <a:lnTo>
                  <a:pt x="5434" y="5055"/>
                </a:lnTo>
                <a:lnTo>
                  <a:pt x="5432" y="5074"/>
                </a:lnTo>
                <a:lnTo>
                  <a:pt x="5429" y="5092"/>
                </a:lnTo>
                <a:lnTo>
                  <a:pt x="5426" y="5111"/>
                </a:lnTo>
                <a:lnTo>
                  <a:pt x="5421" y="5130"/>
                </a:lnTo>
                <a:lnTo>
                  <a:pt x="5416" y="5147"/>
                </a:lnTo>
                <a:lnTo>
                  <a:pt x="5410" y="5166"/>
                </a:lnTo>
                <a:lnTo>
                  <a:pt x="5403" y="5183"/>
                </a:lnTo>
                <a:lnTo>
                  <a:pt x="5395" y="5200"/>
                </a:lnTo>
                <a:lnTo>
                  <a:pt x="5386" y="5218"/>
                </a:lnTo>
                <a:lnTo>
                  <a:pt x="5377" y="5234"/>
                </a:lnTo>
                <a:lnTo>
                  <a:pt x="5367" y="5251"/>
                </a:lnTo>
                <a:lnTo>
                  <a:pt x="5356" y="5266"/>
                </a:lnTo>
                <a:lnTo>
                  <a:pt x="5343" y="5281"/>
                </a:lnTo>
                <a:lnTo>
                  <a:pt x="5330" y="5296"/>
                </a:lnTo>
                <a:lnTo>
                  <a:pt x="5330" y="529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1" name="Freeform 10">
            <a:extLst>
              <a:ext uri="{FF2B5EF4-FFF2-40B4-BE49-F238E27FC236}">
                <a16:creationId xmlns:a16="http://schemas.microsoft.com/office/drawing/2014/main" id="{BBD18221-064C-4160-B394-2D404E21A390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0670444" y="6976428"/>
            <a:ext cx="2904080" cy="2624773"/>
          </a:xfrm>
          <a:custGeom>
            <a:avLst/>
            <a:gdLst>
              <a:gd name="T0" fmla="*/ 104 w 5944"/>
              <a:gd name="T1" fmla="*/ 114 h 5907"/>
              <a:gd name="T2" fmla="*/ 131 w 5944"/>
              <a:gd name="T3" fmla="*/ 87 h 5907"/>
              <a:gd name="T4" fmla="*/ 159 w 5944"/>
              <a:gd name="T5" fmla="*/ 64 h 5907"/>
              <a:gd name="T6" fmla="*/ 189 w 5944"/>
              <a:gd name="T7" fmla="*/ 44 h 5907"/>
              <a:gd name="T8" fmla="*/ 220 w 5944"/>
              <a:gd name="T9" fmla="*/ 29 h 5907"/>
              <a:gd name="T10" fmla="*/ 253 w 5944"/>
              <a:gd name="T11" fmla="*/ 16 h 5907"/>
              <a:gd name="T12" fmla="*/ 286 w 5944"/>
              <a:gd name="T13" fmla="*/ 7 h 5907"/>
              <a:gd name="T14" fmla="*/ 319 w 5944"/>
              <a:gd name="T15" fmla="*/ 3 h 5907"/>
              <a:gd name="T16" fmla="*/ 353 w 5944"/>
              <a:gd name="T17" fmla="*/ 0 h 5907"/>
              <a:gd name="T18" fmla="*/ 387 w 5944"/>
              <a:gd name="T19" fmla="*/ 3 h 5907"/>
              <a:gd name="T20" fmla="*/ 421 w 5944"/>
              <a:gd name="T21" fmla="*/ 7 h 5907"/>
              <a:gd name="T22" fmla="*/ 454 w 5944"/>
              <a:gd name="T23" fmla="*/ 16 h 5907"/>
              <a:gd name="T24" fmla="*/ 486 w 5944"/>
              <a:gd name="T25" fmla="*/ 29 h 5907"/>
              <a:gd name="T26" fmla="*/ 517 w 5944"/>
              <a:gd name="T27" fmla="*/ 44 h 5907"/>
              <a:gd name="T28" fmla="*/ 547 w 5944"/>
              <a:gd name="T29" fmla="*/ 64 h 5907"/>
              <a:gd name="T30" fmla="*/ 576 w 5944"/>
              <a:gd name="T31" fmla="*/ 87 h 5907"/>
              <a:gd name="T32" fmla="*/ 603 w 5944"/>
              <a:gd name="T33" fmla="*/ 114 h 5907"/>
              <a:gd name="T34" fmla="*/ 4883 w 5944"/>
              <a:gd name="T35" fmla="*/ 5907 h 5907"/>
              <a:gd name="T36" fmla="*/ 104 w 5944"/>
              <a:gd name="T37" fmla="*/ 662 h 5907"/>
              <a:gd name="T38" fmla="*/ 80 w 5944"/>
              <a:gd name="T39" fmla="*/ 632 h 5907"/>
              <a:gd name="T40" fmla="*/ 59 w 5944"/>
              <a:gd name="T41" fmla="*/ 602 h 5907"/>
              <a:gd name="T42" fmla="*/ 41 w 5944"/>
              <a:gd name="T43" fmla="*/ 569 h 5907"/>
              <a:gd name="T44" fmla="*/ 26 w 5944"/>
              <a:gd name="T45" fmla="*/ 533 h 5907"/>
              <a:gd name="T46" fmla="*/ 15 w 5944"/>
              <a:gd name="T47" fmla="*/ 498 h 5907"/>
              <a:gd name="T48" fmla="*/ 7 w 5944"/>
              <a:gd name="T49" fmla="*/ 462 h 5907"/>
              <a:gd name="T50" fmla="*/ 2 w 5944"/>
              <a:gd name="T51" fmla="*/ 425 h 5907"/>
              <a:gd name="T52" fmla="*/ 0 w 5944"/>
              <a:gd name="T53" fmla="*/ 388 h 5907"/>
              <a:gd name="T54" fmla="*/ 2 w 5944"/>
              <a:gd name="T55" fmla="*/ 351 h 5907"/>
              <a:gd name="T56" fmla="*/ 7 w 5944"/>
              <a:gd name="T57" fmla="*/ 314 h 5907"/>
              <a:gd name="T58" fmla="*/ 15 w 5944"/>
              <a:gd name="T59" fmla="*/ 277 h 5907"/>
              <a:gd name="T60" fmla="*/ 26 w 5944"/>
              <a:gd name="T61" fmla="*/ 242 h 5907"/>
              <a:gd name="T62" fmla="*/ 41 w 5944"/>
              <a:gd name="T63" fmla="*/ 208 h 5907"/>
              <a:gd name="T64" fmla="*/ 59 w 5944"/>
              <a:gd name="T65" fmla="*/ 175 h 5907"/>
              <a:gd name="T66" fmla="*/ 80 w 5944"/>
              <a:gd name="T67" fmla="*/ 143 h 5907"/>
              <a:gd name="T68" fmla="*/ 104 w 5944"/>
              <a:gd name="T69" fmla="*/ 114 h 5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944" h="5907">
                <a:moveTo>
                  <a:pt x="104" y="114"/>
                </a:moveTo>
                <a:lnTo>
                  <a:pt x="104" y="114"/>
                </a:lnTo>
                <a:lnTo>
                  <a:pt x="117" y="100"/>
                </a:lnTo>
                <a:lnTo>
                  <a:pt x="131" y="87"/>
                </a:lnTo>
                <a:lnTo>
                  <a:pt x="145" y="75"/>
                </a:lnTo>
                <a:lnTo>
                  <a:pt x="159" y="64"/>
                </a:lnTo>
                <a:lnTo>
                  <a:pt x="174" y="54"/>
                </a:lnTo>
                <a:lnTo>
                  <a:pt x="189" y="44"/>
                </a:lnTo>
                <a:lnTo>
                  <a:pt x="205" y="37"/>
                </a:lnTo>
                <a:lnTo>
                  <a:pt x="220" y="29"/>
                </a:lnTo>
                <a:lnTo>
                  <a:pt x="237" y="22"/>
                </a:lnTo>
                <a:lnTo>
                  <a:pt x="253" y="16"/>
                </a:lnTo>
                <a:lnTo>
                  <a:pt x="269" y="11"/>
                </a:lnTo>
                <a:lnTo>
                  <a:pt x="286" y="7"/>
                </a:lnTo>
                <a:lnTo>
                  <a:pt x="303" y="5"/>
                </a:lnTo>
                <a:lnTo>
                  <a:pt x="319" y="3"/>
                </a:lnTo>
                <a:lnTo>
                  <a:pt x="336" y="0"/>
                </a:lnTo>
                <a:lnTo>
                  <a:pt x="353" y="0"/>
                </a:lnTo>
                <a:lnTo>
                  <a:pt x="370" y="0"/>
                </a:lnTo>
                <a:lnTo>
                  <a:pt x="387" y="3"/>
                </a:lnTo>
                <a:lnTo>
                  <a:pt x="404" y="5"/>
                </a:lnTo>
                <a:lnTo>
                  <a:pt x="421" y="7"/>
                </a:lnTo>
                <a:lnTo>
                  <a:pt x="437" y="11"/>
                </a:lnTo>
                <a:lnTo>
                  <a:pt x="454" y="16"/>
                </a:lnTo>
                <a:lnTo>
                  <a:pt x="470" y="22"/>
                </a:lnTo>
                <a:lnTo>
                  <a:pt x="486" y="29"/>
                </a:lnTo>
                <a:lnTo>
                  <a:pt x="502" y="37"/>
                </a:lnTo>
                <a:lnTo>
                  <a:pt x="517" y="44"/>
                </a:lnTo>
                <a:lnTo>
                  <a:pt x="532" y="54"/>
                </a:lnTo>
                <a:lnTo>
                  <a:pt x="547" y="64"/>
                </a:lnTo>
                <a:lnTo>
                  <a:pt x="562" y="75"/>
                </a:lnTo>
                <a:lnTo>
                  <a:pt x="576" y="87"/>
                </a:lnTo>
                <a:lnTo>
                  <a:pt x="589" y="100"/>
                </a:lnTo>
                <a:lnTo>
                  <a:pt x="603" y="114"/>
                </a:lnTo>
                <a:lnTo>
                  <a:pt x="5944" y="5907"/>
                </a:lnTo>
                <a:lnTo>
                  <a:pt x="4883" y="5907"/>
                </a:lnTo>
                <a:lnTo>
                  <a:pt x="104" y="662"/>
                </a:lnTo>
                <a:lnTo>
                  <a:pt x="104" y="662"/>
                </a:lnTo>
                <a:lnTo>
                  <a:pt x="91" y="648"/>
                </a:lnTo>
                <a:lnTo>
                  <a:pt x="80" y="632"/>
                </a:lnTo>
                <a:lnTo>
                  <a:pt x="69" y="617"/>
                </a:lnTo>
                <a:lnTo>
                  <a:pt x="59" y="602"/>
                </a:lnTo>
                <a:lnTo>
                  <a:pt x="49" y="585"/>
                </a:lnTo>
                <a:lnTo>
                  <a:pt x="41" y="569"/>
                </a:lnTo>
                <a:lnTo>
                  <a:pt x="33" y="551"/>
                </a:lnTo>
                <a:lnTo>
                  <a:pt x="26" y="533"/>
                </a:lnTo>
                <a:lnTo>
                  <a:pt x="20" y="516"/>
                </a:lnTo>
                <a:lnTo>
                  <a:pt x="15" y="498"/>
                </a:lnTo>
                <a:lnTo>
                  <a:pt x="11" y="481"/>
                </a:lnTo>
                <a:lnTo>
                  <a:pt x="7" y="462"/>
                </a:lnTo>
                <a:lnTo>
                  <a:pt x="4" y="443"/>
                </a:lnTo>
                <a:lnTo>
                  <a:pt x="2" y="425"/>
                </a:lnTo>
                <a:lnTo>
                  <a:pt x="1" y="407"/>
                </a:lnTo>
                <a:lnTo>
                  <a:pt x="0" y="388"/>
                </a:lnTo>
                <a:lnTo>
                  <a:pt x="1" y="370"/>
                </a:lnTo>
                <a:lnTo>
                  <a:pt x="2" y="351"/>
                </a:lnTo>
                <a:lnTo>
                  <a:pt x="4" y="332"/>
                </a:lnTo>
                <a:lnTo>
                  <a:pt x="7" y="314"/>
                </a:lnTo>
                <a:lnTo>
                  <a:pt x="11" y="296"/>
                </a:lnTo>
                <a:lnTo>
                  <a:pt x="15" y="277"/>
                </a:lnTo>
                <a:lnTo>
                  <a:pt x="20" y="260"/>
                </a:lnTo>
                <a:lnTo>
                  <a:pt x="26" y="242"/>
                </a:lnTo>
                <a:lnTo>
                  <a:pt x="33" y="225"/>
                </a:lnTo>
                <a:lnTo>
                  <a:pt x="41" y="208"/>
                </a:lnTo>
                <a:lnTo>
                  <a:pt x="49" y="190"/>
                </a:lnTo>
                <a:lnTo>
                  <a:pt x="59" y="175"/>
                </a:lnTo>
                <a:lnTo>
                  <a:pt x="69" y="159"/>
                </a:lnTo>
                <a:lnTo>
                  <a:pt x="80" y="143"/>
                </a:lnTo>
                <a:lnTo>
                  <a:pt x="91" y="128"/>
                </a:lnTo>
                <a:lnTo>
                  <a:pt x="104" y="114"/>
                </a:lnTo>
                <a:lnTo>
                  <a:pt x="104" y="11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2" name="Freeform 8">
            <a:extLst>
              <a:ext uri="{FF2B5EF4-FFF2-40B4-BE49-F238E27FC236}">
                <a16:creationId xmlns:a16="http://schemas.microsoft.com/office/drawing/2014/main" id="{3E281ABA-1809-4D3E-8DCD-F1BF8EB64554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5589400" y="3073720"/>
            <a:ext cx="1479401" cy="1726883"/>
          </a:xfrm>
          <a:custGeom>
            <a:avLst/>
            <a:gdLst>
              <a:gd name="T0" fmla="*/ 2925 w 3030"/>
              <a:gd name="T1" fmla="*/ 3768 h 3883"/>
              <a:gd name="T2" fmla="*/ 2912 w 3030"/>
              <a:gd name="T3" fmla="*/ 3782 h 3883"/>
              <a:gd name="T4" fmla="*/ 2884 w 3030"/>
              <a:gd name="T5" fmla="*/ 3807 h 3883"/>
              <a:gd name="T6" fmla="*/ 2854 w 3030"/>
              <a:gd name="T7" fmla="*/ 3828 h 3883"/>
              <a:gd name="T8" fmla="*/ 2823 w 3030"/>
              <a:gd name="T9" fmla="*/ 3847 h 3883"/>
              <a:gd name="T10" fmla="*/ 2791 w 3030"/>
              <a:gd name="T11" fmla="*/ 3861 h 3883"/>
              <a:gd name="T12" fmla="*/ 2757 w 3030"/>
              <a:gd name="T13" fmla="*/ 3872 h 3883"/>
              <a:gd name="T14" fmla="*/ 2723 w 3030"/>
              <a:gd name="T15" fmla="*/ 3879 h 3883"/>
              <a:gd name="T16" fmla="*/ 2689 w 3030"/>
              <a:gd name="T17" fmla="*/ 3882 h 3883"/>
              <a:gd name="T18" fmla="*/ 2655 w 3030"/>
              <a:gd name="T19" fmla="*/ 3882 h 3883"/>
              <a:gd name="T20" fmla="*/ 2621 w 3030"/>
              <a:gd name="T21" fmla="*/ 3879 h 3883"/>
              <a:gd name="T22" fmla="*/ 2587 w 3030"/>
              <a:gd name="T23" fmla="*/ 3872 h 3883"/>
              <a:gd name="T24" fmla="*/ 2554 w 3030"/>
              <a:gd name="T25" fmla="*/ 3861 h 3883"/>
              <a:gd name="T26" fmla="*/ 2521 w 3030"/>
              <a:gd name="T27" fmla="*/ 3847 h 3883"/>
              <a:gd name="T28" fmla="*/ 2490 w 3030"/>
              <a:gd name="T29" fmla="*/ 3828 h 3883"/>
              <a:gd name="T30" fmla="*/ 2461 w 3030"/>
              <a:gd name="T31" fmla="*/ 3807 h 3883"/>
              <a:gd name="T32" fmla="*/ 2432 w 3030"/>
              <a:gd name="T33" fmla="*/ 3782 h 3883"/>
              <a:gd name="T34" fmla="*/ 0 w 3030"/>
              <a:gd name="T35" fmla="*/ 1112 h 3883"/>
              <a:gd name="T36" fmla="*/ 2925 w 3030"/>
              <a:gd name="T37" fmla="*/ 3211 h 3883"/>
              <a:gd name="T38" fmla="*/ 2938 w 3030"/>
              <a:gd name="T39" fmla="*/ 3226 h 3883"/>
              <a:gd name="T40" fmla="*/ 2961 w 3030"/>
              <a:gd name="T41" fmla="*/ 3256 h 3883"/>
              <a:gd name="T42" fmla="*/ 2980 w 3030"/>
              <a:gd name="T43" fmla="*/ 3289 h 3883"/>
              <a:gd name="T44" fmla="*/ 2997 w 3030"/>
              <a:gd name="T45" fmla="*/ 3324 h 3883"/>
              <a:gd name="T46" fmla="*/ 3010 w 3030"/>
              <a:gd name="T47" fmla="*/ 3360 h 3883"/>
              <a:gd name="T48" fmla="*/ 3020 w 3030"/>
              <a:gd name="T49" fmla="*/ 3396 h 3883"/>
              <a:gd name="T50" fmla="*/ 3026 w 3030"/>
              <a:gd name="T51" fmla="*/ 3433 h 3883"/>
              <a:gd name="T52" fmla="*/ 3030 w 3030"/>
              <a:gd name="T53" fmla="*/ 3471 h 3883"/>
              <a:gd name="T54" fmla="*/ 3030 w 3030"/>
              <a:gd name="T55" fmla="*/ 3508 h 3883"/>
              <a:gd name="T56" fmla="*/ 3026 w 3030"/>
              <a:gd name="T57" fmla="*/ 3546 h 3883"/>
              <a:gd name="T58" fmla="*/ 3020 w 3030"/>
              <a:gd name="T59" fmla="*/ 3583 h 3883"/>
              <a:gd name="T60" fmla="*/ 3010 w 3030"/>
              <a:gd name="T61" fmla="*/ 3619 h 3883"/>
              <a:gd name="T62" fmla="*/ 2997 w 3030"/>
              <a:gd name="T63" fmla="*/ 3655 h 3883"/>
              <a:gd name="T64" fmla="*/ 2980 w 3030"/>
              <a:gd name="T65" fmla="*/ 3690 h 3883"/>
              <a:gd name="T66" fmla="*/ 2961 w 3030"/>
              <a:gd name="T67" fmla="*/ 3723 h 3883"/>
              <a:gd name="T68" fmla="*/ 2938 w 3030"/>
              <a:gd name="T69" fmla="*/ 3753 h 3883"/>
              <a:gd name="T70" fmla="*/ 2925 w 3030"/>
              <a:gd name="T71" fmla="*/ 3768 h 38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030" h="3883">
                <a:moveTo>
                  <a:pt x="2925" y="3768"/>
                </a:moveTo>
                <a:lnTo>
                  <a:pt x="2925" y="3768"/>
                </a:lnTo>
                <a:lnTo>
                  <a:pt x="2925" y="3768"/>
                </a:lnTo>
                <a:lnTo>
                  <a:pt x="2912" y="3782"/>
                </a:lnTo>
                <a:lnTo>
                  <a:pt x="2898" y="3795"/>
                </a:lnTo>
                <a:lnTo>
                  <a:pt x="2884" y="3807"/>
                </a:lnTo>
                <a:lnTo>
                  <a:pt x="2869" y="3818"/>
                </a:lnTo>
                <a:lnTo>
                  <a:pt x="2854" y="3828"/>
                </a:lnTo>
                <a:lnTo>
                  <a:pt x="2839" y="3838"/>
                </a:lnTo>
                <a:lnTo>
                  <a:pt x="2823" y="3847"/>
                </a:lnTo>
                <a:lnTo>
                  <a:pt x="2807" y="3854"/>
                </a:lnTo>
                <a:lnTo>
                  <a:pt x="2791" y="3861"/>
                </a:lnTo>
                <a:lnTo>
                  <a:pt x="2774" y="3867"/>
                </a:lnTo>
                <a:lnTo>
                  <a:pt x="2757" y="3872"/>
                </a:lnTo>
                <a:lnTo>
                  <a:pt x="2740" y="3875"/>
                </a:lnTo>
                <a:lnTo>
                  <a:pt x="2723" y="3879"/>
                </a:lnTo>
                <a:lnTo>
                  <a:pt x="2706" y="3881"/>
                </a:lnTo>
                <a:lnTo>
                  <a:pt x="2689" y="3882"/>
                </a:lnTo>
                <a:lnTo>
                  <a:pt x="2672" y="3883"/>
                </a:lnTo>
                <a:lnTo>
                  <a:pt x="2655" y="3882"/>
                </a:lnTo>
                <a:lnTo>
                  <a:pt x="2638" y="3881"/>
                </a:lnTo>
                <a:lnTo>
                  <a:pt x="2621" y="3879"/>
                </a:lnTo>
                <a:lnTo>
                  <a:pt x="2604" y="3875"/>
                </a:lnTo>
                <a:lnTo>
                  <a:pt x="2587" y="3872"/>
                </a:lnTo>
                <a:lnTo>
                  <a:pt x="2570" y="3867"/>
                </a:lnTo>
                <a:lnTo>
                  <a:pt x="2554" y="3861"/>
                </a:lnTo>
                <a:lnTo>
                  <a:pt x="2537" y="3854"/>
                </a:lnTo>
                <a:lnTo>
                  <a:pt x="2521" y="3847"/>
                </a:lnTo>
                <a:lnTo>
                  <a:pt x="2506" y="3838"/>
                </a:lnTo>
                <a:lnTo>
                  <a:pt x="2490" y="3828"/>
                </a:lnTo>
                <a:lnTo>
                  <a:pt x="2475" y="3818"/>
                </a:lnTo>
                <a:lnTo>
                  <a:pt x="2461" y="3807"/>
                </a:lnTo>
                <a:lnTo>
                  <a:pt x="2446" y="3795"/>
                </a:lnTo>
                <a:lnTo>
                  <a:pt x="2432" y="3782"/>
                </a:lnTo>
                <a:lnTo>
                  <a:pt x="2419" y="3768"/>
                </a:lnTo>
                <a:lnTo>
                  <a:pt x="0" y="1112"/>
                </a:lnTo>
                <a:lnTo>
                  <a:pt x="0" y="0"/>
                </a:lnTo>
                <a:lnTo>
                  <a:pt x="2925" y="3211"/>
                </a:lnTo>
                <a:lnTo>
                  <a:pt x="2925" y="3211"/>
                </a:lnTo>
                <a:lnTo>
                  <a:pt x="2938" y="3226"/>
                </a:lnTo>
                <a:lnTo>
                  <a:pt x="2950" y="3241"/>
                </a:lnTo>
                <a:lnTo>
                  <a:pt x="2961" y="3256"/>
                </a:lnTo>
                <a:lnTo>
                  <a:pt x="2971" y="3273"/>
                </a:lnTo>
                <a:lnTo>
                  <a:pt x="2980" y="3289"/>
                </a:lnTo>
                <a:lnTo>
                  <a:pt x="2989" y="3307"/>
                </a:lnTo>
                <a:lnTo>
                  <a:pt x="2997" y="3324"/>
                </a:lnTo>
                <a:lnTo>
                  <a:pt x="3004" y="3341"/>
                </a:lnTo>
                <a:lnTo>
                  <a:pt x="3010" y="3360"/>
                </a:lnTo>
                <a:lnTo>
                  <a:pt x="3015" y="3377"/>
                </a:lnTo>
                <a:lnTo>
                  <a:pt x="3020" y="3396"/>
                </a:lnTo>
                <a:lnTo>
                  <a:pt x="3023" y="3415"/>
                </a:lnTo>
                <a:lnTo>
                  <a:pt x="3026" y="3433"/>
                </a:lnTo>
                <a:lnTo>
                  <a:pt x="3028" y="3452"/>
                </a:lnTo>
                <a:lnTo>
                  <a:pt x="3030" y="3471"/>
                </a:lnTo>
                <a:lnTo>
                  <a:pt x="3030" y="3490"/>
                </a:lnTo>
                <a:lnTo>
                  <a:pt x="3030" y="3508"/>
                </a:lnTo>
                <a:lnTo>
                  <a:pt x="3028" y="3527"/>
                </a:lnTo>
                <a:lnTo>
                  <a:pt x="3026" y="3546"/>
                </a:lnTo>
                <a:lnTo>
                  <a:pt x="3023" y="3564"/>
                </a:lnTo>
                <a:lnTo>
                  <a:pt x="3020" y="3583"/>
                </a:lnTo>
                <a:lnTo>
                  <a:pt x="3015" y="3602"/>
                </a:lnTo>
                <a:lnTo>
                  <a:pt x="3010" y="3619"/>
                </a:lnTo>
                <a:lnTo>
                  <a:pt x="3004" y="3638"/>
                </a:lnTo>
                <a:lnTo>
                  <a:pt x="2997" y="3655"/>
                </a:lnTo>
                <a:lnTo>
                  <a:pt x="2989" y="3672"/>
                </a:lnTo>
                <a:lnTo>
                  <a:pt x="2980" y="3690"/>
                </a:lnTo>
                <a:lnTo>
                  <a:pt x="2971" y="3706"/>
                </a:lnTo>
                <a:lnTo>
                  <a:pt x="2961" y="3723"/>
                </a:lnTo>
                <a:lnTo>
                  <a:pt x="2950" y="3738"/>
                </a:lnTo>
                <a:lnTo>
                  <a:pt x="2938" y="3753"/>
                </a:lnTo>
                <a:lnTo>
                  <a:pt x="2925" y="3768"/>
                </a:lnTo>
                <a:lnTo>
                  <a:pt x="2925" y="37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BD721C-2764-482F-80B9-D4006AAB6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504" y="511176"/>
            <a:ext cx="9677875" cy="18557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86095-26DC-48B9-BA7B-02E8DFBACA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504" y="2555875"/>
            <a:ext cx="9677875" cy="609187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FE15AE-9590-47E3-80CE-AC9507B5660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9504" y="8898891"/>
            <a:ext cx="1690259" cy="511175"/>
          </a:xfrm>
        </p:spPr>
        <p:txBody>
          <a:bodyPr/>
          <a:lstStyle/>
          <a:p>
            <a:fld id="{54DACD2D-B36A-4BE0-9BEB-7AE623785D70}" type="datetime1">
              <a:rPr lang="ru-RU" smtClean="0">
                <a:solidFill>
                  <a:srgbClr val="CBCBCA">
                    <a:lumMod val="75000"/>
                  </a:srgbClr>
                </a:solidFill>
              </a:rPr>
              <a:pPr/>
              <a:t>08.09.2023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2FEFF5-D3AE-45CC-A046-CB5ADFA1DE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07558" y="8898891"/>
            <a:ext cx="5760720" cy="511175"/>
          </a:xfrm>
        </p:spPr>
        <p:txBody>
          <a:bodyPr/>
          <a:lstStyle>
            <a:lvl1pPr algn="r">
              <a:defRPr/>
            </a:lvl1pPr>
          </a:lstStyle>
          <a:p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668057-2C90-46BA-A286-D9B49AF1C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3E0AC-52E7-4010-9D37-41BE99808841}" type="slidenum">
              <a:rPr lang="en-US" smtClean="0">
                <a:solidFill>
                  <a:srgbClr val="CBCBCA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205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EB9D66CB-28A2-41A1-9FAF-86A65BA728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3" r="34045"/>
          <a:stretch/>
        </p:blipFill>
        <p:spPr>
          <a:xfrm>
            <a:off x="7564094" y="0"/>
            <a:ext cx="9504706" cy="9154477"/>
          </a:xfrm>
          <a:prstGeom prst="rect">
            <a:avLst/>
          </a:pr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1992BF9-578B-42D9-9A30-49D45648F2CC}"/>
              </a:ext>
            </a:extLst>
          </p:cNvPr>
          <p:cNvSpPr>
            <a:spLocks/>
          </p:cNvSpPr>
          <p:nvPr userDrawn="1"/>
        </p:nvSpPr>
        <p:spPr bwMode="auto">
          <a:xfrm flipH="1">
            <a:off x="7866032" y="2420305"/>
            <a:ext cx="9202768" cy="7180897"/>
          </a:xfrm>
          <a:custGeom>
            <a:avLst/>
            <a:gdLst>
              <a:gd name="connsiteX0" fmla="*/ 0 w 6573406"/>
              <a:gd name="connsiteY0" fmla="*/ 0 h 5129212"/>
              <a:gd name="connsiteX1" fmla="*/ 0 w 6573406"/>
              <a:gd name="connsiteY1" fmla="*/ 409574 h 5129212"/>
              <a:gd name="connsiteX2" fmla="*/ 0 w 6573406"/>
              <a:gd name="connsiteY2" fmla="*/ 467649 h 5129212"/>
              <a:gd name="connsiteX3" fmla="*/ 0 w 6573406"/>
              <a:gd name="connsiteY3" fmla="*/ 820687 h 5129212"/>
              <a:gd name="connsiteX4" fmla="*/ 0 w 6573406"/>
              <a:gd name="connsiteY4" fmla="*/ 825553 h 5129212"/>
              <a:gd name="connsiteX5" fmla="*/ 0 w 6573406"/>
              <a:gd name="connsiteY5" fmla="*/ 5129212 h 5129212"/>
              <a:gd name="connsiteX6" fmla="*/ 6573406 w 6573406"/>
              <a:gd name="connsiteY6" fmla="*/ 5129212 h 5129212"/>
              <a:gd name="connsiteX7" fmla="*/ 3968474 w 6573406"/>
              <a:gd name="connsiteY7" fmla="*/ 2531906 h 5129212"/>
              <a:gd name="connsiteX8" fmla="*/ 3962541 w 6573406"/>
              <a:gd name="connsiteY8" fmla="*/ 2531906 h 5129212"/>
              <a:gd name="connsiteX9" fmla="*/ 3956259 w 6573406"/>
              <a:gd name="connsiteY9" fmla="*/ 2531588 h 5129212"/>
              <a:gd name="connsiteX10" fmla="*/ 3950326 w 6573406"/>
              <a:gd name="connsiteY10" fmla="*/ 2530953 h 5129212"/>
              <a:gd name="connsiteX11" fmla="*/ 3944393 w 6573406"/>
              <a:gd name="connsiteY11" fmla="*/ 2530001 h 5129212"/>
              <a:gd name="connsiteX12" fmla="*/ 3938460 w 6573406"/>
              <a:gd name="connsiteY12" fmla="*/ 2528731 h 5129212"/>
              <a:gd name="connsiteX13" fmla="*/ 3932527 w 6573406"/>
              <a:gd name="connsiteY13" fmla="*/ 2527143 h 5129212"/>
              <a:gd name="connsiteX14" fmla="*/ 3926943 w 6573406"/>
              <a:gd name="connsiteY14" fmla="*/ 2525239 h 5129212"/>
              <a:gd name="connsiteX15" fmla="*/ 3921010 w 6573406"/>
              <a:gd name="connsiteY15" fmla="*/ 2523334 h 5129212"/>
              <a:gd name="connsiteX16" fmla="*/ 3915426 w 6573406"/>
              <a:gd name="connsiteY16" fmla="*/ 2520794 h 5129212"/>
              <a:gd name="connsiteX17" fmla="*/ 3909842 w 6573406"/>
              <a:gd name="connsiteY17" fmla="*/ 2517937 h 5129212"/>
              <a:gd name="connsiteX18" fmla="*/ 3904258 w 6573406"/>
              <a:gd name="connsiteY18" fmla="*/ 2515079 h 5129212"/>
              <a:gd name="connsiteX19" fmla="*/ 3899023 w 6573406"/>
              <a:gd name="connsiteY19" fmla="*/ 2511587 h 5129212"/>
              <a:gd name="connsiteX20" fmla="*/ 3893788 w 6573406"/>
              <a:gd name="connsiteY20" fmla="*/ 2508095 h 5129212"/>
              <a:gd name="connsiteX21" fmla="*/ 3888902 w 6573406"/>
              <a:gd name="connsiteY21" fmla="*/ 2504285 h 5129212"/>
              <a:gd name="connsiteX22" fmla="*/ 3884016 w 6573406"/>
              <a:gd name="connsiteY22" fmla="*/ 2500158 h 5129212"/>
              <a:gd name="connsiteX23" fmla="*/ 3879130 w 6573406"/>
              <a:gd name="connsiteY23" fmla="*/ 2495713 h 5129212"/>
              <a:gd name="connsiteX24" fmla="*/ 3266286 w 6573406"/>
              <a:gd name="connsiteY24" fmla="*/ 1883611 h 5129212"/>
              <a:gd name="connsiteX25" fmla="*/ 3261400 w 6573406"/>
              <a:gd name="connsiteY25" fmla="*/ 1879484 h 5129212"/>
              <a:gd name="connsiteX26" fmla="*/ 3256864 w 6573406"/>
              <a:gd name="connsiteY26" fmla="*/ 1875356 h 5129212"/>
              <a:gd name="connsiteX27" fmla="*/ 3251628 w 6573406"/>
              <a:gd name="connsiteY27" fmla="*/ 1871547 h 5129212"/>
              <a:gd name="connsiteX28" fmla="*/ 3246742 w 6573406"/>
              <a:gd name="connsiteY28" fmla="*/ 1868054 h 5129212"/>
              <a:gd name="connsiteX29" fmla="*/ 3241508 w 6573406"/>
              <a:gd name="connsiteY29" fmla="*/ 1864562 h 5129212"/>
              <a:gd name="connsiteX30" fmla="*/ 3235924 w 6573406"/>
              <a:gd name="connsiteY30" fmla="*/ 1861705 h 5129212"/>
              <a:gd name="connsiteX31" fmla="*/ 3230688 w 6573406"/>
              <a:gd name="connsiteY31" fmla="*/ 1858847 h 5129212"/>
              <a:gd name="connsiteX32" fmla="*/ 3225104 w 6573406"/>
              <a:gd name="connsiteY32" fmla="*/ 1856308 h 5129212"/>
              <a:gd name="connsiteX33" fmla="*/ 3219172 w 6573406"/>
              <a:gd name="connsiteY33" fmla="*/ 1854403 h 5129212"/>
              <a:gd name="connsiteX34" fmla="*/ 3213588 w 6573406"/>
              <a:gd name="connsiteY34" fmla="*/ 1852180 h 5129212"/>
              <a:gd name="connsiteX35" fmla="*/ 3207654 w 6573406"/>
              <a:gd name="connsiteY35" fmla="*/ 1850910 h 5129212"/>
              <a:gd name="connsiteX36" fmla="*/ 3202070 w 6573406"/>
              <a:gd name="connsiteY36" fmla="*/ 1849323 h 5129212"/>
              <a:gd name="connsiteX37" fmla="*/ 3196138 w 6573406"/>
              <a:gd name="connsiteY37" fmla="*/ 1848371 h 5129212"/>
              <a:gd name="connsiteX38" fmla="*/ 3190205 w 6573406"/>
              <a:gd name="connsiteY38" fmla="*/ 1847736 h 5129212"/>
              <a:gd name="connsiteX39" fmla="*/ 3184272 w 6573406"/>
              <a:gd name="connsiteY39" fmla="*/ 1847418 h 5129212"/>
              <a:gd name="connsiteX40" fmla="*/ 3177990 w 6573406"/>
              <a:gd name="connsiteY40" fmla="*/ 1847418 h 5129212"/>
              <a:gd name="connsiteX41" fmla="*/ 3172057 w 6573406"/>
              <a:gd name="connsiteY41" fmla="*/ 1847418 h 5129212"/>
              <a:gd name="connsiteX42" fmla="*/ 3166124 w 6573406"/>
              <a:gd name="connsiteY42" fmla="*/ 1847736 h 5129212"/>
              <a:gd name="connsiteX43" fmla="*/ 3160191 w 6573406"/>
              <a:gd name="connsiteY43" fmla="*/ 1848371 h 5129212"/>
              <a:gd name="connsiteX44" fmla="*/ 3154258 w 6573406"/>
              <a:gd name="connsiteY44" fmla="*/ 1849323 h 5129212"/>
              <a:gd name="connsiteX45" fmla="*/ 3148325 w 6573406"/>
              <a:gd name="connsiteY45" fmla="*/ 1850910 h 5129212"/>
              <a:gd name="connsiteX46" fmla="*/ 3142741 w 6573406"/>
              <a:gd name="connsiteY46" fmla="*/ 1852180 h 5129212"/>
              <a:gd name="connsiteX47" fmla="*/ 3136808 w 6573406"/>
              <a:gd name="connsiteY47" fmla="*/ 1854403 h 5129212"/>
              <a:gd name="connsiteX48" fmla="*/ 3131224 w 6573406"/>
              <a:gd name="connsiteY48" fmla="*/ 1856308 h 5129212"/>
              <a:gd name="connsiteX49" fmla="*/ 3125640 w 6573406"/>
              <a:gd name="connsiteY49" fmla="*/ 1858847 h 5129212"/>
              <a:gd name="connsiteX50" fmla="*/ 3120405 w 6573406"/>
              <a:gd name="connsiteY50" fmla="*/ 1861705 h 5129212"/>
              <a:gd name="connsiteX51" fmla="*/ 3114821 w 6573406"/>
              <a:gd name="connsiteY51" fmla="*/ 1864562 h 5129212"/>
              <a:gd name="connsiteX52" fmla="*/ 3109586 w 6573406"/>
              <a:gd name="connsiteY52" fmla="*/ 1868054 h 5129212"/>
              <a:gd name="connsiteX53" fmla="*/ 3104351 w 6573406"/>
              <a:gd name="connsiteY53" fmla="*/ 1871547 h 5129212"/>
              <a:gd name="connsiteX54" fmla="*/ 3099465 w 6573406"/>
              <a:gd name="connsiteY54" fmla="*/ 1875356 h 5129212"/>
              <a:gd name="connsiteX55" fmla="*/ 3094579 w 6573406"/>
              <a:gd name="connsiteY55" fmla="*/ 1879484 h 5129212"/>
              <a:gd name="connsiteX56" fmla="*/ 3090042 w 6573406"/>
              <a:gd name="connsiteY56" fmla="*/ 1883611 h 5129212"/>
              <a:gd name="connsiteX57" fmla="*/ 3085505 w 6573406"/>
              <a:gd name="connsiteY57" fmla="*/ 1888373 h 5129212"/>
              <a:gd name="connsiteX58" fmla="*/ 3081666 w 6573406"/>
              <a:gd name="connsiteY58" fmla="*/ 1893135 h 5129212"/>
              <a:gd name="connsiteX59" fmla="*/ 3077827 w 6573406"/>
              <a:gd name="connsiteY59" fmla="*/ 1898215 h 5129212"/>
              <a:gd name="connsiteX60" fmla="*/ 3073988 w 6573406"/>
              <a:gd name="connsiteY60" fmla="*/ 1903295 h 5129212"/>
              <a:gd name="connsiteX61" fmla="*/ 3070847 w 6573406"/>
              <a:gd name="connsiteY61" fmla="*/ 1908374 h 5129212"/>
              <a:gd name="connsiteX62" fmla="*/ 3067706 w 6573406"/>
              <a:gd name="connsiteY62" fmla="*/ 1914089 h 5129212"/>
              <a:gd name="connsiteX63" fmla="*/ 3065263 w 6573406"/>
              <a:gd name="connsiteY63" fmla="*/ 1919169 h 5129212"/>
              <a:gd name="connsiteX64" fmla="*/ 3062820 w 6573406"/>
              <a:gd name="connsiteY64" fmla="*/ 1924883 h 5129212"/>
              <a:gd name="connsiteX65" fmla="*/ 3060726 w 6573406"/>
              <a:gd name="connsiteY65" fmla="*/ 1930281 h 5129212"/>
              <a:gd name="connsiteX66" fmla="*/ 3058632 w 6573406"/>
              <a:gd name="connsiteY66" fmla="*/ 1936313 h 5129212"/>
              <a:gd name="connsiteX67" fmla="*/ 3057236 w 6573406"/>
              <a:gd name="connsiteY67" fmla="*/ 1942345 h 5129212"/>
              <a:gd name="connsiteX68" fmla="*/ 3055840 w 6573406"/>
              <a:gd name="connsiteY68" fmla="*/ 1947742 h 5129212"/>
              <a:gd name="connsiteX69" fmla="*/ 3054793 w 6573406"/>
              <a:gd name="connsiteY69" fmla="*/ 1953774 h 5129212"/>
              <a:gd name="connsiteX70" fmla="*/ 3054095 w 6573406"/>
              <a:gd name="connsiteY70" fmla="*/ 1959806 h 5129212"/>
              <a:gd name="connsiteX71" fmla="*/ 3053746 w 6573406"/>
              <a:gd name="connsiteY71" fmla="*/ 1965521 h 5129212"/>
              <a:gd name="connsiteX72" fmla="*/ 3053746 w 6573406"/>
              <a:gd name="connsiteY72" fmla="*/ 1971870 h 5129212"/>
              <a:gd name="connsiteX73" fmla="*/ 3053746 w 6573406"/>
              <a:gd name="connsiteY73" fmla="*/ 1977903 h 5129212"/>
              <a:gd name="connsiteX74" fmla="*/ 3054095 w 6573406"/>
              <a:gd name="connsiteY74" fmla="*/ 1983617 h 5129212"/>
              <a:gd name="connsiteX75" fmla="*/ 3054793 w 6573406"/>
              <a:gd name="connsiteY75" fmla="*/ 1989649 h 5129212"/>
              <a:gd name="connsiteX76" fmla="*/ 3055840 w 6573406"/>
              <a:gd name="connsiteY76" fmla="*/ 1995681 h 5129212"/>
              <a:gd name="connsiteX77" fmla="*/ 3057236 w 6573406"/>
              <a:gd name="connsiteY77" fmla="*/ 2001079 h 5129212"/>
              <a:gd name="connsiteX78" fmla="*/ 3058632 w 6573406"/>
              <a:gd name="connsiteY78" fmla="*/ 2007111 h 5129212"/>
              <a:gd name="connsiteX79" fmla="*/ 3060726 w 6573406"/>
              <a:gd name="connsiteY79" fmla="*/ 2013143 h 5129212"/>
              <a:gd name="connsiteX80" fmla="*/ 3062820 w 6573406"/>
              <a:gd name="connsiteY80" fmla="*/ 2018540 h 5129212"/>
              <a:gd name="connsiteX81" fmla="*/ 3065263 w 6573406"/>
              <a:gd name="connsiteY81" fmla="*/ 2024255 h 5129212"/>
              <a:gd name="connsiteX82" fmla="*/ 3067706 w 6573406"/>
              <a:gd name="connsiteY82" fmla="*/ 2029334 h 5129212"/>
              <a:gd name="connsiteX83" fmla="*/ 3070847 w 6573406"/>
              <a:gd name="connsiteY83" fmla="*/ 2035049 h 5129212"/>
              <a:gd name="connsiteX84" fmla="*/ 3073988 w 6573406"/>
              <a:gd name="connsiteY84" fmla="*/ 2040446 h 5129212"/>
              <a:gd name="connsiteX85" fmla="*/ 3077827 w 6573406"/>
              <a:gd name="connsiteY85" fmla="*/ 2045208 h 5129212"/>
              <a:gd name="connsiteX86" fmla="*/ 3081666 w 6573406"/>
              <a:gd name="connsiteY86" fmla="*/ 2050288 h 5129212"/>
              <a:gd name="connsiteX87" fmla="*/ 3085505 w 6573406"/>
              <a:gd name="connsiteY87" fmla="*/ 2055368 h 5129212"/>
              <a:gd name="connsiteX88" fmla="*/ 3090042 w 6573406"/>
              <a:gd name="connsiteY88" fmla="*/ 2059812 h 5129212"/>
              <a:gd name="connsiteX89" fmla="*/ 3916473 w 6573406"/>
              <a:gd name="connsiteY89" fmla="*/ 2884626 h 5129212"/>
              <a:gd name="connsiteX90" fmla="*/ 3920661 w 6573406"/>
              <a:gd name="connsiteY90" fmla="*/ 2889706 h 5129212"/>
              <a:gd name="connsiteX91" fmla="*/ 3924849 w 6573406"/>
              <a:gd name="connsiteY91" fmla="*/ 2894151 h 5129212"/>
              <a:gd name="connsiteX92" fmla="*/ 3928688 w 6573406"/>
              <a:gd name="connsiteY92" fmla="*/ 2899548 h 5129212"/>
              <a:gd name="connsiteX93" fmla="*/ 3932178 w 6573406"/>
              <a:gd name="connsiteY93" fmla="*/ 2904310 h 5129212"/>
              <a:gd name="connsiteX94" fmla="*/ 3935668 w 6573406"/>
              <a:gd name="connsiteY94" fmla="*/ 2909390 h 5129212"/>
              <a:gd name="connsiteX95" fmla="*/ 3938460 w 6573406"/>
              <a:gd name="connsiteY95" fmla="*/ 2915104 h 5129212"/>
              <a:gd name="connsiteX96" fmla="*/ 3941252 w 6573406"/>
              <a:gd name="connsiteY96" fmla="*/ 2920502 h 5129212"/>
              <a:gd name="connsiteX97" fmla="*/ 3943695 w 6573406"/>
              <a:gd name="connsiteY97" fmla="*/ 2925899 h 5129212"/>
              <a:gd name="connsiteX98" fmla="*/ 3945789 w 6573406"/>
              <a:gd name="connsiteY98" fmla="*/ 2931613 h 5129212"/>
              <a:gd name="connsiteX99" fmla="*/ 3947534 w 6573406"/>
              <a:gd name="connsiteY99" fmla="*/ 2937328 h 5129212"/>
              <a:gd name="connsiteX100" fmla="*/ 3949279 w 6573406"/>
              <a:gd name="connsiteY100" fmla="*/ 2943360 h 5129212"/>
              <a:gd name="connsiteX101" fmla="*/ 3950675 w 6573406"/>
              <a:gd name="connsiteY101" fmla="*/ 2949075 h 5129212"/>
              <a:gd name="connsiteX102" fmla="*/ 3951373 w 6573406"/>
              <a:gd name="connsiteY102" fmla="*/ 2954789 h 5129212"/>
              <a:gd name="connsiteX103" fmla="*/ 3952071 w 6573406"/>
              <a:gd name="connsiteY103" fmla="*/ 2960822 h 5129212"/>
              <a:gd name="connsiteX104" fmla="*/ 3952769 w 6573406"/>
              <a:gd name="connsiteY104" fmla="*/ 2966854 h 5129212"/>
              <a:gd name="connsiteX105" fmla="*/ 3952769 w 6573406"/>
              <a:gd name="connsiteY105" fmla="*/ 2973203 h 5129212"/>
              <a:gd name="connsiteX106" fmla="*/ 3952769 w 6573406"/>
              <a:gd name="connsiteY106" fmla="*/ 2978918 h 5129212"/>
              <a:gd name="connsiteX107" fmla="*/ 3952071 w 6573406"/>
              <a:gd name="connsiteY107" fmla="*/ 2984950 h 5129212"/>
              <a:gd name="connsiteX108" fmla="*/ 3951373 w 6573406"/>
              <a:gd name="connsiteY108" fmla="*/ 2990982 h 5129212"/>
              <a:gd name="connsiteX109" fmla="*/ 3950675 w 6573406"/>
              <a:gd name="connsiteY109" fmla="*/ 2996697 h 5129212"/>
              <a:gd name="connsiteX110" fmla="*/ 3949279 w 6573406"/>
              <a:gd name="connsiteY110" fmla="*/ 3002411 h 5129212"/>
              <a:gd name="connsiteX111" fmla="*/ 3947534 w 6573406"/>
              <a:gd name="connsiteY111" fmla="*/ 3008444 h 5129212"/>
              <a:gd name="connsiteX112" fmla="*/ 3945789 w 6573406"/>
              <a:gd name="connsiteY112" fmla="*/ 3014158 h 5129212"/>
              <a:gd name="connsiteX113" fmla="*/ 3943695 w 6573406"/>
              <a:gd name="connsiteY113" fmla="*/ 3019873 h 5129212"/>
              <a:gd name="connsiteX114" fmla="*/ 3941252 w 6573406"/>
              <a:gd name="connsiteY114" fmla="*/ 3025270 h 5129212"/>
              <a:gd name="connsiteX115" fmla="*/ 3938460 w 6573406"/>
              <a:gd name="connsiteY115" fmla="*/ 3030667 h 5129212"/>
              <a:gd name="connsiteX116" fmla="*/ 3935668 w 6573406"/>
              <a:gd name="connsiteY116" fmla="*/ 3036064 h 5129212"/>
              <a:gd name="connsiteX117" fmla="*/ 3932178 w 6573406"/>
              <a:gd name="connsiteY117" fmla="*/ 3041462 h 5129212"/>
              <a:gd name="connsiteX118" fmla="*/ 3928688 w 6573406"/>
              <a:gd name="connsiteY118" fmla="*/ 3046224 h 5129212"/>
              <a:gd name="connsiteX119" fmla="*/ 3924849 w 6573406"/>
              <a:gd name="connsiteY119" fmla="*/ 3051621 h 5129212"/>
              <a:gd name="connsiteX120" fmla="*/ 3920661 w 6573406"/>
              <a:gd name="connsiteY120" fmla="*/ 3056066 h 5129212"/>
              <a:gd name="connsiteX121" fmla="*/ 3916473 w 6573406"/>
              <a:gd name="connsiteY121" fmla="*/ 3060828 h 5129212"/>
              <a:gd name="connsiteX122" fmla="*/ 3911587 w 6573406"/>
              <a:gd name="connsiteY122" fmla="*/ 3065273 h 5129212"/>
              <a:gd name="connsiteX123" fmla="*/ 3906701 w 6573406"/>
              <a:gd name="connsiteY123" fmla="*/ 3069400 h 5129212"/>
              <a:gd name="connsiteX124" fmla="*/ 3901815 w 6573406"/>
              <a:gd name="connsiteY124" fmla="*/ 3073210 h 5129212"/>
              <a:gd name="connsiteX125" fmla="*/ 3896929 w 6573406"/>
              <a:gd name="connsiteY125" fmla="*/ 3077019 h 5129212"/>
              <a:gd name="connsiteX126" fmla="*/ 3891694 w 6573406"/>
              <a:gd name="connsiteY126" fmla="*/ 3080194 h 5129212"/>
              <a:gd name="connsiteX127" fmla="*/ 3886110 w 6573406"/>
              <a:gd name="connsiteY127" fmla="*/ 3083051 h 5129212"/>
              <a:gd name="connsiteX128" fmla="*/ 3880177 w 6573406"/>
              <a:gd name="connsiteY128" fmla="*/ 3085909 h 5129212"/>
              <a:gd name="connsiteX129" fmla="*/ 3874593 w 6573406"/>
              <a:gd name="connsiteY129" fmla="*/ 3088131 h 5129212"/>
              <a:gd name="connsiteX130" fmla="*/ 3869009 w 6573406"/>
              <a:gd name="connsiteY130" fmla="*/ 3090354 h 5129212"/>
              <a:gd name="connsiteX131" fmla="*/ 3863425 w 6573406"/>
              <a:gd name="connsiteY131" fmla="*/ 3092258 h 5129212"/>
              <a:gd name="connsiteX132" fmla="*/ 3857492 w 6573406"/>
              <a:gd name="connsiteY132" fmla="*/ 3093846 h 5129212"/>
              <a:gd name="connsiteX133" fmla="*/ 3851559 w 6573406"/>
              <a:gd name="connsiteY133" fmla="*/ 3095116 h 5129212"/>
              <a:gd name="connsiteX134" fmla="*/ 3845626 w 6573406"/>
              <a:gd name="connsiteY134" fmla="*/ 3096068 h 5129212"/>
              <a:gd name="connsiteX135" fmla="*/ 3839693 w 6573406"/>
              <a:gd name="connsiteY135" fmla="*/ 3097021 h 5129212"/>
              <a:gd name="connsiteX136" fmla="*/ 3833760 w 6573406"/>
              <a:gd name="connsiteY136" fmla="*/ 3097338 h 5129212"/>
              <a:gd name="connsiteX137" fmla="*/ 3827827 w 6573406"/>
              <a:gd name="connsiteY137" fmla="*/ 3097338 h 5129212"/>
              <a:gd name="connsiteX138" fmla="*/ 3821894 w 6573406"/>
              <a:gd name="connsiteY138" fmla="*/ 3097338 h 5129212"/>
              <a:gd name="connsiteX139" fmla="*/ 3815961 w 6573406"/>
              <a:gd name="connsiteY139" fmla="*/ 3097021 h 5129212"/>
              <a:gd name="connsiteX140" fmla="*/ 3810028 w 6573406"/>
              <a:gd name="connsiteY140" fmla="*/ 3096068 h 5129212"/>
              <a:gd name="connsiteX141" fmla="*/ 3804095 w 6573406"/>
              <a:gd name="connsiteY141" fmla="*/ 3095116 h 5129212"/>
              <a:gd name="connsiteX142" fmla="*/ 3798162 w 6573406"/>
              <a:gd name="connsiteY142" fmla="*/ 3093846 h 5129212"/>
              <a:gd name="connsiteX143" fmla="*/ 3792578 w 6573406"/>
              <a:gd name="connsiteY143" fmla="*/ 3092258 h 5129212"/>
              <a:gd name="connsiteX144" fmla="*/ 3786645 w 6573406"/>
              <a:gd name="connsiteY144" fmla="*/ 3090354 h 5129212"/>
              <a:gd name="connsiteX145" fmla="*/ 3781061 w 6573406"/>
              <a:gd name="connsiteY145" fmla="*/ 3088131 h 5129212"/>
              <a:gd name="connsiteX146" fmla="*/ 3775477 w 6573406"/>
              <a:gd name="connsiteY146" fmla="*/ 3085909 h 5129212"/>
              <a:gd name="connsiteX147" fmla="*/ 3769893 w 6573406"/>
              <a:gd name="connsiteY147" fmla="*/ 3083051 h 5129212"/>
              <a:gd name="connsiteX148" fmla="*/ 3764658 w 6573406"/>
              <a:gd name="connsiteY148" fmla="*/ 3080194 h 5129212"/>
              <a:gd name="connsiteX149" fmla="*/ 3759423 w 6573406"/>
              <a:gd name="connsiteY149" fmla="*/ 3077019 h 5129212"/>
              <a:gd name="connsiteX150" fmla="*/ 3754188 w 6573406"/>
              <a:gd name="connsiteY150" fmla="*/ 3073210 h 5129212"/>
              <a:gd name="connsiteX151" fmla="*/ 3749302 w 6573406"/>
              <a:gd name="connsiteY151" fmla="*/ 3069400 h 5129212"/>
              <a:gd name="connsiteX152" fmla="*/ 3744416 w 6573406"/>
              <a:gd name="connsiteY152" fmla="*/ 3065273 h 5129212"/>
              <a:gd name="connsiteX153" fmla="*/ 3739879 w 6573406"/>
              <a:gd name="connsiteY153" fmla="*/ 3060828 h 5129212"/>
              <a:gd name="connsiteX154" fmla="*/ 3013960 w 6573406"/>
              <a:gd name="connsiteY154" fmla="*/ 2336338 h 5129212"/>
              <a:gd name="connsiteX155" fmla="*/ 3009423 w 6573406"/>
              <a:gd name="connsiteY155" fmla="*/ 2331576 h 5129212"/>
              <a:gd name="connsiteX156" fmla="*/ 3004537 w 6573406"/>
              <a:gd name="connsiteY156" fmla="*/ 2327448 h 5129212"/>
              <a:gd name="connsiteX157" fmla="*/ 2999651 w 6573406"/>
              <a:gd name="connsiteY157" fmla="*/ 2323639 h 5129212"/>
              <a:gd name="connsiteX158" fmla="*/ 2994416 w 6573406"/>
              <a:gd name="connsiteY158" fmla="*/ 2320146 h 5129212"/>
              <a:gd name="connsiteX159" fmla="*/ 2989181 w 6573406"/>
              <a:gd name="connsiteY159" fmla="*/ 2316971 h 5129212"/>
              <a:gd name="connsiteX160" fmla="*/ 2983946 w 6573406"/>
              <a:gd name="connsiteY160" fmla="*/ 2313797 h 5129212"/>
              <a:gd name="connsiteX161" fmla="*/ 2978362 w 6573406"/>
              <a:gd name="connsiteY161" fmla="*/ 2310939 h 5129212"/>
              <a:gd name="connsiteX162" fmla="*/ 2972778 w 6573406"/>
              <a:gd name="connsiteY162" fmla="*/ 2308717 h 5129212"/>
              <a:gd name="connsiteX163" fmla="*/ 2967194 w 6573406"/>
              <a:gd name="connsiteY163" fmla="*/ 2306495 h 5129212"/>
              <a:gd name="connsiteX164" fmla="*/ 2961261 w 6573406"/>
              <a:gd name="connsiteY164" fmla="*/ 2304907 h 5129212"/>
              <a:gd name="connsiteX165" fmla="*/ 2955677 w 6573406"/>
              <a:gd name="connsiteY165" fmla="*/ 2303002 h 5129212"/>
              <a:gd name="connsiteX166" fmla="*/ 2949744 w 6573406"/>
              <a:gd name="connsiteY166" fmla="*/ 2302050 h 5129212"/>
              <a:gd name="connsiteX167" fmla="*/ 2943811 w 6573406"/>
              <a:gd name="connsiteY167" fmla="*/ 2301097 h 5129212"/>
              <a:gd name="connsiteX168" fmla="*/ 2937878 w 6573406"/>
              <a:gd name="connsiteY168" fmla="*/ 2300145 h 5129212"/>
              <a:gd name="connsiteX169" fmla="*/ 2931945 w 6573406"/>
              <a:gd name="connsiteY169" fmla="*/ 2299828 h 5129212"/>
              <a:gd name="connsiteX170" fmla="*/ 2926012 w 6573406"/>
              <a:gd name="connsiteY170" fmla="*/ 2299510 h 5129212"/>
              <a:gd name="connsiteX171" fmla="*/ 2919730 w 6573406"/>
              <a:gd name="connsiteY171" fmla="*/ 2299828 h 5129212"/>
              <a:gd name="connsiteX172" fmla="*/ 2913797 w 6573406"/>
              <a:gd name="connsiteY172" fmla="*/ 2300145 h 5129212"/>
              <a:gd name="connsiteX173" fmla="*/ 2907864 w 6573406"/>
              <a:gd name="connsiteY173" fmla="*/ 2301097 h 5129212"/>
              <a:gd name="connsiteX174" fmla="*/ 2901931 w 6573406"/>
              <a:gd name="connsiteY174" fmla="*/ 2302050 h 5129212"/>
              <a:gd name="connsiteX175" fmla="*/ 2896347 w 6573406"/>
              <a:gd name="connsiteY175" fmla="*/ 2303002 h 5129212"/>
              <a:gd name="connsiteX176" fmla="*/ 2890414 w 6573406"/>
              <a:gd name="connsiteY176" fmla="*/ 2304907 h 5129212"/>
              <a:gd name="connsiteX177" fmla="*/ 2884830 w 6573406"/>
              <a:gd name="connsiteY177" fmla="*/ 2306495 h 5129212"/>
              <a:gd name="connsiteX178" fmla="*/ 2878897 w 6573406"/>
              <a:gd name="connsiteY178" fmla="*/ 2308717 h 5129212"/>
              <a:gd name="connsiteX179" fmla="*/ 2873313 w 6573406"/>
              <a:gd name="connsiteY179" fmla="*/ 2310939 h 5129212"/>
              <a:gd name="connsiteX180" fmla="*/ 2868078 w 6573406"/>
              <a:gd name="connsiteY180" fmla="*/ 2313797 h 5129212"/>
              <a:gd name="connsiteX181" fmla="*/ 2862494 w 6573406"/>
              <a:gd name="connsiteY181" fmla="*/ 2316971 h 5129212"/>
              <a:gd name="connsiteX182" fmla="*/ 2857259 w 6573406"/>
              <a:gd name="connsiteY182" fmla="*/ 2320146 h 5129212"/>
              <a:gd name="connsiteX183" fmla="*/ 2852373 w 6573406"/>
              <a:gd name="connsiteY183" fmla="*/ 2323639 h 5129212"/>
              <a:gd name="connsiteX184" fmla="*/ 2847138 w 6573406"/>
              <a:gd name="connsiteY184" fmla="*/ 2327448 h 5129212"/>
              <a:gd name="connsiteX185" fmla="*/ 2842601 w 6573406"/>
              <a:gd name="connsiteY185" fmla="*/ 2331576 h 5129212"/>
              <a:gd name="connsiteX186" fmla="*/ 2837715 w 6573406"/>
              <a:gd name="connsiteY186" fmla="*/ 2336338 h 5129212"/>
              <a:gd name="connsiteX187" fmla="*/ 2833527 w 6573406"/>
              <a:gd name="connsiteY187" fmla="*/ 2340783 h 5129212"/>
              <a:gd name="connsiteX188" fmla="*/ 2829339 w 6573406"/>
              <a:gd name="connsiteY188" fmla="*/ 2345545 h 5129212"/>
              <a:gd name="connsiteX189" fmla="*/ 2825500 w 6573406"/>
              <a:gd name="connsiteY189" fmla="*/ 2350624 h 5129212"/>
              <a:gd name="connsiteX190" fmla="*/ 2822010 w 6573406"/>
              <a:gd name="connsiteY190" fmla="*/ 2355704 h 5129212"/>
              <a:gd name="connsiteX191" fmla="*/ 2818520 w 6573406"/>
              <a:gd name="connsiteY191" fmla="*/ 2361101 h 5129212"/>
              <a:gd name="connsiteX192" fmla="*/ 2815728 w 6573406"/>
              <a:gd name="connsiteY192" fmla="*/ 2366181 h 5129212"/>
              <a:gd name="connsiteX193" fmla="*/ 2812936 w 6573406"/>
              <a:gd name="connsiteY193" fmla="*/ 2371896 h 5129212"/>
              <a:gd name="connsiteX194" fmla="*/ 2810493 w 6573406"/>
              <a:gd name="connsiteY194" fmla="*/ 2377293 h 5129212"/>
              <a:gd name="connsiteX195" fmla="*/ 2808399 w 6573406"/>
              <a:gd name="connsiteY195" fmla="*/ 2383007 h 5129212"/>
              <a:gd name="connsiteX196" fmla="*/ 2806305 w 6573406"/>
              <a:gd name="connsiteY196" fmla="*/ 2388405 h 5129212"/>
              <a:gd name="connsiteX197" fmla="*/ 2804909 w 6573406"/>
              <a:gd name="connsiteY197" fmla="*/ 2394437 h 5129212"/>
              <a:gd name="connsiteX198" fmla="*/ 2803513 w 6573406"/>
              <a:gd name="connsiteY198" fmla="*/ 2400469 h 5129212"/>
              <a:gd name="connsiteX199" fmla="*/ 2802466 w 6573406"/>
              <a:gd name="connsiteY199" fmla="*/ 2406501 h 5129212"/>
              <a:gd name="connsiteX200" fmla="*/ 2801768 w 6573406"/>
              <a:gd name="connsiteY200" fmla="*/ 2412216 h 5129212"/>
              <a:gd name="connsiteX201" fmla="*/ 2801419 w 6573406"/>
              <a:gd name="connsiteY201" fmla="*/ 2418248 h 5129212"/>
              <a:gd name="connsiteX202" fmla="*/ 2801419 w 6573406"/>
              <a:gd name="connsiteY202" fmla="*/ 2424280 h 5129212"/>
              <a:gd name="connsiteX203" fmla="*/ 2801419 w 6573406"/>
              <a:gd name="connsiteY203" fmla="*/ 2429994 h 5129212"/>
              <a:gd name="connsiteX204" fmla="*/ 2801768 w 6573406"/>
              <a:gd name="connsiteY204" fmla="*/ 2436027 h 5129212"/>
              <a:gd name="connsiteX205" fmla="*/ 2802466 w 6573406"/>
              <a:gd name="connsiteY205" fmla="*/ 2442059 h 5129212"/>
              <a:gd name="connsiteX206" fmla="*/ 2803513 w 6573406"/>
              <a:gd name="connsiteY206" fmla="*/ 2447773 h 5129212"/>
              <a:gd name="connsiteX207" fmla="*/ 2804909 w 6573406"/>
              <a:gd name="connsiteY207" fmla="*/ 2453805 h 5129212"/>
              <a:gd name="connsiteX208" fmla="*/ 2806305 w 6573406"/>
              <a:gd name="connsiteY208" fmla="*/ 2459838 h 5129212"/>
              <a:gd name="connsiteX209" fmla="*/ 2808399 w 6573406"/>
              <a:gd name="connsiteY209" fmla="*/ 2465235 h 5129212"/>
              <a:gd name="connsiteX210" fmla="*/ 2810493 w 6573406"/>
              <a:gd name="connsiteY210" fmla="*/ 2470949 h 5129212"/>
              <a:gd name="connsiteX211" fmla="*/ 2812936 w 6573406"/>
              <a:gd name="connsiteY211" fmla="*/ 2476347 h 5129212"/>
              <a:gd name="connsiteX212" fmla="*/ 2815728 w 6573406"/>
              <a:gd name="connsiteY212" fmla="*/ 2482061 h 5129212"/>
              <a:gd name="connsiteX213" fmla="*/ 2818520 w 6573406"/>
              <a:gd name="connsiteY213" fmla="*/ 2487458 h 5129212"/>
              <a:gd name="connsiteX214" fmla="*/ 2822010 w 6573406"/>
              <a:gd name="connsiteY214" fmla="*/ 2492538 h 5129212"/>
              <a:gd name="connsiteX215" fmla="*/ 2825500 w 6573406"/>
              <a:gd name="connsiteY215" fmla="*/ 2497935 h 5129212"/>
              <a:gd name="connsiteX216" fmla="*/ 2829339 w 6573406"/>
              <a:gd name="connsiteY216" fmla="*/ 2502697 h 5129212"/>
              <a:gd name="connsiteX217" fmla="*/ 2833527 w 6573406"/>
              <a:gd name="connsiteY217" fmla="*/ 2507460 h 5129212"/>
              <a:gd name="connsiteX218" fmla="*/ 2837715 w 6573406"/>
              <a:gd name="connsiteY218" fmla="*/ 2512222 h 5129212"/>
              <a:gd name="connsiteX219" fmla="*/ 4276989 w 6573406"/>
              <a:gd name="connsiteY219" fmla="*/ 3949455 h 5129212"/>
              <a:gd name="connsiteX220" fmla="*/ 4281177 w 6573406"/>
              <a:gd name="connsiteY220" fmla="*/ 3953900 h 5129212"/>
              <a:gd name="connsiteX221" fmla="*/ 4285365 w 6573406"/>
              <a:gd name="connsiteY221" fmla="*/ 3958980 h 5129212"/>
              <a:gd name="connsiteX222" fmla="*/ 4289204 w 6573406"/>
              <a:gd name="connsiteY222" fmla="*/ 3963742 h 5129212"/>
              <a:gd name="connsiteX223" fmla="*/ 4292694 w 6573406"/>
              <a:gd name="connsiteY223" fmla="*/ 3968822 h 5129212"/>
              <a:gd name="connsiteX224" fmla="*/ 4296184 w 6573406"/>
              <a:gd name="connsiteY224" fmla="*/ 3974219 h 5129212"/>
              <a:gd name="connsiteX225" fmla="*/ 4298976 w 6573406"/>
              <a:gd name="connsiteY225" fmla="*/ 3979298 h 5129212"/>
              <a:gd name="connsiteX226" fmla="*/ 4301768 w 6573406"/>
              <a:gd name="connsiteY226" fmla="*/ 3985013 h 5129212"/>
              <a:gd name="connsiteX227" fmla="*/ 4304211 w 6573406"/>
              <a:gd name="connsiteY227" fmla="*/ 3990728 h 5129212"/>
              <a:gd name="connsiteX228" fmla="*/ 4306305 w 6573406"/>
              <a:gd name="connsiteY228" fmla="*/ 3996125 h 5129212"/>
              <a:gd name="connsiteX229" fmla="*/ 4308050 w 6573406"/>
              <a:gd name="connsiteY229" fmla="*/ 4001840 h 5129212"/>
              <a:gd name="connsiteX230" fmla="*/ 4309795 w 6573406"/>
              <a:gd name="connsiteY230" fmla="*/ 4007554 h 5129212"/>
              <a:gd name="connsiteX231" fmla="*/ 4311191 w 6573406"/>
              <a:gd name="connsiteY231" fmla="*/ 4013586 h 5129212"/>
              <a:gd name="connsiteX232" fmla="*/ 4311889 w 6573406"/>
              <a:gd name="connsiteY232" fmla="*/ 4019618 h 5129212"/>
              <a:gd name="connsiteX233" fmla="*/ 4312587 w 6573406"/>
              <a:gd name="connsiteY233" fmla="*/ 4025333 h 5129212"/>
              <a:gd name="connsiteX234" fmla="*/ 4313285 w 6573406"/>
              <a:gd name="connsiteY234" fmla="*/ 4031365 h 5129212"/>
              <a:gd name="connsiteX235" fmla="*/ 4313285 w 6573406"/>
              <a:gd name="connsiteY235" fmla="*/ 4037397 h 5129212"/>
              <a:gd name="connsiteX236" fmla="*/ 4313285 w 6573406"/>
              <a:gd name="connsiteY236" fmla="*/ 4043429 h 5129212"/>
              <a:gd name="connsiteX237" fmla="*/ 4312587 w 6573406"/>
              <a:gd name="connsiteY237" fmla="*/ 4049144 h 5129212"/>
              <a:gd name="connsiteX238" fmla="*/ 4311889 w 6573406"/>
              <a:gd name="connsiteY238" fmla="*/ 4055176 h 5129212"/>
              <a:gd name="connsiteX239" fmla="*/ 4311191 w 6573406"/>
              <a:gd name="connsiteY239" fmla="*/ 4061208 h 5129212"/>
              <a:gd name="connsiteX240" fmla="*/ 4309795 w 6573406"/>
              <a:gd name="connsiteY240" fmla="*/ 4066923 h 5129212"/>
              <a:gd name="connsiteX241" fmla="*/ 4308050 w 6573406"/>
              <a:gd name="connsiteY241" fmla="*/ 4072955 h 5129212"/>
              <a:gd name="connsiteX242" fmla="*/ 4306305 w 6573406"/>
              <a:gd name="connsiteY242" fmla="*/ 4078670 h 5129212"/>
              <a:gd name="connsiteX243" fmla="*/ 4304211 w 6573406"/>
              <a:gd name="connsiteY243" fmla="*/ 4084067 h 5129212"/>
              <a:gd name="connsiteX244" fmla="*/ 4301768 w 6573406"/>
              <a:gd name="connsiteY244" fmla="*/ 4089782 h 5129212"/>
              <a:gd name="connsiteX245" fmla="*/ 4298976 w 6573406"/>
              <a:gd name="connsiteY245" fmla="*/ 4095179 h 5129212"/>
              <a:gd name="connsiteX246" fmla="*/ 4296184 w 6573406"/>
              <a:gd name="connsiteY246" fmla="*/ 4100576 h 5129212"/>
              <a:gd name="connsiteX247" fmla="*/ 4292694 w 6573406"/>
              <a:gd name="connsiteY247" fmla="*/ 4105656 h 5129212"/>
              <a:gd name="connsiteX248" fmla="*/ 4289204 w 6573406"/>
              <a:gd name="connsiteY248" fmla="*/ 4111053 h 5129212"/>
              <a:gd name="connsiteX249" fmla="*/ 4285365 w 6573406"/>
              <a:gd name="connsiteY249" fmla="*/ 4115815 h 5129212"/>
              <a:gd name="connsiteX250" fmla="*/ 4281177 w 6573406"/>
              <a:gd name="connsiteY250" fmla="*/ 4120895 h 5129212"/>
              <a:gd name="connsiteX251" fmla="*/ 4276989 w 6573406"/>
              <a:gd name="connsiteY251" fmla="*/ 4125339 h 5129212"/>
              <a:gd name="connsiteX252" fmla="*/ 4272801 w 6573406"/>
              <a:gd name="connsiteY252" fmla="*/ 4129149 h 5129212"/>
              <a:gd name="connsiteX253" fmla="*/ 4268613 w 6573406"/>
              <a:gd name="connsiteY253" fmla="*/ 4132959 h 5129212"/>
              <a:gd name="connsiteX254" fmla="*/ 4264425 w 6573406"/>
              <a:gd name="connsiteY254" fmla="*/ 4136134 h 5129212"/>
              <a:gd name="connsiteX255" fmla="*/ 4259888 w 6573406"/>
              <a:gd name="connsiteY255" fmla="*/ 4139626 h 5129212"/>
              <a:gd name="connsiteX256" fmla="*/ 4255700 w 6573406"/>
              <a:gd name="connsiteY256" fmla="*/ 4142483 h 5129212"/>
              <a:gd name="connsiteX257" fmla="*/ 4250814 w 6573406"/>
              <a:gd name="connsiteY257" fmla="*/ 4145023 h 5129212"/>
              <a:gd name="connsiteX258" fmla="*/ 4246277 w 6573406"/>
              <a:gd name="connsiteY258" fmla="*/ 4147880 h 5129212"/>
              <a:gd name="connsiteX259" fmla="*/ 4241391 w 6573406"/>
              <a:gd name="connsiteY259" fmla="*/ 4150103 h 5129212"/>
              <a:gd name="connsiteX260" fmla="*/ 4236854 w 6573406"/>
              <a:gd name="connsiteY260" fmla="*/ 4152008 h 5129212"/>
              <a:gd name="connsiteX261" fmla="*/ 4231619 w 6573406"/>
              <a:gd name="connsiteY261" fmla="*/ 4154230 h 5129212"/>
              <a:gd name="connsiteX262" fmla="*/ 4226733 w 6573406"/>
              <a:gd name="connsiteY262" fmla="*/ 4156135 h 5129212"/>
              <a:gd name="connsiteX263" fmla="*/ 4221847 w 6573406"/>
              <a:gd name="connsiteY263" fmla="*/ 4157405 h 5129212"/>
              <a:gd name="connsiteX264" fmla="*/ 4216612 w 6573406"/>
              <a:gd name="connsiteY264" fmla="*/ 4158675 h 5129212"/>
              <a:gd name="connsiteX265" fmla="*/ 4211726 w 6573406"/>
              <a:gd name="connsiteY265" fmla="*/ 4159945 h 5129212"/>
              <a:gd name="connsiteX266" fmla="*/ 4206491 w 6573406"/>
              <a:gd name="connsiteY266" fmla="*/ 4160580 h 5129212"/>
              <a:gd name="connsiteX267" fmla="*/ 4201256 w 6573406"/>
              <a:gd name="connsiteY267" fmla="*/ 4161215 h 5129212"/>
              <a:gd name="connsiteX268" fmla="*/ 4196022 w 6573406"/>
              <a:gd name="connsiteY268" fmla="*/ 4161532 h 5129212"/>
              <a:gd name="connsiteX269" fmla="*/ 4191135 w 6573406"/>
              <a:gd name="connsiteY269" fmla="*/ 4161532 h 5129212"/>
              <a:gd name="connsiteX270" fmla="*/ 4185900 w 6573406"/>
              <a:gd name="connsiteY270" fmla="*/ 4161532 h 5129212"/>
              <a:gd name="connsiteX271" fmla="*/ 4180665 w 6573406"/>
              <a:gd name="connsiteY271" fmla="*/ 4161532 h 5129212"/>
              <a:gd name="connsiteX272" fmla="*/ 4175430 w 6573406"/>
              <a:gd name="connsiteY272" fmla="*/ 4160897 h 5129212"/>
              <a:gd name="connsiteX273" fmla="*/ 4170195 w 6573406"/>
              <a:gd name="connsiteY273" fmla="*/ 4160580 h 5129212"/>
              <a:gd name="connsiteX274" fmla="*/ 4165309 w 6573406"/>
              <a:gd name="connsiteY274" fmla="*/ 4159627 h 5129212"/>
              <a:gd name="connsiteX275" fmla="*/ 4159725 w 6573406"/>
              <a:gd name="connsiteY275" fmla="*/ 4158357 h 5129212"/>
              <a:gd name="connsiteX276" fmla="*/ 4154490 w 6573406"/>
              <a:gd name="connsiteY276" fmla="*/ 4157087 h 5129212"/>
              <a:gd name="connsiteX277" fmla="*/ 4149604 w 6573406"/>
              <a:gd name="connsiteY277" fmla="*/ 4155500 h 5129212"/>
              <a:gd name="connsiteX278" fmla="*/ 4144718 w 6573406"/>
              <a:gd name="connsiteY278" fmla="*/ 4153913 h 5129212"/>
              <a:gd name="connsiteX279" fmla="*/ 4139832 w 6573406"/>
              <a:gd name="connsiteY279" fmla="*/ 4151690 h 5129212"/>
              <a:gd name="connsiteX280" fmla="*/ 4134946 w 6573406"/>
              <a:gd name="connsiteY280" fmla="*/ 4149785 h 5129212"/>
              <a:gd name="connsiteX281" fmla="*/ 4130409 w 6573406"/>
              <a:gd name="connsiteY281" fmla="*/ 4147246 h 5129212"/>
              <a:gd name="connsiteX282" fmla="*/ 4125523 w 6573406"/>
              <a:gd name="connsiteY282" fmla="*/ 4144706 h 5129212"/>
              <a:gd name="connsiteX283" fmla="*/ 4120986 w 6573406"/>
              <a:gd name="connsiteY283" fmla="*/ 4142166 h 5129212"/>
              <a:gd name="connsiteX0" fmla="*/ 0 w 6573406"/>
              <a:gd name="connsiteY0" fmla="*/ 0 h 5129212"/>
              <a:gd name="connsiteX1" fmla="*/ 0 w 6573406"/>
              <a:gd name="connsiteY1" fmla="*/ 409574 h 5129212"/>
              <a:gd name="connsiteX2" fmla="*/ 0 w 6573406"/>
              <a:gd name="connsiteY2" fmla="*/ 467649 h 5129212"/>
              <a:gd name="connsiteX3" fmla="*/ 0 w 6573406"/>
              <a:gd name="connsiteY3" fmla="*/ 820687 h 5129212"/>
              <a:gd name="connsiteX4" fmla="*/ 0 w 6573406"/>
              <a:gd name="connsiteY4" fmla="*/ 5129212 h 5129212"/>
              <a:gd name="connsiteX5" fmla="*/ 6573406 w 6573406"/>
              <a:gd name="connsiteY5" fmla="*/ 5129212 h 5129212"/>
              <a:gd name="connsiteX6" fmla="*/ 3968474 w 6573406"/>
              <a:gd name="connsiteY6" fmla="*/ 2531906 h 5129212"/>
              <a:gd name="connsiteX7" fmla="*/ 3962541 w 6573406"/>
              <a:gd name="connsiteY7" fmla="*/ 2531906 h 5129212"/>
              <a:gd name="connsiteX8" fmla="*/ 3956259 w 6573406"/>
              <a:gd name="connsiteY8" fmla="*/ 2531588 h 5129212"/>
              <a:gd name="connsiteX9" fmla="*/ 3950326 w 6573406"/>
              <a:gd name="connsiteY9" fmla="*/ 2530953 h 5129212"/>
              <a:gd name="connsiteX10" fmla="*/ 3944393 w 6573406"/>
              <a:gd name="connsiteY10" fmla="*/ 2530001 h 5129212"/>
              <a:gd name="connsiteX11" fmla="*/ 3938460 w 6573406"/>
              <a:gd name="connsiteY11" fmla="*/ 2528731 h 5129212"/>
              <a:gd name="connsiteX12" fmla="*/ 3932527 w 6573406"/>
              <a:gd name="connsiteY12" fmla="*/ 2527143 h 5129212"/>
              <a:gd name="connsiteX13" fmla="*/ 3926943 w 6573406"/>
              <a:gd name="connsiteY13" fmla="*/ 2525239 h 5129212"/>
              <a:gd name="connsiteX14" fmla="*/ 3921010 w 6573406"/>
              <a:gd name="connsiteY14" fmla="*/ 2523334 h 5129212"/>
              <a:gd name="connsiteX15" fmla="*/ 3915426 w 6573406"/>
              <a:gd name="connsiteY15" fmla="*/ 2520794 h 5129212"/>
              <a:gd name="connsiteX16" fmla="*/ 3909842 w 6573406"/>
              <a:gd name="connsiteY16" fmla="*/ 2517937 h 5129212"/>
              <a:gd name="connsiteX17" fmla="*/ 3904258 w 6573406"/>
              <a:gd name="connsiteY17" fmla="*/ 2515079 h 5129212"/>
              <a:gd name="connsiteX18" fmla="*/ 3899023 w 6573406"/>
              <a:gd name="connsiteY18" fmla="*/ 2511587 h 5129212"/>
              <a:gd name="connsiteX19" fmla="*/ 3893788 w 6573406"/>
              <a:gd name="connsiteY19" fmla="*/ 2508095 h 5129212"/>
              <a:gd name="connsiteX20" fmla="*/ 3888902 w 6573406"/>
              <a:gd name="connsiteY20" fmla="*/ 2504285 h 5129212"/>
              <a:gd name="connsiteX21" fmla="*/ 3884016 w 6573406"/>
              <a:gd name="connsiteY21" fmla="*/ 2500158 h 5129212"/>
              <a:gd name="connsiteX22" fmla="*/ 3879130 w 6573406"/>
              <a:gd name="connsiteY22" fmla="*/ 2495713 h 5129212"/>
              <a:gd name="connsiteX23" fmla="*/ 3266286 w 6573406"/>
              <a:gd name="connsiteY23" fmla="*/ 1883611 h 5129212"/>
              <a:gd name="connsiteX24" fmla="*/ 3261400 w 6573406"/>
              <a:gd name="connsiteY24" fmla="*/ 1879484 h 5129212"/>
              <a:gd name="connsiteX25" fmla="*/ 3256864 w 6573406"/>
              <a:gd name="connsiteY25" fmla="*/ 1875356 h 5129212"/>
              <a:gd name="connsiteX26" fmla="*/ 3251628 w 6573406"/>
              <a:gd name="connsiteY26" fmla="*/ 1871547 h 5129212"/>
              <a:gd name="connsiteX27" fmla="*/ 3246742 w 6573406"/>
              <a:gd name="connsiteY27" fmla="*/ 1868054 h 5129212"/>
              <a:gd name="connsiteX28" fmla="*/ 3241508 w 6573406"/>
              <a:gd name="connsiteY28" fmla="*/ 1864562 h 5129212"/>
              <a:gd name="connsiteX29" fmla="*/ 3235924 w 6573406"/>
              <a:gd name="connsiteY29" fmla="*/ 1861705 h 5129212"/>
              <a:gd name="connsiteX30" fmla="*/ 3230688 w 6573406"/>
              <a:gd name="connsiteY30" fmla="*/ 1858847 h 5129212"/>
              <a:gd name="connsiteX31" fmla="*/ 3225104 w 6573406"/>
              <a:gd name="connsiteY31" fmla="*/ 1856308 h 5129212"/>
              <a:gd name="connsiteX32" fmla="*/ 3219172 w 6573406"/>
              <a:gd name="connsiteY32" fmla="*/ 1854403 h 5129212"/>
              <a:gd name="connsiteX33" fmla="*/ 3213588 w 6573406"/>
              <a:gd name="connsiteY33" fmla="*/ 1852180 h 5129212"/>
              <a:gd name="connsiteX34" fmla="*/ 3207654 w 6573406"/>
              <a:gd name="connsiteY34" fmla="*/ 1850910 h 5129212"/>
              <a:gd name="connsiteX35" fmla="*/ 3202070 w 6573406"/>
              <a:gd name="connsiteY35" fmla="*/ 1849323 h 5129212"/>
              <a:gd name="connsiteX36" fmla="*/ 3196138 w 6573406"/>
              <a:gd name="connsiteY36" fmla="*/ 1848371 h 5129212"/>
              <a:gd name="connsiteX37" fmla="*/ 3190205 w 6573406"/>
              <a:gd name="connsiteY37" fmla="*/ 1847736 h 5129212"/>
              <a:gd name="connsiteX38" fmla="*/ 3184272 w 6573406"/>
              <a:gd name="connsiteY38" fmla="*/ 1847418 h 5129212"/>
              <a:gd name="connsiteX39" fmla="*/ 3177990 w 6573406"/>
              <a:gd name="connsiteY39" fmla="*/ 1847418 h 5129212"/>
              <a:gd name="connsiteX40" fmla="*/ 3172057 w 6573406"/>
              <a:gd name="connsiteY40" fmla="*/ 1847418 h 5129212"/>
              <a:gd name="connsiteX41" fmla="*/ 3166124 w 6573406"/>
              <a:gd name="connsiteY41" fmla="*/ 1847736 h 5129212"/>
              <a:gd name="connsiteX42" fmla="*/ 3160191 w 6573406"/>
              <a:gd name="connsiteY42" fmla="*/ 1848371 h 5129212"/>
              <a:gd name="connsiteX43" fmla="*/ 3154258 w 6573406"/>
              <a:gd name="connsiteY43" fmla="*/ 1849323 h 5129212"/>
              <a:gd name="connsiteX44" fmla="*/ 3148325 w 6573406"/>
              <a:gd name="connsiteY44" fmla="*/ 1850910 h 5129212"/>
              <a:gd name="connsiteX45" fmla="*/ 3142741 w 6573406"/>
              <a:gd name="connsiteY45" fmla="*/ 1852180 h 5129212"/>
              <a:gd name="connsiteX46" fmla="*/ 3136808 w 6573406"/>
              <a:gd name="connsiteY46" fmla="*/ 1854403 h 5129212"/>
              <a:gd name="connsiteX47" fmla="*/ 3131224 w 6573406"/>
              <a:gd name="connsiteY47" fmla="*/ 1856308 h 5129212"/>
              <a:gd name="connsiteX48" fmla="*/ 3125640 w 6573406"/>
              <a:gd name="connsiteY48" fmla="*/ 1858847 h 5129212"/>
              <a:gd name="connsiteX49" fmla="*/ 3120405 w 6573406"/>
              <a:gd name="connsiteY49" fmla="*/ 1861705 h 5129212"/>
              <a:gd name="connsiteX50" fmla="*/ 3114821 w 6573406"/>
              <a:gd name="connsiteY50" fmla="*/ 1864562 h 5129212"/>
              <a:gd name="connsiteX51" fmla="*/ 3109586 w 6573406"/>
              <a:gd name="connsiteY51" fmla="*/ 1868054 h 5129212"/>
              <a:gd name="connsiteX52" fmla="*/ 3104351 w 6573406"/>
              <a:gd name="connsiteY52" fmla="*/ 1871547 h 5129212"/>
              <a:gd name="connsiteX53" fmla="*/ 3099465 w 6573406"/>
              <a:gd name="connsiteY53" fmla="*/ 1875356 h 5129212"/>
              <a:gd name="connsiteX54" fmla="*/ 3094579 w 6573406"/>
              <a:gd name="connsiteY54" fmla="*/ 1879484 h 5129212"/>
              <a:gd name="connsiteX55" fmla="*/ 3090042 w 6573406"/>
              <a:gd name="connsiteY55" fmla="*/ 1883611 h 5129212"/>
              <a:gd name="connsiteX56" fmla="*/ 3085505 w 6573406"/>
              <a:gd name="connsiteY56" fmla="*/ 1888373 h 5129212"/>
              <a:gd name="connsiteX57" fmla="*/ 3081666 w 6573406"/>
              <a:gd name="connsiteY57" fmla="*/ 1893135 h 5129212"/>
              <a:gd name="connsiteX58" fmla="*/ 3077827 w 6573406"/>
              <a:gd name="connsiteY58" fmla="*/ 1898215 h 5129212"/>
              <a:gd name="connsiteX59" fmla="*/ 3073988 w 6573406"/>
              <a:gd name="connsiteY59" fmla="*/ 1903295 h 5129212"/>
              <a:gd name="connsiteX60" fmla="*/ 3070847 w 6573406"/>
              <a:gd name="connsiteY60" fmla="*/ 1908374 h 5129212"/>
              <a:gd name="connsiteX61" fmla="*/ 3067706 w 6573406"/>
              <a:gd name="connsiteY61" fmla="*/ 1914089 h 5129212"/>
              <a:gd name="connsiteX62" fmla="*/ 3065263 w 6573406"/>
              <a:gd name="connsiteY62" fmla="*/ 1919169 h 5129212"/>
              <a:gd name="connsiteX63" fmla="*/ 3062820 w 6573406"/>
              <a:gd name="connsiteY63" fmla="*/ 1924883 h 5129212"/>
              <a:gd name="connsiteX64" fmla="*/ 3060726 w 6573406"/>
              <a:gd name="connsiteY64" fmla="*/ 1930281 h 5129212"/>
              <a:gd name="connsiteX65" fmla="*/ 3058632 w 6573406"/>
              <a:gd name="connsiteY65" fmla="*/ 1936313 h 5129212"/>
              <a:gd name="connsiteX66" fmla="*/ 3057236 w 6573406"/>
              <a:gd name="connsiteY66" fmla="*/ 1942345 h 5129212"/>
              <a:gd name="connsiteX67" fmla="*/ 3055840 w 6573406"/>
              <a:gd name="connsiteY67" fmla="*/ 1947742 h 5129212"/>
              <a:gd name="connsiteX68" fmla="*/ 3054793 w 6573406"/>
              <a:gd name="connsiteY68" fmla="*/ 1953774 h 5129212"/>
              <a:gd name="connsiteX69" fmla="*/ 3054095 w 6573406"/>
              <a:gd name="connsiteY69" fmla="*/ 1959806 h 5129212"/>
              <a:gd name="connsiteX70" fmla="*/ 3053746 w 6573406"/>
              <a:gd name="connsiteY70" fmla="*/ 1965521 h 5129212"/>
              <a:gd name="connsiteX71" fmla="*/ 3053746 w 6573406"/>
              <a:gd name="connsiteY71" fmla="*/ 1971870 h 5129212"/>
              <a:gd name="connsiteX72" fmla="*/ 3053746 w 6573406"/>
              <a:gd name="connsiteY72" fmla="*/ 1977903 h 5129212"/>
              <a:gd name="connsiteX73" fmla="*/ 3054095 w 6573406"/>
              <a:gd name="connsiteY73" fmla="*/ 1983617 h 5129212"/>
              <a:gd name="connsiteX74" fmla="*/ 3054793 w 6573406"/>
              <a:gd name="connsiteY74" fmla="*/ 1989649 h 5129212"/>
              <a:gd name="connsiteX75" fmla="*/ 3055840 w 6573406"/>
              <a:gd name="connsiteY75" fmla="*/ 1995681 h 5129212"/>
              <a:gd name="connsiteX76" fmla="*/ 3057236 w 6573406"/>
              <a:gd name="connsiteY76" fmla="*/ 2001079 h 5129212"/>
              <a:gd name="connsiteX77" fmla="*/ 3058632 w 6573406"/>
              <a:gd name="connsiteY77" fmla="*/ 2007111 h 5129212"/>
              <a:gd name="connsiteX78" fmla="*/ 3060726 w 6573406"/>
              <a:gd name="connsiteY78" fmla="*/ 2013143 h 5129212"/>
              <a:gd name="connsiteX79" fmla="*/ 3062820 w 6573406"/>
              <a:gd name="connsiteY79" fmla="*/ 2018540 h 5129212"/>
              <a:gd name="connsiteX80" fmla="*/ 3065263 w 6573406"/>
              <a:gd name="connsiteY80" fmla="*/ 2024255 h 5129212"/>
              <a:gd name="connsiteX81" fmla="*/ 3067706 w 6573406"/>
              <a:gd name="connsiteY81" fmla="*/ 2029334 h 5129212"/>
              <a:gd name="connsiteX82" fmla="*/ 3070847 w 6573406"/>
              <a:gd name="connsiteY82" fmla="*/ 2035049 h 5129212"/>
              <a:gd name="connsiteX83" fmla="*/ 3073988 w 6573406"/>
              <a:gd name="connsiteY83" fmla="*/ 2040446 h 5129212"/>
              <a:gd name="connsiteX84" fmla="*/ 3077827 w 6573406"/>
              <a:gd name="connsiteY84" fmla="*/ 2045208 h 5129212"/>
              <a:gd name="connsiteX85" fmla="*/ 3081666 w 6573406"/>
              <a:gd name="connsiteY85" fmla="*/ 2050288 h 5129212"/>
              <a:gd name="connsiteX86" fmla="*/ 3085505 w 6573406"/>
              <a:gd name="connsiteY86" fmla="*/ 2055368 h 5129212"/>
              <a:gd name="connsiteX87" fmla="*/ 3090042 w 6573406"/>
              <a:gd name="connsiteY87" fmla="*/ 2059812 h 5129212"/>
              <a:gd name="connsiteX88" fmla="*/ 3916473 w 6573406"/>
              <a:gd name="connsiteY88" fmla="*/ 2884626 h 5129212"/>
              <a:gd name="connsiteX89" fmla="*/ 3920661 w 6573406"/>
              <a:gd name="connsiteY89" fmla="*/ 2889706 h 5129212"/>
              <a:gd name="connsiteX90" fmla="*/ 3924849 w 6573406"/>
              <a:gd name="connsiteY90" fmla="*/ 2894151 h 5129212"/>
              <a:gd name="connsiteX91" fmla="*/ 3928688 w 6573406"/>
              <a:gd name="connsiteY91" fmla="*/ 2899548 h 5129212"/>
              <a:gd name="connsiteX92" fmla="*/ 3932178 w 6573406"/>
              <a:gd name="connsiteY92" fmla="*/ 2904310 h 5129212"/>
              <a:gd name="connsiteX93" fmla="*/ 3935668 w 6573406"/>
              <a:gd name="connsiteY93" fmla="*/ 2909390 h 5129212"/>
              <a:gd name="connsiteX94" fmla="*/ 3938460 w 6573406"/>
              <a:gd name="connsiteY94" fmla="*/ 2915104 h 5129212"/>
              <a:gd name="connsiteX95" fmla="*/ 3941252 w 6573406"/>
              <a:gd name="connsiteY95" fmla="*/ 2920502 h 5129212"/>
              <a:gd name="connsiteX96" fmla="*/ 3943695 w 6573406"/>
              <a:gd name="connsiteY96" fmla="*/ 2925899 h 5129212"/>
              <a:gd name="connsiteX97" fmla="*/ 3945789 w 6573406"/>
              <a:gd name="connsiteY97" fmla="*/ 2931613 h 5129212"/>
              <a:gd name="connsiteX98" fmla="*/ 3947534 w 6573406"/>
              <a:gd name="connsiteY98" fmla="*/ 2937328 h 5129212"/>
              <a:gd name="connsiteX99" fmla="*/ 3949279 w 6573406"/>
              <a:gd name="connsiteY99" fmla="*/ 2943360 h 5129212"/>
              <a:gd name="connsiteX100" fmla="*/ 3950675 w 6573406"/>
              <a:gd name="connsiteY100" fmla="*/ 2949075 h 5129212"/>
              <a:gd name="connsiteX101" fmla="*/ 3951373 w 6573406"/>
              <a:gd name="connsiteY101" fmla="*/ 2954789 h 5129212"/>
              <a:gd name="connsiteX102" fmla="*/ 3952071 w 6573406"/>
              <a:gd name="connsiteY102" fmla="*/ 2960822 h 5129212"/>
              <a:gd name="connsiteX103" fmla="*/ 3952769 w 6573406"/>
              <a:gd name="connsiteY103" fmla="*/ 2966854 h 5129212"/>
              <a:gd name="connsiteX104" fmla="*/ 3952769 w 6573406"/>
              <a:gd name="connsiteY104" fmla="*/ 2973203 h 5129212"/>
              <a:gd name="connsiteX105" fmla="*/ 3952769 w 6573406"/>
              <a:gd name="connsiteY105" fmla="*/ 2978918 h 5129212"/>
              <a:gd name="connsiteX106" fmla="*/ 3952071 w 6573406"/>
              <a:gd name="connsiteY106" fmla="*/ 2984950 h 5129212"/>
              <a:gd name="connsiteX107" fmla="*/ 3951373 w 6573406"/>
              <a:gd name="connsiteY107" fmla="*/ 2990982 h 5129212"/>
              <a:gd name="connsiteX108" fmla="*/ 3950675 w 6573406"/>
              <a:gd name="connsiteY108" fmla="*/ 2996697 h 5129212"/>
              <a:gd name="connsiteX109" fmla="*/ 3949279 w 6573406"/>
              <a:gd name="connsiteY109" fmla="*/ 3002411 h 5129212"/>
              <a:gd name="connsiteX110" fmla="*/ 3947534 w 6573406"/>
              <a:gd name="connsiteY110" fmla="*/ 3008444 h 5129212"/>
              <a:gd name="connsiteX111" fmla="*/ 3945789 w 6573406"/>
              <a:gd name="connsiteY111" fmla="*/ 3014158 h 5129212"/>
              <a:gd name="connsiteX112" fmla="*/ 3943695 w 6573406"/>
              <a:gd name="connsiteY112" fmla="*/ 3019873 h 5129212"/>
              <a:gd name="connsiteX113" fmla="*/ 3941252 w 6573406"/>
              <a:gd name="connsiteY113" fmla="*/ 3025270 h 5129212"/>
              <a:gd name="connsiteX114" fmla="*/ 3938460 w 6573406"/>
              <a:gd name="connsiteY114" fmla="*/ 3030667 h 5129212"/>
              <a:gd name="connsiteX115" fmla="*/ 3935668 w 6573406"/>
              <a:gd name="connsiteY115" fmla="*/ 3036064 h 5129212"/>
              <a:gd name="connsiteX116" fmla="*/ 3932178 w 6573406"/>
              <a:gd name="connsiteY116" fmla="*/ 3041462 h 5129212"/>
              <a:gd name="connsiteX117" fmla="*/ 3928688 w 6573406"/>
              <a:gd name="connsiteY117" fmla="*/ 3046224 h 5129212"/>
              <a:gd name="connsiteX118" fmla="*/ 3924849 w 6573406"/>
              <a:gd name="connsiteY118" fmla="*/ 3051621 h 5129212"/>
              <a:gd name="connsiteX119" fmla="*/ 3920661 w 6573406"/>
              <a:gd name="connsiteY119" fmla="*/ 3056066 h 5129212"/>
              <a:gd name="connsiteX120" fmla="*/ 3916473 w 6573406"/>
              <a:gd name="connsiteY120" fmla="*/ 3060828 h 5129212"/>
              <a:gd name="connsiteX121" fmla="*/ 3911587 w 6573406"/>
              <a:gd name="connsiteY121" fmla="*/ 3065273 h 5129212"/>
              <a:gd name="connsiteX122" fmla="*/ 3906701 w 6573406"/>
              <a:gd name="connsiteY122" fmla="*/ 3069400 h 5129212"/>
              <a:gd name="connsiteX123" fmla="*/ 3901815 w 6573406"/>
              <a:gd name="connsiteY123" fmla="*/ 3073210 h 5129212"/>
              <a:gd name="connsiteX124" fmla="*/ 3896929 w 6573406"/>
              <a:gd name="connsiteY124" fmla="*/ 3077019 h 5129212"/>
              <a:gd name="connsiteX125" fmla="*/ 3891694 w 6573406"/>
              <a:gd name="connsiteY125" fmla="*/ 3080194 h 5129212"/>
              <a:gd name="connsiteX126" fmla="*/ 3886110 w 6573406"/>
              <a:gd name="connsiteY126" fmla="*/ 3083051 h 5129212"/>
              <a:gd name="connsiteX127" fmla="*/ 3880177 w 6573406"/>
              <a:gd name="connsiteY127" fmla="*/ 3085909 h 5129212"/>
              <a:gd name="connsiteX128" fmla="*/ 3874593 w 6573406"/>
              <a:gd name="connsiteY128" fmla="*/ 3088131 h 5129212"/>
              <a:gd name="connsiteX129" fmla="*/ 3869009 w 6573406"/>
              <a:gd name="connsiteY129" fmla="*/ 3090354 h 5129212"/>
              <a:gd name="connsiteX130" fmla="*/ 3863425 w 6573406"/>
              <a:gd name="connsiteY130" fmla="*/ 3092258 h 5129212"/>
              <a:gd name="connsiteX131" fmla="*/ 3857492 w 6573406"/>
              <a:gd name="connsiteY131" fmla="*/ 3093846 h 5129212"/>
              <a:gd name="connsiteX132" fmla="*/ 3851559 w 6573406"/>
              <a:gd name="connsiteY132" fmla="*/ 3095116 h 5129212"/>
              <a:gd name="connsiteX133" fmla="*/ 3845626 w 6573406"/>
              <a:gd name="connsiteY133" fmla="*/ 3096068 h 5129212"/>
              <a:gd name="connsiteX134" fmla="*/ 3839693 w 6573406"/>
              <a:gd name="connsiteY134" fmla="*/ 3097021 h 5129212"/>
              <a:gd name="connsiteX135" fmla="*/ 3833760 w 6573406"/>
              <a:gd name="connsiteY135" fmla="*/ 3097338 h 5129212"/>
              <a:gd name="connsiteX136" fmla="*/ 3827827 w 6573406"/>
              <a:gd name="connsiteY136" fmla="*/ 3097338 h 5129212"/>
              <a:gd name="connsiteX137" fmla="*/ 3821894 w 6573406"/>
              <a:gd name="connsiteY137" fmla="*/ 3097338 h 5129212"/>
              <a:gd name="connsiteX138" fmla="*/ 3815961 w 6573406"/>
              <a:gd name="connsiteY138" fmla="*/ 3097021 h 5129212"/>
              <a:gd name="connsiteX139" fmla="*/ 3810028 w 6573406"/>
              <a:gd name="connsiteY139" fmla="*/ 3096068 h 5129212"/>
              <a:gd name="connsiteX140" fmla="*/ 3804095 w 6573406"/>
              <a:gd name="connsiteY140" fmla="*/ 3095116 h 5129212"/>
              <a:gd name="connsiteX141" fmla="*/ 3798162 w 6573406"/>
              <a:gd name="connsiteY141" fmla="*/ 3093846 h 5129212"/>
              <a:gd name="connsiteX142" fmla="*/ 3792578 w 6573406"/>
              <a:gd name="connsiteY142" fmla="*/ 3092258 h 5129212"/>
              <a:gd name="connsiteX143" fmla="*/ 3786645 w 6573406"/>
              <a:gd name="connsiteY143" fmla="*/ 3090354 h 5129212"/>
              <a:gd name="connsiteX144" fmla="*/ 3781061 w 6573406"/>
              <a:gd name="connsiteY144" fmla="*/ 3088131 h 5129212"/>
              <a:gd name="connsiteX145" fmla="*/ 3775477 w 6573406"/>
              <a:gd name="connsiteY145" fmla="*/ 3085909 h 5129212"/>
              <a:gd name="connsiteX146" fmla="*/ 3769893 w 6573406"/>
              <a:gd name="connsiteY146" fmla="*/ 3083051 h 5129212"/>
              <a:gd name="connsiteX147" fmla="*/ 3764658 w 6573406"/>
              <a:gd name="connsiteY147" fmla="*/ 3080194 h 5129212"/>
              <a:gd name="connsiteX148" fmla="*/ 3759423 w 6573406"/>
              <a:gd name="connsiteY148" fmla="*/ 3077019 h 5129212"/>
              <a:gd name="connsiteX149" fmla="*/ 3754188 w 6573406"/>
              <a:gd name="connsiteY149" fmla="*/ 3073210 h 5129212"/>
              <a:gd name="connsiteX150" fmla="*/ 3749302 w 6573406"/>
              <a:gd name="connsiteY150" fmla="*/ 3069400 h 5129212"/>
              <a:gd name="connsiteX151" fmla="*/ 3744416 w 6573406"/>
              <a:gd name="connsiteY151" fmla="*/ 3065273 h 5129212"/>
              <a:gd name="connsiteX152" fmla="*/ 3739879 w 6573406"/>
              <a:gd name="connsiteY152" fmla="*/ 3060828 h 5129212"/>
              <a:gd name="connsiteX153" fmla="*/ 3013960 w 6573406"/>
              <a:gd name="connsiteY153" fmla="*/ 2336338 h 5129212"/>
              <a:gd name="connsiteX154" fmla="*/ 3009423 w 6573406"/>
              <a:gd name="connsiteY154" fmla="*/ 2331576 h 5129212"/>
              <a:gd name="connsiteX155" fmla="*/ 3004537 w 6573406"/>
              <a:gd name="connsiteY155" fmla="*/ 2327448 h 5129212"/>
              <a:gd name="connsiteX156" fmla="*/ 2999651 w 6573406"/>
              <a:gd name="connsiteY156" fmla="*/ 2323639 h 5129212"/>
              <a:gd name="connsiteX157" fmla="*/ 2994416 w 6573406"/>
              <a:gd name="connsiteY157" fmla="*/ 2320146 h 5129212"/>
              <a:gd name="connsiteX158" fmla="*/ 2989181 w 6573406"/>
              <a:gd name="connsiteY158" fmla="*/ 2316971 h 5129212"/>
              <a:gd name="connsiteX159" fmla="*/ 2983946 w 6573406"/>
              <a:gd name="connsiteY159" fmla="*/ 2313797 h 5129212"/>
              <a:gd name="connsiteX160" fmla="*/ 2978362 w 6573406"/>
              <a:gd name="connsiteY160" fmla="*/ 2310939 h 5129212"/>
              <a:gd name="connsiteX161" fmla="*/ 2972778 w 6573406"/>
              <a:gd name="connsiteY161" fmla="*/ 2308717 h 5129212"/>
              <a:gd name="connsiteX162" fmla="*/ 2967194 w 6573406"/>
              <a:gd name="connsiteY162" fmla="*/ 2306495 h 5129212"/>
              <a:gd name="connsiteX163" fmla="*/ 2961261 w 6573406"/>
              <a:gd name="connsiteY163" fmla="*/ 2304907 h 5129212"/>
              <a:gd name="connsiteX164" fmla="*/ 2955677 w 6573406"/>
              <a:gd name="connsiteY164" fmla="*/ 2303002 h 5129212"/>
              <a:gd name="connsiteX165" fmla="*/ 2949744 w 6573406"/>
              <a:gd name="connsiteY165" fmla="*/ 2302050 h 5129212"/>
              <a:gd name="connsiteX166" fmla="*/ 2943811 w 6573406"/>
              <a:gd name="connsiteY166" fmla="*/ 2301097 h 5129212"/>
              <a:gd name="connsiteX167" fmla="*/ 2937878 w 6573406"/>
              <a:gd name="connsiteY167" fmla="*/ 2300145 h 5129212"/>
              <a:gd name="connsiteX168" fmla="*/ 2931945 w 6573406"/>
              <a:gd name="connsiteY168" fmla="*/ 2299828 h 5129212"/>
              <a:gd name="connsiteX169" fmla="*/ 2926012 w 6573406"/>
              <a:gd name="connsiteY169" fmla="*/ 2299510 h 5129212"/>
              <a:gd name="connsiteX170" fmla="*/ 2919730 w 6573406"/>
              <a:gd name="connsiteY170" fmla="*/ 2299828 h 5129212"/>
              <a:gd name="connsiteX171" fmla="*/ 2913797 w 6573406"/>
              <a:gd name="connsiteY171" fmla="*/ 2300145 h 5129212"/>
              <a:gd name="connsiteX172" fmla="*/ 2907864 w 6573406"/>
              <a:gd name="connsiteY172" fmla="*/ 2301097 h 5129212"/>
              <a:gd name="connsiteX173" fmla="*/ 2901931 w 6573406"/>
              <a:gd name="connsiteY173" fmla="*/ 2302050 h 5129212"/>
              <a:gd name="connsiteX174" fmla="*/ 2896347 w 6573406"/>
              <a:gd name="connsiteY174" fmla="*/ 2303002 h 5129212"/>
              <a:gd name="connsiteX175" fmla="*/ 2890414 w 6573406"/>
              <a:gd name="connsiteY175" fmla="*/ 2304907 h 5129212"/>
              <a:gd name="connsiteX176" fmla="*/ 2884830 w 6573406"/>
              <a:gd name="connsiteY176" fmla="*/ 2306495 h 5129212"/>
              <a:gd name="connsiteX177" fmla="*/ 2878897 w 6573406"/>
              <a:gd name="connsiteY177" fmla="*/ 2308717 h 5129212"/>
              <a:gd name="connsiteX178" fmla="*/ 2873313 w 6573406"/>
              <a:gd name="connsiteY178" fmla="*/ 2310939 h 5129212"/>
              <a:gd name="connsiteX179" fmla="*/ 2868078 w 6573406"/>
              <a:gd name="connsiteY179" fmla="*/ 2313797 h 5129212"/>
              <a:gd name="connsiteX180" fmla="*/ 2862494 w 6573406"/>
              <a:gd name="connsiteY180" fmla="*/ 2316971 h 5129212"/>
              <a:gd name="connsiteX181" fmla="*/ 2857259 w 6573406"/>
              <a:gd name="connsiteY181" fmla="*/ 2320146 h 5129212"/>
              <a:gd name="connsiteX182" fmla="*/ 2852373 w 6573406"/>
              <a:gd name="connsiteY182" fmla="*/ 2323639 h 5129212"/>
              <a:gd name="connsiteX183" fmla="*/ 2847138 w 6573406"/>
              <a:gd name="connsiteY183" fmla="*/ 2327448 h 5129212"/>
              <a:gd name="connsiteX184" fmla="*/ 2842601 w 6573406"/>
              <a:gd name="connsiteY184" fmla="*/ 2331576 h 5129212"/>
              <a:gd name="connsiteX185" fmla="*/ 2837715 w 6573406"/>
              <a:gd name="connsiteY185" fmla="*/ 2336338 h 5129212"/>
              <a:gd name="connsiteX186" fmla="*/ 2833527 w 6573406"/>
              <a:gd name="connsiteY186" fmla="*/ 2340783 h 5129212"/>
              <a:gd name="connsiteX187" fmla="*/ 2829339 w 6573406"/>
              <a:gd name="connsiteY187" fmla="*/ 2345545 h 5129212"/>
              <a:gd name="connsiteX188" fmla="*/ 2825500 w 6573406"/>
              <a:gd name="connsiteY188" fmla="*/ 2350624 h 5129212"/>
              <a:gd name="connsiteX189" fmla="*/ 2822010 w 6573406"/>
              <a:gd name="connsiteY189" fmla="*/ 2355704 h 5129212"/>
              <a:gd name="connsiteX190" fmla="*/ 2818520 w 6573406"/>
              <a:gd name="connsiteY190" fmla="*/ 2361101 h 5129212"/>
              <a:gd name="connsiteX191" fmla="*/ 2815728 w 6573406"/>
              <a:gd name="connsiteY191" fmla="*/ 2366181 h 5129212"/>
              <a:gd name="connsiteX192" fmla="*/ 2812936 w 6573406"/>
              <a:gd name="connsiteY192" fmla="*/ 2371896 h 5129212"/>
              <a:gd name="connsiteX193" fmla="*/ 2810493 w 6573406"/>
              <a:gd name="connsiteY193" fmla="*/ 2377293 h 5129212"/>
              <a:gd name="connsiteX194" fmla="*/ 2808399 w 6573406"/>
              <a:gd name="connsiteY194" fmla="*/ 2383007 h 5129212"/>
              <a:gd name="connsiteX195" fmla="*/ 2806305 w 6573406"/>
              <a:gd name="connsiteY195" fmla="*/ 2388405 h 5129212"/>
              <a:gd name="connsiteX196" fmla="*/ 2804909 w 6573406"/>
              <a:gd name="connsiteY196" fmla="*/ 2394437 h 5129212"/>
              <a:gd name="connsiteX197" fmla="*/ 2803513 w 6573406"/>
              <a:gd name="connsiteY197" fmla="*/ 2400469 h 5129212"/>
              <a:gd name="connsiteX198" fmla="*/ 2802466 w 6573406"/>
              <a:gd name="connsiteY198" fmla="*/ 2406501 h 5129212"/>
              <a:gd name="connsiteX199" fmla="*/ 2801768 w 6573406"/>
              <a:gd name="connsiteY199" fmla="*/ 2412216 h 5129212"/>
              <a:gd name="connsiteX200" fmla="*/ 2801419 w 6573406"/>
              <a:gd name="connsiteY200" fmla="*/ 2418248 h 5129212"/>
              <a:gd name="connsiteX201" fmla="*/ 2801419 w 6573406"/>
              <a:gd name="connsiteY201" fmla="*/ 2424280 h 5129212"/>
              <a:gd name="connsiteX202" fmla="*/ 2801419 w 6573406"/>
              <a:gd name="connsiteY202" fmla="*/ 2429994 h 5129212"/>
              <a:gd name="connsiteX203" fmla="*/ 2801768 w 6573406"/>
              <a:gd name="connsiteY203" fmla="*/ 2436027 h 5129212"/>
              <a:gd name="connsiteX204" fmla="*/ 2802466 w 6573406"/>
              <a:gd name="connsiteY204" fmla="*/ 2442059 h 5129212"/>
              <a:gd name="connsiteX205" fmla="*/ 2803513 w 6573406"/>
              <a:gd name="connsiteY205" fmla="*/ 2447773 h 5129212"/>
              <a:gd name="connsiteX206" fmla="*/ 2804909 w 6573406"/>
              <a:gd name="connsiteY206" fmla="*/ 2453805 h 5129212"/>
              <a:gd name="connsiteX207" fmla="*/ 2806305 w 6573406"/>
              <a:gd name="connsiteY207" fmla="*/ 2459838 h 5129212"/>
              <a:gd name="connsiteX208" fmla="*/ 2808399 w 6573406"/>
              <a:gd name="connsiteY208" fmla="*/ 2465235 h 5129212"/>
              <a:gd name="connsiteX209" fmla="*/ 2810493 w 6573406"/>
              <a:gd name="connsiteY209" fmla="*/ 2470949 h 5129212"/>
              <a:gd name="connsiteX210" fmla="*/ 2812936 w 6573406"/>
              <a:gd name="connsiteY210" fmla="*/ 2476347 h 5129212"/>
              <a:gd name="connsiteX211" fmla="*/ 2815728 w 6573406"/>
              <a:gd name="connsiteY211" fmla="*/ 2482061 h 5129212"/>
              <a:gd name="connsiteX212" fmla="*/ 2818520 w 6573406"/>
              <a:gd name="connsiteY212" fmla="*/ 2487458 h 5129212"/>
              <a:gd name="connsiteX213" fmla="*/ 2822010 w 6573406"/>
              <a:gd name="connsiteY213" fmla="*/ 2492538 h 5129212"/>
              <a:gd name="connsiteX214" fmla="*/ 2825500 w 6573406"/>
              <a:gd name="connsiteY214" fmla="*/ 2497935 h 5129212"/>
              <a:gd name="connsiteX215" fmla="*/ 2829339 w 6573406"/>
              <a:gd name="connsiteY215" fmla="*/ 2502697 h 5129212"/>
              <a:gd name="connsiteX216" fmla="*/ 2833527 w 6573406"/>
              <a:gd name="connsiteY216" fmla="*/ 2507460 h 5129212"/>
              <a:gd name="connsiteX217" fmla="*/ 2837715 w 6573406"/>
              <a:gd name="connsiteY217" fmla="*/ 2512222 h 5129212"/>
              <a:gd name="connsiteX218" fmla="*/ 4276989 w 6573406"/>
              <a:gd name="connsiteY218" fmla="*/ 3949455 h 5129212"/>
              <a:gd name="connsiteX219" fmla="*/ 4281177 w 6573406"/>
              <a:gd name="connsiteY219" fmla="*/ 3953900 h 5129212"/>
              <a:gd name="connsiteX220" fmla="*/ 4285365 w 6573406"/>
              <a:gd name="connsiteY220" fmla="*/ 3958980 h 5129212"/>
              <a:gd name="connsiteX221" fmla="*/ 4289204 w 6573406"/>
              <a:gd name="connsiteY221" fmla="*/ 3963742 h 5129212"/>
              <a:gd name="connsiteX222" fmla="*/ 4292694 w 6573406"/>
              <a:gd name="connsiteY222" fmla="*/ 3968822 h 5129212"/>
              <a:gd name="connsiteX223" fmla="*/ 4296184 w 6573406"/>
              <a:gd name="connsiteY223" fmla="*/ 3974219 h 5129212"/>
              <a:gd name="connsiteX224" fmla="*/ 4298976 w 6573406"/>
              <a:gd name="connsiteY224" fmla="*/ 3979298 h 5129212"/>
              <a:gd name="connsiteX225" fmla="*/ 4301768 w 6573406"/>
              <a:gd name="connsiteY225" fmla="*/ 3985013 h 5129212"/>
              <a:gd name="connsiteX226" fmla="*/ 4304211 w 6573406"/>
              <a:gd name="connsiteY226" fmla="*/ 3990728 h 5129212"/>
              <a:gd name="connsiteX227" fmla="*/ 4306305 w 6573406"/>
              <a:gd name="connsiteY227" fmla="*/ 3996125 h 5129212"/>
              <a:gd name="connsiteX228" fmla="*/ 4308050 w 6573406"/>
              <a:gd name="connsiteY228" fmla="*/ 4001840 h 5129212"/>
              <a:gd name="connsiteX229" fmla="*/ 4309795 w 6573406"/>
              <a:gd name="connsiteY229" fmla="*/ 4007554 h 5129212"/>
              <a:gd name="connsiteX230" fmla="*/ 4311191 w 6573406"/>
              <a:gd name="connsiteY230" fmla="*/ 4013586 h 5129212"/>
              <a:gd name="connsiteX231" fmla="*/ 4311889 w 6573406"/>
              <a:gd name="connsiteY231" fmla="*/ 4019618 h 5129212"/>
              <a:gd name="connsiteX232" fmla="*/ 4312587 w 6573406"/>
              <a:gd name="connsiteY232" fmla="*/ 4025333 h 5129212"/>
              <a:gd name="connsiteX233" fmla="*/ 4313285 w 6573406"/>
              <a:gd name="connsiteY233" fmla="*/ 4031365 h 5129212"/>
              <a:gd name="connsiteX234" fmla="*/ 4313285 w 6573406"/>
              <a:gd name="connsiteY234" fmla="*/ 4037397 h 5129212"/>
              <a:gd name="connsiteX235" fmla="*/ 4313285 w 6573406"/>
              <a:gd name="connsiteY235" fmla="*/ 4043429 h 5129212"/>
              <a:gd name="connsiteX236" fmla="*/ 4312587 w 6573406"/>
              <a:gd name="connsiteY236" fmla="*/ 4049144 h 5129212"/>
              <a:gd name="connsiteX237" fmla="*/ 4311889 w 6573406"/>
              <a:gd name="connsiteY237" fmla="*/ 4055176 h 5129212"/>
              <a:gd name="connsiteX238" fmla="*/ 4311191 w 6573406"/>
              <a:gd name="connsiteY238" fmla="*/ 4061208 h 5129212"/>
              <a:gd name="connsiteX239" fmla="*/ 4309795 w 6573406"/>
              <a:gd name="connsiteY239" fmla="*/ 4066923 h 5129212"/>
              <a:gd name="connsiteX240" fmla="*/ 4308050 w 6573406"/>
              <a:gd name="connsiteY240" fmla="*/ 4072955 h 5129212"/>
              <a:gd name="connsiteX241" fmla="*/ 4306305 w 6573406"/>
              <a:gd name="connsiteY241" fmla="*/ 4078670 h 5129212"/>
              <a:gd name="connsiteX242" fmla="*/ 4304211 w 6573406"/>
              <a:gd name="connsiteY242" fmla="*/ 4084067 h 5129212"/>
              <a:gd name="connsiteX243" fmla="*/ 4301768 w 6573406"/>
              <a:gd name="connsiteY243" fmla="*/ 4089782 h 5129212"/>
              <a:gd name="connsiteX244" fmla="*/ 4298976 w 6573406"/>
              <a:gd name="connsiteY244" fmla="*/ 4095179 h 5129212"/>
              <a:gd name="connsiteX245" fmla="*/ 4296184 w 6573406"/>
              <a:gd name="connsiteY245" fmla="*/ 4100576 h 5129212"/>
              <a:gd name="connsiteX246" fmla="*/ 4292694 w 6573406"/>
              <a:gd name="connsiteY246" fmla="*/ 4105656 h 5129212"/>
              <a:gd name="connsiteX247" fmla="*/ 4289204 w 6573406"/>
              <a:gd name="connsiteY247" fmla="*/ 4111053 h 5129212"/>
              <a:gd name="connsiteX248" fmla="*/ 4285365 w 6573406"/>
              <a:gd name="connsiteY248" fmla="*/ 4115815 h 5129212"/>
              <a:gd name="connsiteX249" fmla="*/ 4281177 w 6573406"/>
              <a:gd name="connsiteY249" fmla="*/ 4120895 h 5129212"/>
              <a:gd name="connsiteX250" fmla="*/ 4276989 w 6573406"/>
              <a:gd name="connsiteY250" fmla="*/ 4125339 h 5129212"/>
              <a:gd name="connsiteX251" fmla="*/ 4272801 w 6573406"/>
              <a:gd name="connsiteY251" fmla="*/ 4129149 h 5129212"/>
              <a:gd name="connsiteX252" fmla="*/ 4268613 w 6573406"/>
              <a:gd name="connsiteY252" fmla="*/ 4132959 h 5129212"/>
              <a:gd name="connsiteX253" fmla="*/ 4264425 w 6573406"/>
              <a:gd name="connsiteY253" fmla="*/ 4136134 h 5129212"/>
              <a:gd name="connsiteX254" fmla="*/ 4259888 w 6573406"/>
              <a:gd name="connsiteY254" fmla="*/ 4139626 h 5129212"/>
              <a:gd name="connsiteX255" fmla="*/ 4255700 w 6573406"/>
              <a:gd name="connsiteY255" fmla="*/ 4142483 h 5129212"/>
              <a:gd name="connsiteX256" fmla="*/ 4250814 w 6573406"/>
              <a:gd name="connsiteY256" fmla="*/ 4145023 h 5129212"/>
              <a:gd name="connsiteX257" fmla="*/ 4246277 w 6573406"/>
              <a:gd name="connsiteY257" fmla="*/ 4147880 h 5129212"/>
              <a:gd name="connsiteX258" fmla="*/ 4241391 w 6573406"/>
              <a:gd name="connsiteY258" fmla="*/ 4150103 h 5129212"/>
              <a:gd name="connsiteX259" fmla="*/ 4236854 w 6573406"/>
              <a:gd name="connsiteY259" fmla="*/ 4152008 h 5129212"/>
              <a:gd name="connsiteX260" fmla="*/ 4231619 w 6573406"/>
              <a:gd name="connsiteY260" fmla="*/ 4154230 h 5129212"/>
              <a:gd name="connsiteX261" fmla="*/ 4226733 w 6573406"/>
              <a:gd name="connsiteY261" fmla="*/ 4156135 h 5129212"/>
              <a:gd name="connsiteX262" fmla="*/ 4221847 w 6573406"/>
              <a:gd name="connsiteY262" fmla="*/ 4157405 h 5129212"/>
              <a:gd name="connsiteX263" fmla="*/ 4216612 w 6573406"/>
              <a:gd name="connsiteY263" fmla="*/ 4158675 h 5129212"/>
              <a:gd name="connsiteX264" fmla="*/ 4211726 w 6573406"/>
              <a:gd name="connsiteY264" fmla="*/ 4159945 h 5129212"/>
              <a:gd name="connsiteX265" fmla="*/ 4206491 w 6573406"/>
              <a:gd name="connsiteY265" fmla="*/ 4160580 h 5129212"/>
              <a:gd name="connsiteX266" fmla="*/ 4201256 w 6573406"/>
              <a:gd name="connsiteY266" fmla="*/ 4161215 h 5129212"/>
              <a:gd name="connsiteX267" fmla="*/ 4196022 w 6573406"/>
              <a:gd name="connsiteY267" fmla="*/ 4161532 h 5129212"/>
              <a:gd name="connsiteX268" fmla="*/ 4191135 w 6573406"/>
              <a:gd name="connsiteY268" fmla="*/ 4161532 h 5129212"/>
              <a:gd name="connsiteX269" fmla="*/ 4185900 w 6573406"/>
              <a:gd name="connsiteY269" fmla="*/ 4161532 h 5129212"/>
              <a:gd name="connsiteX270" fmla="*/ 4180665 w 6573406"/>
              <a:gd name="connsiteY270" fmla="*/ 4161532 h 5129212"/>
              <a:gd name="connsiteX271" fmla="*/ 4175430 w 6573406"/>
              <a:gd name="connsiteY271" fmla="*/ 4160897 h 5129212"/>
              <a:gd name="connsiteX272" fmla="*/ 4170195 w 6573406"/>
              <a:gd name="connsiteY272" fmla="*/ 4160580 h 5129212"/>
              <a:gd name="connsiteX273" fmla="*/ 4165309 w 6573406"/>
              <a:gd name="connsiteY273" fmla="*/ 4159627 h 5129212"/>
              <a:gd name="connsiteX274" fmla="*/ 4159725 w 6573406"/>
              <a:gd name="connsiteY274" fmla="*/ 4158357 h 5129212"/>
              <a:gd name="connsiteX275" fmla="*/ 4154490 w 6573406"/>
              <a:gd name="connsiteY275" fmla="*/ 4157087 h 5129212"/>
              <a:gd name="connsiteX276" fmla="*/ 4149604 w 6573406"/>
              <a:gd name="connsiteY276" fmla="*/ 4155500 h 5129212"/>
              <a:gd name="connsiteX277" fmla="*/ 4144718 w 6573406"/>
              <a:gd name="connsiteY277" fmla="*/ 4153913 h 5129212"/>
              <a:gd name="connsiteX278" fmla="*/ 4139832 w 6573406"/>
              <a:gd name="connsiteY278" fmla="*/ 4151690 h 5129212"/>
              <a:gd name="connsiteX279" fmla="*/ 4134946 w 6573406"/>
              <a:gd name="connsiteY279" fmla="*/ 4149785 h 5129212"/>
              <a:gd name="connsiteX280" fmla="*/ 4130409 w 6573406"/>
              <a:gd name="connsiteY280" fmla="*/ 4147246 h 5129212"/>
              <a:gd name="connsiteX281" fmla="*/ 4125523 w 6573406"/>
              <a:gd name="connsiteY281" fmla="*/ 4144706 h 5129212"/>
              <a:gd name="connsiteX282" fmla="*/ 4120986 w 6573406"/>
              <a:gd name="connsiteY282" fmla="*/ 4142166 h 5129212"/>
              <a:gd name="connsiteX283" fmla="*/ 0 w 6573406"/>
              <a:gd name="connsiteY283" fmla="*/ 0 h 5129212"/>
              <a:gd name="connsiteX0" fmla="*/ 0 w 6573406"/>
              <a:gd name="connsiteY0" fmla="*/ 0 h 5129212"/>
              <a:gd name="connsiteX1" fmla="*/ 0 w 6573406"/>
              <a:gd name="connsiteY1" fmla="*/ 409574 h 5129212"/>
              <a:gd name="connsiteX2" fmla="*/ 0 w 6573406"/>
              <a:gd name="connsiteY2" fmla="*/ 467649 h 5129212"/>
              <a:gd name="connsiteX3" fmla="*/ 0 w 6573406"/>
              <a:gd name="connsiteY3" fmla="*/ 5129212 h 5129212"/>
              <a:gd name="connsiteX4" fmla="*/ 6573406 w 6573406"/>
              <a:gd name="connsiteY4" fmla="*/ 5129212 h 5129212"/>
              <a:gd name="connsiteX5" fmla="*/ 3968474 w 6573406"/>
              <a:gd name="connsiteY5" fmla="*/ 2531906 h 5129212"/>
              <a:gd name="connsiteX6" fmla="*/ 3962541 w 6573406"/>
              <a:gd name="connsiteY6" fmla="*/ 2531906 h 5129212"/>
              <a:gd name="connsiteX7" fmla="*/ 3956259 w 6573406"/>
              <a:gd name="connsiteY7" fmla="*/ 2531588 h 5129212"/>
              <a:gd name="connsiteX8" fmla="*/ 3950326 w 6573406"/>
              <a:gd name="connsiteY8" fmla="*/ 2530953 h 5129212"/>
              <a:gd name="connsiteX9" fmla="*/ 3944393 w 6573406"/>
              <a:gd name="connsiteY9" fmla="*/ 2530001 h 5129212"/>
              <a:gd name="connsiteX10" fmla="*/ 3938460 w 6573406"/>
              <a:gd name="connsiteY10" fmla="*/ 2528731 h 5129212"/>
              <a:gd name="connsiteX11" fmla="*/ 3932527 w 6573406"/>
              <a:gd name="connsiteY11" fmla="*/ 2527143 h 5129212"/>
              <a:gd name="connsiteX12" fmla="*/ 3926943 w 6573406"/>
              <a:gd name="connsiteY12" fmla="*/ 2525239 h 5129212"/>
              <a:gd name="connsiteX13" fmla="*/ 3921010 w 6573406"/>
              <a:gd name="connsiteY13" fmla="*/ 2523334 h 5129212"/>
              <a:gd name="connsiteX14" fmla="*/ 3915426 w 6573406"/>
              <a:gd name="connsiteY14" fmla="*/ 2520794 h 5129212"/>
              <a:gd name="connsiteX15" fmla="*/ 3909842 w 6573406"/>
              <a:gd name="connsiteY15" fmla="*/ 2517937 h 5129212"/>
              <a:gd name="connsiteX16" fmla="*/ 3904258 w 6573406"/>
              <a:gd name="connsiteY16" fmla="*/ 2515079 h 5129212"/>
              <a:gd name="connsiteX17" fmla="*/ 3899023 w 6573406"/>
              <a:gd name="connsiteY17" fmla="*/ 2511587 h 5129212"/>
              <a:gd name="connsiteX18" fmla="*/ 3893788 w 6573406"/>
              <a:gd name="connsiteY18" fmla="*/ 2508095 h 5129212"/>
              <a:gd name="connsiteX19" fmla="*/ 3888902 w 6573406"/>
              <a:gd name="connsiteY19" fmla="*/ 2504285 h 5129212"/>
              <a:gd name="connsiteX20" fmla="*/ 3884016 w 6573406"/>
              <a:gd name="connsiteY20" fmla="*/ 2500158 h 5129212"/>
              <a:gd name="connsiteX21" fmla="*/ 3879130 w 6573406"/>
              <a:gd name="connsiteY21" fmla="*/ 2495713 h 5129212"/>
              <a:gd name="connsiteX22" fmla="*/ 3266286 w 6573406"/>
              <a:gd name="connsiteY22" fmla="*/ 1883611 h 5129212"/>
              <a:gd name="connsiteX23" fmla="*/ 3261400 w 6573406"/>
              <a:gd name="connsiteY23" fmla="*/ 1879484 h 5129212"/>
              <a:gd name="connsiteX24" fmla="*/ 3256864 w 6573406"/>
              <a:gd name="connsiteY24" fmla="*/ 1875356 h 5129212"/>
              <a:gd name="connsiteX25" fmla="*/ 3251628 w 6573406"/>
              <a:gd name="connsiteY25" fmla="*/ 1871547 h 5129212"/>
              <a:gd name="connsiteX26" fmla="*/ 3246742 w 6573406"/>
              <a:gd name="connsiteY26" fmla="*/ 1868054 h 5129212"/>
              <a:gd name="connsiteX27" fmla="*/ 3241508 w 6573406"/>
              <a:gd name="connsiteY27" fmla="*/ 1864562 h 5129212"/>
              <a:gd name="connsiteX28" fmla="*/ 3235924 w 6573406"/>
              <a:gd name="connsiteY28" fmla="*/ 1861705 h 5129212"/>
              <a:gd name="connsiteX29" fmla="*/ 3230688 w 6573406"/>
              <a:gd name="connsiteY29" fmla="*/ 1858847 h 5129212"/>
              <a:gd name="connsiteX30" fmla="*/ 3225104 w 6573406"/>
              <a:gd name="connsiteY30" fmla="*/ 1856308 h 5129212"/>
              <a:gd name="connsiteX31" fmla="*/ 3219172 w 6573406"/>
              <a:gd name="connsiteY31" fmla="*/ 1854403 h 5129212"/>
              <a:gd name="connsiteX32" fmla="*/ 3213588 w 6573406"/>
              <a:gd name="connsiteY32" fmla="*/ 1852180 h 5129212"/>
              <a:gd name="connsiteX33" fmla="*/ 3207654 w 6573406"/>
              <a:gd name="connsiteY33" fmla="*/ 1850910 h 5129212"/>
              <a:gd name="connsiteX34" fmla="*/ 3202070 w 6573406"/>
              <a:gd name="connsiteY34" fmla="*/ 1849323 h 5129212"/>
              <a:gd name="connsiteX35" fmla="*/ 3196138 w 6573406"/>
              <a:gd name="connsiteY35" fmla="*/ 1848371 h 5129212"/>
              <a:gd name="connsiteX36" fmla="*/ 3190205 w 6573406"/>
              <a:gd name="connsiteY36" fmla="*/ 1847736 h 5129212"/>
              <a:gd name="connsiteX37" fmla="*/ 3184272 w 6573406"/>
              <a:gd name="connsiteY37" fmla="*/ 1847418 h 5129212"/>
              <a:gd name="connsiteX38" fmla="*/ 3177990 w 6573406"/>
              <a:gd name="connsiteY38" fmla="*/ 1847418 h 5129212"/>
              <a:gd name="connsiteX39" fmla="*/ 3172057 w 6573406"/>
              <a:gd name="connsiteY39" fmla="*/ 1847418 h 5129212"/>
              <a:gd name="connsiteX40" fmla="*/ 3166124 w 6573406"/>
              <a:gd name="connsiteY40" fmla="*/ 1847736 h 5129212"/>
              <a:gd name="connsiteX41" fmla="*/ 3160191 w 6573406"/>
              <a:gd name="connsiteY41" fmla="*/ 1848371 h 5129212"/>
              <a:gd name="connsiteX42" fmla="*/ 3154258 w 6573406"/>
              <a:gd name="connsiteY42" fmla="*/ 1849323 h 5129212"/>
              <a:gd name="connsiteX43" fmla="*/ 3148325 w 6573406"/>
              <a:gd name="connsiteY43" fmla="*/ 1850910 h 5129212"/>
              <a:gd name="connsiteX44" fmla="*/ 3142741 w 6573406"/>
              <a:gd name="connsiteY44" fmla="*/ 1852180 h 5129212"/>
              <a:gd name="connsiteX45" fmla="*/ 3136808 w 6573406"/>
              <a:gd name="connsiteY45" fmla="*/ 1854403 h 5129212"/>
              <a:gd name="connsiteX46" fmla="*/ 3131224 w 6573406"/>
              <a:gd name="connsiteY46" fmla="*/ 1856308 h 5129212"/>
              <a:gd name="connsiteX47" fmla="*/ 3125640 w 6573406"/>
              <a:gd name="connsiteY47" fmla="*/ 1858847 h 5129212"/>
              <a:gd name="connsiteX48" fmla="*/ 3120405 w 6573406"/>
              <a:gd name="connsiteY48" fmla="*/ 1861705 h 5129212"/>
              <a:gd name="connsiteX49" fmla="*/ 3114821 w 6573406"/>
              <a:gd name="connsiteY49" fmla="*/ 1864562 h 5129212"/>
              <a:gd name="connsiteX50" fmla="*/ 3109586 w 6573406"/>
              <a:gd name="connsiteY50" fmla="*/ 1868054 h 5129212"/>
              <a:gd name="connsiteX51" fmla="*/ 3104351 w 6573406"/>
              <a:gd name="connsiteY51" fmla="*/ 1871547 h 5129212"/>
              <a:gd name="connsiteX52" fmla="*/ 3099465 w 6573406"/>
              <a:gd name="connsiteY52" fmla="*/ 1875356 h 5129212"/>
              <a:gd name="connsiteX53" fmla="*/ 3094579 w 6573406"/>
              <a:gd name="connsiteY53" fmla="*/ 1879484 h 5129212"/>
              <a:gd name="connsiteX54" fmla="*/ 3090042 w 6573406"/>
              <a:gd name="connsiteY54" fmla="*/ 1883611 h 5129212"/>
              <a:gd name="connsiteX55" fmla="*/ 3085505 w 6573406"/>
              <a:gd name="connsiteY55" fmla="*/ 1888373 h 5129212"/>
              <a:gd name="connsiteX56" fmla="*/ 3081666 w 6573406"/>
              <a:gd name="connsiteY56" fmla="*/ 1893135 h 5129212"/>
              <a:gd name="connsiteX57" fmla="*/ 3077827 w 6573406"/>
              <a:gd name="connsiteY57" fmla="*/ 1898215 h 5129212"/>
              <a:gd name="connsiteX58" fmla="*/ 3073988 w 6573406"/>
              <a:gd name="connsiteY58" fmla="*/ 1903295 h 5129212"/>
              <a:gd name="connsiteX59" fmla="*/ 3070847 w 6573406"/>
              <a:gd name="connsiteY59" fmla="*/ 1908374 h 5129212"/>
              <a:gd name="connsiteX60" fmla="*/ 3067706 w 6573406"/>
              <a:gd name="connsiteY60" fmla="*/ 1914089 h 5129212"/>
              <a:gd name="connsiteX61" fmla="*/ 3065263 w 6573406"/>
              <a:gd name="connsiteY61" fmla="*/ 1919169 h 5129212"/>
              <a:gd name="connsiteX62" fmla="*/ 3062820 w 6573406"/>
              <a:gd name="connsiteY62" fmla="*/ 1924883 h 5129212"/>
              <a:gd name="connsiteX63" fmla="*/ 3060726 w 6573406"/>
              <a:gd name="connsiteY63" fmla="*/ 1930281 h 5129212"/>
              <a:gd name="connsiteX64" fmla="*/ 3058632 w 6573406"/>
              <a:gd name="connsiteY64" fmla="*/ 1936313 h 5129212"/>
              <a:gd name="connsiteX65" fmla="*/ 3057236 w 6573406"/>
              <a:gd name="connsiteY65" fmla="*/ 1942345 h 5129212"/>
              <a:gd name="connsiteX66" fmla="*/ 3055840 w 6573406"/>
              <a:gd name="connsiteY66" fmla="*/ 1947742 h 5129212"/>
              <a:gd name="connsiteX67" fmla="*/ 3054793 w 6573406"/>
              <a:gd name="connsiteY67" fmla="*/ 1953774 h 5129212"/>
              <a:gd name="connsiteX68" fmla="*/ 3054095 w 6573406"/>
              <a:gd name="connsiteY68" fmla="*/ 1959806 h 5129212"/>
              <a:gd name="connsiteX69" fmla="*/ 3053746 w 6573406"/>
              <a:gd name="connsiteY69" fmla="*/ 1965521 h 5129212"/>
              <a:gd name="connsiteX70" fmla="*/ 3053746 w 6573406"/>
              <a:gd name="connsiteY70" fmla="*/ 1971870 h 5129212"/>
              <a:gd name="connsiteX71" fmla="*/ 3053746 w 6573406"/>
              <a:gd name="connsiteY71" fmla="*/ 1977903 h 5129212"/>
              <a:gd name="connsiteX72" fmla="*/ 3054095 w 6573406"/>
              <a:gd name="connsiteY72" fmla="*/ 1983617 h 5129212"/>
              <a:gd name="connsiteX73" fmla="*/ 3054793 w 6573406"/>
              <a:gd name="connsiteY73" fmla="*/ 1989649 h 5129212"/>
              <a:gd name="connsiteX74" fmla="*/ 3055840 w 6573406"/>
              <a:gd name="connsiteY74" fmla="*/ 1995681 h 5129212"/>
              <a:gd name="connsiteX75" fmla="*/ 3057236 w 6573406"/>
              <a:gd name="connsiteY75" fmla="*/ 2001079 h 5129212"/>
              <a:gd name="connsiteX76" fmla="*/ 3058632 w 6573406"/>
              <a:gd name="connsiteY76" fmla="*/ 2007111 h 5129212"/>
              <a:gd name="connsiteX77" fmla="*/ 3060726 w 6573406"/>
              <a:gd name="connsiteY77" fmla="*/ 2013143 h 5129212"/>
              <a:gd name="connsiteX78" fmla="*/ 3062820 w 6573406"/>
              <a:gd name="connsiteY78" fmla="*/ 2018540 h 5129212"/>
              <a:gd name="connsiteX79" fmla="*/ 3065263 w 6573406"/>
              <a:gd name="connsiteY79" fmla="*/ 2024255 h 5129212"/>
              <a:gd name="connsiteX80" fmla="*/ 3067706 w 6573406"/>
              <a:gd name="connsiteY80" fmla="*/ 2029334 h 5129212"/>
              <a:gd name="connsiteX81" fmla="*/ 3070847 w 6573406"/>
              <a:gd name="connsiteY81" fmla="*/ 2035049 h 5129212"/>
              <a:gd name="connsiteX82" fmla="*/ 3073988 w 6573406"/>
              <a:gd name="connsiteY82" fmla="*/ 2040446 h 5129212"/>
              <a:gd name="connsiteX83" fmla="*/ 3077827 w 6573406"/>
              <a:gd name="connsiteY83" fmla="*/ 2045208 h 5129212"/>
              <a:gd name="connsiteX84" fmla="*/ 3081666 w 6573406"/>
              <a:gd name="connsiteY84" fmla="*/ 2050288 h 5129212"/>
              <a:gd name="connsiteX85" fmla="*/ 3085505 w 6573406"/>
              <a:gd name="connsiteY85" fmla="*/ 2055368 h 5129212"/>
              <a:gd name="connsiteX86" fmla="*/ 3090042 w 6573406"/>
              <a:gd name="connsiteY86" fmla="*/ 2059812 h 5129212"/>
              <a:gd name="connsiteX87" fmla="*/ 3916473 w 6573406"/>
              <a:gd name="connsiteY87" fmla="*/ 2884626 h 5129212"/>
              <a:gd name="connsiteX88" fmla="*/ 3920661 w 6573406"/>
              <a:gd name="connsiteY88" fmla="*/ 2889706 h 5129212"/>
              <a:gd name="connsiteX89" fmla="*/ 3924849 w 6573406"/>
              <a:gd name="connsiteY89" fmla="*/ 2894151 h 5129212"/>
              <a:gd name="connsiteX90" fmla="*/ 3928688 w 6573406"/>
              <a:gd name="connsiteY90" fmla="*/ 2899548 h 5129212"/>
              <a:gd name="connsiteX91" fmla="*/ 3932178 w 6573406"/>
              <a:gd name="connsiteY91" fmla="*/ 2904310 h 5129212"/>
              <a:gd name="connsiteX92" fmla="*/ 3935668 w 6573406"/>
              <a:gd name="connsiteY92" fmla="*/ 2909390 h 5129212"/>
              <a:gd name="connsiteX93" fmla="*/ 3938460 w 6573406"/>
              <a:gd name="connsiteY93" fmla="*/ 2915104 h 5129212"/>
              <a:gd name="connsiteX94" fmla="*/ 3941252 w 6573406"/>
              <a:gd name="connsiteY94" fmla="*/ 2920502 h 5129212"/>
              <a:gd name="connsiteX95" fmla="*/ 3943695 w 6573406"/>
              <a:gd name="connsiteY95" fmla="*/ 2925899 h 5129212"/>
              <a:gd name="connsiteX96" fmla="*/ 3945789 w 6573406"/>
              <a:gd name="connsiteY96" fmla="*/ 2931613 h 5129212"/>
              <a:gd name="connsiteX97" fmla="*/ 3947534 w 6573406"/>
              <a:gd name="connsiteY97" fmla="*/ 2937328 h 5129212"/>
              <a:gd name="connsiteX98" fmla="*/ 3949279 w 6573406"/>
              <a:gd name="connsiteY98" fmla="*/ 2943360 h 5129212"/>
              <a:gd name="connsiteX99" fmla="*/ 3950675 w 6573406"/>
              <a:gd name="connsiteY99" fmla="*/ 2949075 h 5129212"/>
              <a:gd name="connsiteX100" fmla="*/ 3951373 w 6573406"/>
              <a:gd name="connsiteY100" fmla="*/ 2954789 h 5129212"/>
              <a:gd name="connsiteX101" fmla="*/ 3952071 w 6573406"/>
              <a:gd name="connsiteY101" fmla="*/ 2960822 h 5129212"/>
              <a:gd name="connsiteX102" fmla="*/ 3952769 w 6573406"/>
              <a:gd name="connsiteY102" fmla="*/ 2966854 h 5129212"/>
              <a:gd name="connsiteX103" fmla="*/ 3952769 w 6573406"/>
              <a:gd name="connsiteY103" fmla="*/ 2973203 h 5129212"/>
              <a:gd name="connsiteX104" fmla="*/ 3952769 w 6573406"/>
              <a:gd name="connsiteY104" fmla="*/ 2978918 h 5129212"/>
              <a:gd name="connsiteX105" fmla="*/ 3952071 w 6573406"/>
              <a:gd name="connsiteY105" fmla="*/ 2984950 h 5129212"/>
              <a:gd name="connsiteX106" fmla="*/ 3951373 w 6573406"/>
              <a:gd name="connsiteY106" fmla="*/ 2990982 h 5129212"/>
              <a:gd name="connsiteX107" fmla="*/ 3950675 w 6573406"/>
              <a:gd name="connsiteY107" fmla="*/ 2996697 h 5129212"/>
              <a:gd name="connsiteX108" fmla="*/ 3949279 w 6573406"/>
              <a:gd name="connsiteY108" fmla="*/ 3002411 h 5129212"/>
              <a:gd name="connsiteX109" fmla="*/ 3947534 w 6573406"/>
              <a:gd name="connsiteY109" fmla="*/ 3008444 h 5129212"/>
              <a:gd name="connsiteX110" fmla="*/ 3945789 w 6573406"/>
              <a:gd name="connsiteY110" fmla="*/ 3014158 h 5129212"/>
              <a:gd name="connsiteX111" fmla="*/ 3943695 w 6573406"/>
              <a:gd name="connsiteY111" fmla="*/ 3019873 h 5129212"/>
              <a:gd name="connsiteX112" fmla="*/ 3941252 w 6573406"/>
              <a:gd name="connsiteY112" fmla="*/ 3025270 h 5129212"/>
              <a:gd name="connsiteX113" fmla="*/ 3938460 w 6573406"/>
              <a:gd name="connsiteY113" fmla="*/ 3030667 h 5129212"/>
              <a:gd name="connsiteX114" fmla="*/ 3935668 w 6573406"/>
              <a:gd name="connsiteY114" fmla="*/ 3036064 h 5129212"/>
              <a:gd name="connsiteX115" fmla="*/ 3932178 w 6573406"/>
              <a:gd name="connsiteY115" fmla="*/ 3041462 h 5129212"/>
              <a:gd name="connsiteX116" fmla="*/ 3928688 w 6573406"/>
              <a:gd name="connsiteY116" fmla="*/ 3046224 h 5129212"/>
              <a:gd name="connsiteX117" fmla="*/ 3924849 w 6573406"/>
              <a:gd name="connsiteY117" fmla="*/ 3051621 h 5129212"/>
              <a:gd name="connsiteX118" fmla="*/ 3920661 w 6573406"/>
              <a:gd name="connsiteY118" fmla="*/ 3056066 h 5129212"/>
              <a:gd name="connsiteX119" fmla="*/ 3916473 w 6573406"/>
              <a:gd name="connsiteY119" fmla="*/ 3060828 h 5129212"/>
              <a:gd name="connsiteX120" fmla="*/ 3911587 w 6573406"/>
              <a:gd name="connsiteY120" fmla="*/ 3065273 h 5129212"/>
              <a:gd name="connsiteX121" fmla="*/ 3906701 w 6573406"/>
              <a:gd name="connsiteY121" fmla="*/ 3069400 h 5129212"/>
              <a:gd name="connsiteX122" fmla="*/ 3901815 w 6573406"/>
              <a:gd name="connsiteY122" fmla="*/ 3073210 h 5129212"/>
              <a:gd name="connsiteX123" fmla="*/ 3896929 w 6573406"/>
              <a:gd name="connsiteY123" fmla="*/ 3077019 h 5129212"/>
              <a:gd name="connsiteX124" fmla="*/ 3891694 w 6573406"/>
              <a:gd name="connsiteY124" fmla="*/ 3080194 h 5129212"/>
              <a:gd name="connsiteX125" fmla="*/ 3886110 w 6573406"/>
              <a:gd name="connsiteY125" fmla="*/ 3083051 h 5129212"/>
              <a:gd name="connsiteX126" fmla="*/ 3880177 w 6573406"/>
              <a:gd name="connsiteY126" fmla="*/ 3085909 h 5129212"/>
              <a:gd name="connsiteX127" fmla="*/ 3874593 w 6573406"/>
              <a:gd name="connsiteY127" fmla="*/ 3088131 h 5129212"/>
              <a:gd name="connsiteX128" fmla="*/ 3869009 w 6573406"/>
              <a:gd name="connsiteY128" fmla="*/ 3090354 h 5129212"/>
              <a:gd name="connsiteX129" fmla="*/ 3863425 w 6573406"/>
              <a:gd name="connsiteY129" fmla="*/ 3092258 h 5129212"/>
              <a:gd name="connsiteX130" fmla="*/ 3857492 w 6573406"/>
              <a:gd name="connsiteY130" fmla="*/ 3093846 h 5129212"/>
              <a:gd name="connsiteX131" fmla="*/ 3851559 w 6573406"/>
              <a:gd name="connsiteY131" fmla="*/ 3095116 h 5129212"/>
              <a:gd name="connsiteX132" fmla="*/ 3845626 w 6573406"/>
              <a:gd name="connsiteY132" fmla="*/ 3096068 h 5129212"/>
              <a:gd name="connsiteX133" fmla="*/ 3839693 w 6573406"/>
              <a:gd name="connsiteY133" fmla="*/ 3097021 h 5129212"/>
              <a:gd name="connsiteX134" fmla="*/ 3833760 w 6573406"/>
              <a:gd name="connsiteY134" fmla="*/ 3097338 h 5129212"/>
              <a:gd name="connsiteX135" fmla="*/ 3827827 w 6573406"/>
              <a:gd name="connsiteY135" fmla="*/ 3097338 h 5129212"/>
              <a:gd name="connsiteX136" fmla="*/ 3821894 w 6573406"/>
              <a:gd name="connsiteY136" fmla="*/ 3097338 h 5129212"/>
              <a:gd name="connsiteX137" fmla="*/ 3815961 w 6573406"/>
              <a:gd name="connsiteY137" fmla="*/ 3097021 h 5129212"/>
              <a:gd name="connsiteX138" fmla="*/ 3810028 w 6573406"/>
              <a:gd name="connsiteY138" fmla="*/ 3096068 h 5129212"/>
              <a:gd name="connsiteX139" fmla="*/ 3804095 w 6573406"/>
              <a:gd name="connsiteY139" fmla="*/ 3095116 h 5129212"/>
              <a:gd name="connsiteX140" fmla="*/ 3798162 w 6573406"/>
              <a:gd name="connsiteY140" fmla="*/ 3093846 h 5129212"/>
              <a:gd name="connsiteX141" fmla="*/ 3792578 w 6573406"/>
              <a:gd name="connsiteY141" fmla="*/ 3092258 h 5129212"/>
              <a:gd name="connsiteX142" fmla="*/ 3786645 w 6573406"/>
              <a:gd name="connsiteY142" fmla="*/ 3090354 h 5129212"/>
              <a:gd name="connsiteX143" fmla="*/ 3781061 w 6573406"/>
              <a:gd name="connsiteY143" fmla="*/ 3088131 h 5129212"/>
              <a:gd name="connsiteX144" fmla="*/ 3775477 w 6573406"/>
              <a:gd name="connsiteY144" fmla="*/ 3085909 h 5129212"/>
              <a:gd name="connsiteX145" fmla="*/ 3769893 w 6573406"/>
              <a:gd name="connsiteY145" fmla="*/ 3083051 h 5129212"/>
              <a:gd name="connsiteX146" fmla="*/ 3764658 w 6573406"/>
              <a:gd name="connsiteY146" fmla="*/ 3080194 h 5129212"/>
              <a:gd name="connsiteX147" fmla="*/ 3759423 w 6573406"/>
              <a:gd name="connsiteY147" fmla="*/ 3077019 h 5129212"/>
              <a:gd name="connsiteX148" fmla="*/ 3754188 w 6573406"/>
              <a:gd name="connsiteY148" fmla="*/ 3073210 h 5129212"/>
              <a:gd name="connsiteX149" fmla="*/ 3749302 w 6573406"/>
              <a:gd name="connsiteY149" fmla="*/ 3069400 h 5129212"/>
              <a:gd name="connsiteX150" fmla="*/ 3744416 w 6573406"/>
              <a:gd name="connsiteY150" fmla="*/ 3065273 h 5129212"/>
              <a:gd name="connsiteX151" fmla="*/ 3739879 w 6573406"/>
              <a:gd name="connsiteY151" fmla="*/ 3060828 h 5129212"/>
              <a:gd name="connsiteX152" fmla="*/ 3013960 w 6573406"/>
              <a:gd name="connsiteY152" fmla="*/ 2336338 h 5129212"/>
              <a:gd name="connsiteX153" fmla="*/ 3009423 w 6573406"/>
              <a:gd name="connsiteY153" fmla="*/ 2331576 h 5129212"/>
              <a:gd name="connsiteX154" fmla="*/ 3004537 w 6573406"/>
              <a:gd name="connsiteY154" fmla="*/ 2327448 h 5129212"/>
              <a:gd name="connsiteX155" fmla="*/ 2999651 w 6573406"/>
              <a:gd name="connsiteY155" fmla="*/ 2323639 h 5129212"/>
              <a:gd name="connsiteX156" fmla="*/ 2994416 w 6573406"/>
              <a:gd name="connsiteY156" fmla="*/ 2320146 h 5129212"/>
              <a:gd name="connsiteX157" fmla="*/ 2989181 w 6573406"/>
              <a:gd name="connsiteY157" fmla="*/ 2316971 h 5129212"/>
              <a:gd name="connsiteX158" fmla="*/ 2983946 w 6573406"/>
              <a:gd name="connsiteY158" fmla="*/ 2313797 h 5129212"/>
              <a:gd name="connsiteX159" fmla="*/ 2978362 w 6573406"/>
              <a:gd name="connsiteY159" fmla="*/ 2310939 h 5129212"/>
              <a:gd name="connsiteX160" fmla="*/ 2972778 w 6573406"/>
              <a:gd name="connsiteY160" fmla="*/ 2308717 h 5129212"/>
              <a:gd name="connsiteX161" fmla="*/ 2967194 w 6573406"/>
              <a:gd name="connsiteY161" fmla="*/ 2306495 h 5129212"/>
              <a:gd name="connsiteX162" fmla="*/ 2961261 w 6573406"/>
              <a:gd name="connsiteY162" fmla="*/ 2304907 h 5129212"/>
              <a:gd name="connsiteX163" fmla="*/ 2955677 w 6573406"/>
              <a:gd name="connsiteY163" fmla="*/ 2303002 h 5129212"/>
              <a:gd name="connsiteX164" fmla="*/ 2949744 w 6573406"/>
              <a:gd name="connsiteY164" fmla="*/ 2302050 h 5129212"/>
              <a:gd name="connsiteX165" fmla="*/ 2943811 w 6573406"/>
              <a:gd name="connsiteY165" fmla="*/ 2301097 h 5129212"/>
              <a:gd name="connsiteX166" fmla="*/ 2937878 w 6573406"/>
              <a:gd name="connsiteY166" fmla="*/ 2300145 h 5129212"/>
              <a:gd name="connsiteX167" fmla="*/ 2931945 w 6573406"/>
              <a:gd name="connsiteY167" fmla="*/ 2299828 h 5129212"/>
              <a:gd name="connsiteX168" fmla="*/ 2926012 w 6573406"/>
              <a:gd name="connsiteY168" fmla="*/ 2299510 h 5129212"/>
              <a:gd name="connsiteX169" fmla="*/ 2919730 w 6573406"/>
              <a:gd name="connsiteY169" fmla="*/ 2299828 h 5129212"/>
              <a:gd name="connsiteX170" fmla="*/ 2913797 w 6573406"/>
              <a:gd name="connsiteY170" fmla="*/ 2300145 h 5129212"/>
              <a:gd name="connsiteX171" fmla="*/ 2907864 w 6573406"/>
              <a:gd name="connsiteY171" fmla="*/ 2301097 h 5129212"/>
              <a:gd name="connsiteX172" fmla="*/ 2901931 w 6573406"/>
              <a:gd name="connsiteY172" fmla="*/ 2302050 h 5129212"/>
              <a:gd name="connsiteX173" fmla="*/ 2896347 w 6573406"/>
              <a:gd name="connsiteY173" fmla="*/ 2303002 h 5129212"/>
              <a:gd name="connsiteX174" fmla="*/ 2890414 w 6573406"/>
              <a:gd name="connsiteY174" fmla="*/ 2304907 h 5129212"/>
              <a:gd name="connsiteX175" fmla="*/ 2884830 w 6573406"/>
              <a:gd name="connsiteY175" fmla="*/ 2306495 h 5129212"/>
              <a:gd name="connsiteX176" fmla="*/ 2878897 w 6573406"/>
              <a:gd name="connsiteY176" fmla="*/ 2308717 h 5129212"/>
              <a:gd name="connsiteX177" fmla="*/ 2873313 w 6573406"/>
              <a:gd name="connsiteY177" fmla="*/ 2310939 h 5129212"/>
              <a:gd name="connsiteX178" fmla="*/ 2868078 w 6573406"/>
              <a:gd name="connsiteY178" fmla="*/ 2313797 h 5129212"/>
              <a:gd name="connsiteX179" fmla="*/ 2862494 w 6573406"/>
              <a:gd name="connsiteY179" fmla="*/ 2316971 h 5129212"/>
              <a:gd name="connsiteX180" fmla="*/ 2857259 w 6573406"/>
              <a:gd name="connsiteY180" fmla="*/ 2320146 h 5129212"/>
              <a:gd name="connsiteX181" fmla="*/ 2852373 w 6573406"/>
              <a:gd name="connsiteY181" fmla="*/ 2323639 h 5129212"/>
              <a:gd name="connsiteX182" fmla="*/ 2847138 w 6573406"/>
              <a:gd name="connsiteY182" fmla="*/ 2327448 h 5129212"/>
              <a:gd name="connsiteX183" fmla="*/ 2842601 w 6573406"/>
              <a:gd name="connsiteY183" fmla="*/ 2331576 h 5129212"/>
              <a:gd name="connsiteX184" fmla="*/ 2837715 w 6573406"/>
              <a:gd name="connsiteY184" fmla="*/ 2336338 h 5129212"/>
              <a:gd name="connsiteX185" fmla="*/ 2833527 w 6573406"/>
              <a:gd name="connsiteY185" fmla="*/ 2340783 h 5129212"/>
              <a:gd name="connsiteX186" fmla="*/ 2829339 w 6573406"/>
              <a:gd name="connsiteY186" fmla="*/ 2345545 h 5129212"/>
              <a:gd name="connsiteX187" fmla="*/ 2825500 w 6573406"/>
              <a:gd name="connsiteY187" fmla="*/ 2350624 h 5129212"/>
              <a:gd name="connsiteX188" fmla="*/ 2822010 w 6573406"/>
              <a:gd name="connsiteY188" fmla="*/ 2355704 h 5129212"/>
              <a:gd name="connsiteX189" fmla="*/ 2818520 w 6573406"/>
              <a:gd name="connsiteY189" fmla="*/ 2361101 h 5129212"/>
              <a:gd name="connsiteX190" fmla="*/ 2815728 w 6573406"/>
              <a:gd name="connsiteY190" fmla="*/ 2366181 h 5129212"/>
              <a:gd name="connsiteX191" fmla="*/ 2812936 w 6573406"/>
              <a:gd name="connsiteY191" fmla="*/ 2371896 h 5129212"/>
              <a:gd name="connsiteX192" fmla="*/ 2810493 w 6573406"/>
              <a:gd name="connsiteY192" fmla="*/ 2377293 h 5129212"/>
              <a:gd name="connsiteX193" fmla="*/ 2808399 w 6573406"/>
              <a:gd name="connsiteY193" fmla="*/ 2383007 h 5129212"/>
              <a:gd name="connsiteX194" fmla="*/ 2806305 w 6573406"/>
              <a:gd name="connsiteY194" fmla="*/ 2388405 h 5129212"/>
              <a:gd name="connsiteX195" fmla="*/ 2804909 w 6573406"/>
              <a:gd name="connsiteY195" fmla="*/ 2394437 h 5129212"/>
              <a:gd name="connsiteX196" fmla="*/ 2803513 w 6573406"/>
              <a:gd name="connsiteY196" fmla="*/ 2400469 h 5129212"/>
              <a:gd name="connsiteX197" fmla="*/ 2802466 w 6573406"/>
              <a:gd name="connsiteY197" fmla="*/ 2406501 h 5129212"/>
              <a:gd name="connsiteX198" fmla="*/ 2801768 w 6573406"/>
              <a:gd name="connsiteY198" fmla="*/ 2412216 h 5129212"/>
              <a:gd name="connsiteX199" fmla="*/ 2801419 w 6573406"/>
              <a:gd name="connsiteY199" fmla="*/ 2418248 h 5129212"/>
              <a:gd name="connsiteX200" fmla="*/ 2801419 w 6573406"/>
              <a:gd name="connsiteY200" fmla="*/ 2424280 h 5129212"/>
              <a:gd name="connsiteX201" fmla="*/ 2801419 w 6573406"/>
              <a:gd name="connsiteY201" fmla="*/ 2429994 h 5129212"/>
              <a:gd name="connsiteX202" fmla="*/ 2801768 w 6573406"/>
              <a:gd name="connsiteY202" fmla="*/ 2436027 h 5129212"/>
              <a:gd name="connsiteX203" fmla="*/ 2802466 w 6573406"/>
              <a:gd name="connsiteY203" fmla="*/ 2442059 h 5129212"/>
              <a:gd name="connsiteX204" fmla="*/ 2803513 w 6573406"/>
              <a:gd name="connsiteY204" fmla="*/ 2447773 h 5129212"/>
              <a:gd name="connsiteX205" fmla="*/ 2804909 w 6573406"/>
              <a:gd name="connsiteY205" fmla="*/ 2453805 h 5129212"/>
              <a:gd name="connsiteX206" fmla="*/ 2806305 w 6573406"/>
              <a:gd name="connsiteY206" fmla="*/ 2459838 h 5129212"/>
              <a:gd name="connsiteX207" fmla="*/ 2808399 w 6573406"/>
              <a:gd name="connsiteY207" fmla="*/ 2465235 h 5129212"/>
              <a:gd name="connsiteX208" fmla="*/ 2810493 w 6573406"/>
              <a:gd name="connsiteY208" fmla="*/ 2470949 h 5129212"/>
              <a:gd name="connsiteX209" fmla="*/ 2812936 w 6573406"/>
              <a:gd name="connsiteY209" fmla="*/ 2476347 h 5129212"/>
              <a:gd name="connsiteX210" fmla="*/ 2815728 w 6573406"/>
              <a:gd name="connsiteY210" fmla="*/ 2482061 h 5129212"/>
              <a:gd name="connsiteX211" fmla="*/ 2818520 w 6573406"/>
              <a:gd name="connsiteY211" fmla="*/ 2487458 h 5129212"/>
              <a:gd name="connsiteX212" fmla="*/ 2822010 w 6573406"/>
              <a:gd name="connsiteY212" fmla="*/ 2492538 h 5129212"/>
              <a:gd name="connsiteX213" fmla="*/ 2825500 w 6573406"/>
              <a:gd name="connsiteY213" fmla="*/ 2497935 h 5129212"/>
              <a:gd name="connsiteX214" fmla="*/ 2829339 w 6573406"/>
              <a:gd name="connsiteY214" fmla="*/ 2502697 h 5129212"/>
              <a:gd name="connsiteX215" fmla="*/ 2833527 w 6573406"/>
              <a:gd name="connsiteY215" fmla="*/ 2507460 h 5129212"/>
              <a:gd name="connsiteX216" fmla="*/ 2837715 w 6573406"/>
              <a:gd name="connsiteY216" fmla="*/ 2512222 h 5129212"/>
              <a:gd name="connsiteX217" fmla="*/ 4276989 w 6573406"/>
              <a:gd name="connsiteY217" fmla="*/ 3949455 h 5129212"/>
              <a:gd name="connsiteX218" fmla="*/ 4281177 w 6573406"/>
              <a:gd name="connsiteY218" fmla="*/ 3953900 h 5129212"/>
              <a:gd name="connsiteX219" fmla="*/ 4285365 w 6573406"/>
              <a:gd name="connsiteY219" fmla="*/ 3958980 h 5129212"/>
              <a:gd name="connsiteX220" fmla="*/ 4289204 w 6573406"/>
              <a:gd name="connsiteY220" fmla="*/ 3963742 h 5129212"/>
              <a:gd name="connsiteX221" fmla="*/ 4292694 w 6573406"/>
              <a:gd name="connsiteY221" fmla="*/ 3968822 h 5129212"/>
              <a:gd name="connsiteX222" fmla="*/ 4296184 w 6573406"/>
              <a:gd name="connsiteY222" fmla="*/ 3974219 h 5129212"/>
              <a:gd name="connsiteX223" fmla="*/ 4298976 w 6573406"/>
              <a:gd name="connsiteY223" fmla="*/ 3979298 h 5129212"/>
              <a:gd name="connsiteX224" fmla="*/ 4301768 w 6573406"/>
              <a:gd name="connsiteY224" fmla="*/ 3985013 h 5129212"/>
              <a:gd name="connsiteX225" fmla="*/ 4304211 w 6573406"/>
              <a:gd name="connsiteY225" fmla="*/ 3990728 h 5129212"/>
              <a:gd name="connsiteX226" fmla="*/ 4306305 w 6573406"/>
              <a:gd name="connsiteY226" fmla="*/ 3996125 h 5129212"/>
              <a:gd name="connsiteX227" fmla="*/ 4308050 w 6573406"/>
              <a:gd name="connsiteY227" fmla="*/ 4001840 h 5129212"/>
              <a:gd name="connsiteX228" fmla="*/ 4309795 w 6573406"/>
              <a:gd name="connsiteY228" fmla="*/ 4007554 h 5129212"/>
              <a:gd name="connsiteX229" fmla="*/ 4311191 w 6573406"/>
              <a:gd name="connsiteY229" fmla="*/ 4013586 h 5129212"/>
              <a:gd name="connsiteX230" fmla="*/ 4311889 w 6573406"/>
              <a:gd name="connsiteY230" fmla="*/ 4019618 h 5129212"/>
              <a:gd name="connsiteX231" fmla="*/ 4312587 w 6573406"/>
              <a:gd name="connsiteY231" fmla="*/ 4025333 h 5129212"/>
              <a:gd name="connsiteX232" fmla="*/ 4313285 w 6573406"/>
              <a:gd name="connsiteY232" fmla="*/ 4031365 h 5129212"/>
              <a:gd name="connsiteX233" fmla="*/ 4313285 w 6573406"/>
              <a:gd name="connsiteY233" fmla="*/ 4037397 h 5129212"/>
              <a:gd name="connsiteX234" fmla="*/ 4313285 w 6573406"/>
              <a:gd name="connsiteY234" fmla="*/ 4043429 h 5129212"/>
              <a:gd name="connsiteX235" fmla="*/ 4312587 w 6573406"/>
              <a:gd name="connsiteY235" fmla="*/ 4049144 h 5129212"/>
              <a:gd name="connsiteX236" fmla="*/ 4311889 w 6573406"/>
              <a:gd name="connsiteY236" fmla="*/ 4055176 h 5129212"/>
              <a:gd name="connsiteX237" fmla="*/ 4311191 w 6573406"/>
              <a:gd name="connsiteY237" fmla="*/ 4061208 h 5129212"/>
              <a:gd name="connsiteX238" fmla="*/ 4309795 w 6573406"/>
              <a:gd name="connsiteY238" fmla="*/ 4066923 h 5129212"/>
              <a:gd name="connsiteX239" fmla="*/ 4308050 w 6573406"/>
              <a:gd name="connsiteY239" fmla="*/ 4072955 h 5129212"/>
              <a:gd name="connsiteX240" fmla="*/ 4306305 w 6573406"/>
              <a:gd name="connsiteY240" fmla="*/ 4078670 h 5129212"/>
              <a:gd name="connsiteX241" fmla="*/ 4304211 w 6573406"/>
              <a:gd name="connsiteY241" fmla="*/ 4084067 h 5129212"/>
              <a:gd name="connsiteX242" fmla="*/ 4301768 w 6573406"/>
              <a:gd name="connsiteY242" fmla="*/ 4089782 h 5129212"/>
              <a:gd name="connsiteX243" fmla="*/ 4298976 w 6573406"/>
              <a:gd name="connsiteY243" fmla="*/ 4095179 h 5129212"/>
              <a:gd name="connsiteX244" fmla="*/ 4296184 w 6573406"/>
              <a:gd name="connsiteY244" fmla="*/ 4100576 h 5129212"/>
              <a:gd name="connsiteX245" fmla="*/ 4292694 w 6573406"/>
              <a:gd name="connsiteY245" fmla="*/ 4105656 h 5129212"/>
              <a:gd name="connsiteX246" fmla="*/ 4289204 w 6573406"/>
              <a:gd name="connsiteY246" fmla="*/ 4111053 h 5129212"/>
              <a:gd name="connsiteX247" fmla="*/ 4285365 w 6573406"/>
              <a:gd name="connsiteY247" fmla="*/ 4115815 h 5129212"/>
              <a:gd name="connsiteX248" fmla="*/ 4281177 w 6573406"/>
              <a:gd name="connsiteY248" fmla="*/ 4120895 h 5129212"/>
              <a:gd name="connsiteX249" fmla="*/ 4276989 w 6573406"/>
              <a:gd name="connsiteY249" fmla="*/ 4125339 h 5129212"/>
              <a:gd name="connsiteX250" fmla="*/ 4272801 w 6573406"/>
              <a:gd name="connsiteY250" fmla="*/ 4129149 h 5129212"/>
              <a:gd name="connsiteX251" fmla="*/ 4268613 w 6573406"/>
              <a:gd name="connsiteY251" fmla="*/ 4132959 h 5129212"/>
              <a:gd name="connsiteX252" fmla="*/ 4264425 w 6573406"/>
              <a:gd name="connsiteY252" fmla="*/ 4136134 h 5129212"/>
              <a:gd name="connsiteX253" fmla="*/ 4259888 w 6573406"/>
              <a:gd name="connsiteY253" fmla="*/ 4139626 h 5129212"/>
              <a:gd name="connsiteX254" fmla="*/ 4255700 w 6573406"/>
              <a:gd name="connsiteY254" fmla="*/ 4142483 h 5129212"/>
              <a:gd name="connsiteX255" fmla="*/ 4250814 w 6573406"/>
              <a:gd name="connsiteY255" fmla="*/ 4145023 h 5129212"/>
              <a:gd name="connsiteX256" fmla="*/ 4246277 w 6573406"/>
              <a:gd name="connsiteY256" fmla="*/ 4147880 h 5129212"/>
              <a:gd name="connsiteX257" fmla="*/ 4241391 w 6573406"/>
              <a:gd name="connsiteY257" fmla="*/ 4150103 h 5129212"/>
              <a:gd name="connsiteX258" fmla="*/ 4236854 w 6573406"/>
              <a:gd name="connsiteY258" fmla="*/ 4152008 h 5129212"/>
              <a:gd name="connsiteX259" fmla="*/ 4231619 w 6573406"/>
              <a:gd name="connsiteY259" fmla="*/ 4154230 h 5129212"/>
              <a:gd name="connsiteX260" fmla="*/ 4226733 w 6573406"/>
              <a:gd name="connsiteY260" fmla="*/ 4156135 h 5129212"/>
              <a:gd name="connsiteX261" fmla="*/ 4221847 w 6573406"/>
              <a:gd name="connsiteY261" fmla="*/ 4157405 h 5129212"/>
              <a:gd name="connsiteX262" fmla="*/ 4216612 w 6573406"/>
              <a:gd name="connsiteY262" fmla="*/ 4158675 h 5129212"/>
              <a:gd name="connsiteX263" fmla="*/ 4211726 w 6573406"/>
              <a:gd name="connsiteY263" fmla="*/ 4159945 h 5129212"/>
              <a:gd name="connsiteX264" fmla="*/ 4206491 w 6573406"/>
              <a:gd name="connsiteY264" fmla="*/ 4160580 h 5129212"/>
              <a:gd name="connsiteX265" fmla="*/ 4201256 w 6573406"/>
              <a:gd name="connsiteY265" fmla="*/ 4161215 h 5129212"/>
              <a:gd name="connsiteX266" fmla="*/ 4196022 w 6573406"/>
              <a:gd name="connsiteY266" fmla="*/ 4161532 h 5129212"/>
              <a:gd name="connsiteX267" fmla="*/ 4191135 w 6573406"/>
              <a:gd name="connsiteY267" fmla="*/ 4161532 h 5129212"/>
              <a:gd name="connsiteX268" fmla="*/ 4185900 w 6573406"/>
              <a:gd name="connsiteY268" fmla="*/ 4161532 h 5129212"/>
              <a:gd name="connsiteX269" fmla="*/ 4180665 w 6573406"/>
              <a:gd name="connsiteY269" fmla="*/ 4161532 h 5129212"/>
              <a:gd name="connsiteX270" fmla="*/ 4175430 w 6573406"/>
              <a:gd name="connsiteY270" fmla="*/ 4160897 h 5129212"/>
              <a:gd name="connsiteX271" fmla="*/ 4170195 w 6573406"/>
              <a:gd name="connsiteY271" fmla="*/ 4160580 h 5129212"/>
              <a:gd name="connsiteX272" fmla="*/ 4165309 w 6573406"/>
              <a:gd name="connsiteY272" fmla="*/ 4159627 h 5129212"/>
              <a:gd name="connsiteX273" fmla="*/ 4159725 w 6573406"/>
              <a:gd name="connsiteY273" fmla="*/ 4158357 h 5129212"/>
              <a:gd name="connsiteX274" fmla="*/ 4154490 w 6573406"/>
              <a:gd name="connsiteY274" fmla="*/ 4157087 h 5129212"/>
              <a:gd name="connsiteX275" fmla="*/ 4149604 w 6573406"/>
              <a:gd name="connsiteY275" fmla="*/ 4155500 h 5129212"/>
              <a:gd name="connsiteX276" fmla="*/ 4144718 w 6573406"/>
              <a:gd name="connsiteY276" fmla="*/ 4153913 h 5129212"/>
              <a:gd name="connsiteX277" fmla="*/ 4139832 w 6573406"/>
              <a:gd name="connsiteY277" fmla="*/ 4151690 h 5129212"/>
              <a:gd name="connsiteX278" fmla="*/ 4134946 w 6573406"/>
              <a:gd name="connsiteY278" fmla="*/ 4149785 h 5129212"/>
              <a:gd name="connsiteX279" fmla="*/ 4130409 w 6573406"/>
              <a:gd name="connsiteY279" fmla="*/ 4147246 h 5129212"/>
              <a:gd name="connsiteX280" fmla="*/ 4125523 w 6573406"/>
              <a:gd name="connsiteY280" fmla="*/ 4144706 h 5129212"/>
              <a:gd name="connsiteX281" fmla="*/ 4120986 w 6573406"/>
              <a:gd name="connsiteY281" fmla="*/ 4142166 h 5129212"/>
              <a:gd name="connsiteX282" fmla="*/ 0 w 6573406"/>
              <a:gd name="connsiteY282" fmla="*/ 0 h 5129212"/>
              <a:gd name="connsiteX0" fmla="*/ 0 w 6573406"/>
              <a:gd name="connsiteY0" fmla="*/ 0 h 5129212"/>
              <a:gd name="connsiteX1" fmla="*/ 0 w 6573406"/>
              <a:gd name="connsiteY1" fmla="*/ 409574 h 5129212"/>
              <a:gd name="connsiteX2" fmla="*/ 0 w 6573406"/>
              <a:gd name="connsiteY2" fmla="*/ 5129212 h 5129212"/>
              <a:gd name="connsiteX3" fmla="*/ 6573406 w 6573406"/>
              <a:gd name="connsiteY3" fmla="*/ 5129212 h 5129212"/>
              <a:gd name="connsiteX4" fmla="*/ 3968474 w 6573406"/>
              <a:gd name="connsiteY4" fmla="*/ 2531906 h 5129212"/>
              <a:gd name="connsiteX5" fmla="*/ 3962541 w 6573406"/>
              <a:gd name="connsiteY5" fmla="*/ 2531906 h 5129212"/>
              <a:gd name="connsiteX6" fmla="*/ 3956259 w 6573406"/>
              <a:gd name="connsiteY6" fmla="*/ 2531588 h 5129212"/>
              <a:gd name="connsiteX7" fmla="*/ 3950326 w 6573406"/>
              <a:gd name="connsiteY7" fmla="*/ 2530953 h 5129212"/>
              <a:gd name="connsiteX8" fmla="*/ 3944393 w 6573406"/>
              <a:gd name="connsiteY8" fmla="*/ 2530001 h 5129212"/>
              <a:gd name="connsiteX9" fmla="*/ 3938460 w 6573406"/>
              <a:gd name="connsiteY9" fmla="*/ 2528731 h 5129212"/>
              <a:gd name="connsiteX10" fmla="*/ 3932527 w 6573406"/>
              <a:gd name="connsiteY10" fmla="*/ 2527143 h 5129212"/>
              <a:gd name="connsiteX11" fmla="*/ 3926943 w 6573406"/>
              <a:gd name="connsiteY11" fmla="*/ 2525239 h 5129212"/>
              <a:gd name="connsiteX12" fmla="*/ 3921010 w 6573406"/>
              <a:gd name="connsiteY12" fmla="*/ 2523334 h 5129212"/>
              <a:gd name="connsiteX13" fmla="*/ 3915426 w 6573406"/>
              <a:gd name="connsiteY13" fmla="*/ 2520794 h 5129212"/>
              <a:gd name="connsiteX14" fmla="*/ 3909842 w 6573406"/>
              <a:gd name="connsiteY14" fmla="*/ 2517937 h 5129212"/>
              <a:gd name="connsiteX15" fmla="*/ 3904258 w 6573406"/>
              <a:gd name="connsiteY15" fmla="*/ 2515079 h 5129212"/>
              <a:gd name="connsiteX16" fmla="*/ 3899023 w 6573406"/>
              <a:gd name="connsiteY16" fmla="*/ 2511587 h 5129212"/>
              <a:gd name="connsiteX17" fmla="*/ 3893788 w 6573406"/>
              <a:gd name="connsiteY17" fmla="*/ 2508095 h 5129212"/>
              <a:gd name="connsiteX18" fmla="*/ 3888902 w 6573406"/>
              <a:gd name="connsiteY18" fmla="*/ 2504285 h 5129212"/>
              <a:gd name="connsiteX19" fmla="*/ 3884016 w 6573406"/>
              <a:gd name="connsiteY19" fmla="*/ 2500158 h 5129212"/>
              <a:gd name="connsiteX20" fmla="*/ 3879130 w 6573406"/>
              <a:gd name="connsiteY20" fmla="*/ 2495713 h 5129212"/>
              <a:gd name="connsiteX21" fmla="*/ 3266286 w 6573406"/>
              <a:gd name="connsiteY21" fmla="*/ 1883611 h 5129212"/>
              <a:gd name="connsiteX22" fmla="*/ 3261400 w 6573406"/>
              <a:gd name="connsiteY22" fmla="*/ 1879484 h 5129212"/>
              <a:gd name="connsiteX23" fmla="*/ 3256864 w 6573406"/>
              <a:gd name="connsiteY23" fmla="*/ 1875356 h 5129212"/>
              <a:gd name="connsiteX24" fmla="*/ 3251628 w 6573406"/>
              <a:gd name="connsiteY24" fmla="*/ 1871547 h 5129212"/>
              <a:gd name="connsiteX25" fmla="*/ 3246742 w 6573406"/>
              <a:gd name="connsiteY25" fmla="*/ 1868054 h 5129212"/>
              <a:gd name="connsiteX26" fmla="*/ 3241508 w 6573406"/>
              <a:gd name="connsiteY26" fmla="*/ 1864562 h 5129212"/>
              <a:gd name="connsiteX27" fmla="*/ 3235924 w 6573406"/>
              <a:gd name="connsiteY27" fmla="*/ 1861705 h 5129212"/>
              <a:gd name="connsiteX28" fmla="*/ 3230688 w 6573406"/>
              <a:gd name="connsiteY28" fmla="*/ 1858847 h 5129212"/>
              <a:gd name="connsiteX29" fmla="*/ 3225104 w 6573406"/>
              <a:gd name="connsiteY29" fmla="*/ 1856308 h 5129212"/>
              <a:gd name="connsiteX30" fmla="*/ 3219172 w 6573406"/>
              <a:gd name="connsiteY30" fmla="*/ 1854403 h 5129212"/>
              <a:gd name="connsiteX31" fmla="*/ 3213588 w 6573406"/>
              <a:gd name="connsiteY31" fmla="*/ 1852180 h 5129212"/>
              <a:gd name="connsiteX32" fmla="*/ 3207654 w 6573406"/>
              <a:gd name="connsiteY32" fmla="*/ 1850910 h 5129212"/>
              <a:gd name="connsiteX33" fmla="*/ 3202070 w 6573406"/>
              <a:gd name="connsiteY33" fmla="*/ 1849323 h 5129212"/>
              <a:gd name="connsiteX34" fmla="*/ 3196138 w 6573406"/>
              <a:gd name="connsiteY34" fmla="*/ 1848371 h 5129212"/>
              <a:gd name="connsiteX35" fmla="*/ 3190205 w 6573406"/>
              <a:gd name="connsiteY35" fmla="*/ 1847736 h 5129212"/>
              <a:gd name="connsiteX36" fmla="*/ 3184272 w 6573406"/>
              <a:gd name="connsiteY36" fmla="*/ 1847418 h 5129212"/>
              <a:gd name="connsiteX37" fmla="*/ 3177990 w 6573406"/>
              <a:gd name="connsiteY37" fmla="*/ 1847418 h 5129212"/>
              <a:gd name="connsiteX38" fmla="*/ 3172057 w 6573406"/>
              <a:gd name="connsiteY38" fmla="*/ 1847418 h 5129212"/>
              <a:gd name="connsiteX39" fmla="*/ 3166124 w 6573406"/>
              <a:gd name="connsiteY39" fmla="*/ 1847736 h 5129212"/>
              <a:gd name="connsiteX40" fmla="*/ 3160191 w 6573406"/>
              <a:gd name="connsiteY40" fmla="*/ 1848371 h 5129212"/>
              <a:gd name="connsiteX41" fmla="*/ 3154258 w 6573406"/>
              <a:gd name="connsiteY41" fmla="*/ 1849323 h 5129212"/>
              <a:gd name="connsiteX42" fmla="*/ 3148325 w 6573406"/>
              <a:gd name="connsiteY42" fmla="*/ 1850910 h 5129212"/>
              <a:gd name="connsiteX43" fmla="*/ 3142741 w 6573406"/>
              <a:gd name="connsiteY43" fmla="*/ 1852180 h 5129212"/>
              <a:gd name="connsiteX44" fmla="*/ 3136808 w 6573406"/>
              <a:gd name="connsiteY44" fmla="*/ 1854403 h 5129212"/>
              <a:gd name="connsiteX45" fmla="*/ 3131224 w 6573406"/>
              <a:gd name="connsiteY45" fmla="*/ 1856308 h 5129212"/>
              <a:gd name="connsiteX46" fmla="*/ 3125640 w 6573406"/>
              <a:gd name="connsiteY46" fmla="*/ 1858847 h 5129212"/>
              <a:gd name="connsiteX47" fmla="*/ 3120405 w 6573406"/>
              <a:gd name="connsiteY47" fmla="*/ 1861705 h 5129212"/>
              <a:gd name="connsiteX48" fmla="*/ 3114821 w 6573406"/>
              <a:gd name="connsiteY48" fmla="*/ 1864562 h 5129212"/>
              <a:gd name="connsiteX49" fmla="*/ 3109586 w 6573406"/>
              <a:gd name="connsiteY49" fmla="*/ 1868054 h 5129212"/>
              <a:gd name="connsiteX50" fmla="*/ 3104351 w 6573406"/>
              <a:gd name="connsiteY50" fmla="*/ 1871547 h 5129212"/>
              <a:gd name="connsiteX51" fmla="*/ 3099465 w 6573406"/>
              <a:gd name="connsiteY51" fmla="*/ 1875356 h 5129212"/>
              <a:gd name="connsiteX52" fmla="*/ 3094579 w 6573406"/>
              <a:gd name="connsiteY52" fmla="*/ 1879484 h 5129212"/>
              <a:gd name="connsiteX53" fmla="*/ 3090042 w 6573406"/>
              <a:gd name="connsiteY53" fmla="*/ 1883611 h 5129212"/>
              <a:gd name="connsiteX54" fmla="*/ 3085505 w 6573406"/>
              <a:gd name="connsiteY54" fmla="*/ 1888373 h 5129212"/>
              <a:gd name="connsiteX55" fmla="*/ 3081666 w 6573406"/>
              <a:gd name="connsiteY55" fmla="*/ 1893135 h 5129212"/>
              <a:gd name="connsiteX56" fmla="*/ 3077827 w 6573406"/>
              <a:gd name="connsiteY56" fmla="*/ 1898215 h 5129212"/>
              <a:gd name="connsiteX57" fmla="*/ 3073988 w 6573406"/>
              <a:gd name="connsiteY57" fmla="*/ 1903295 h 5129212"/>
              <a:gd name="connsiteX58" fmla="*/ 3070847 w 6573406"/>
              <a:gd name="connsiteY58" fmla="*/ 1908374 h 5129212"/>
              <a:gd name="connsiteX59" fmla="*/ 3067706 w 6573406"/>
              <a:gd name="connsiteY59" fmla="*/ 1914089 h 5129212"/>
              <a:gd name="connsiteX60" fmla="*/ 3065263 w 6573406"/>
              <a:gd name="connsiteY60" fmla="*/ 1919169 h 5129212"/>
              <a:gd name="connsiteX61" fmla="*/ 3062820 w 6573406"/>
              <a:gd name="connsiteY61" fmla="*/ 1924883 h 5129212"/>
              <a:gd name="connsiteX62" fmla="*/ 3060726 w 6573406"/>
              <a:gd name="connsiteY62" fmla="*/ 1930281 h 5129212"/>
              <a:gd name="connsiteX63" fmla="*/ 3058632 w 6573406"/>
              <a:gd name="connsiteY63" fmla="*/ 1936313 h 5129212"/>
              <a:gd name="connsiteX64" fmla="*/ 3057236 w 6573406"/>
              <a:gd name="connsiteY64" fmla="*/ 1942345 h 5129212"/>
              <a:gd name="connsiteX65" fmla="*/ 3055840 w 6573406"/>
              <a:gd name="connsiteY65" fmla="*/ 1947742 h 5129212"/>
              <a:gd name="connsiteX66" fmla="*/ 3054793 w 6573406"/>
              <a:gd name="connsiteY66" fmla="*/ 1953774 h 5129212"/>
              <a:gd name="connsiteX67" fmla="*/ 3054095 w 6573406"/>
              <a:gd name="connsiteY67" fmla="*/ 1959806 h 5129212"/>
              <a:gd name="connsiteX68" fmla="*/ 3053746 w 6573406"/>
              <a:gd name="connsiteY68" fmla="*/ 1965521 h 5129212"/>
              <a:gd name="connsiteX69" fmla="*/ 3053746 w 6573406"/>
              <a:gd name="connsiteY69" fmla="*/ 1971870 h 5129212"/>
              <a:gd name="connsiteX70" fmla="*/ 3053746 w 6573406"/>
              <a:gd name="connsiteY70" fmla="*/ 1977903 h 5129212"/>
              <a:gd name="connsiteX71" fmla="*/ 3054095 w 6573406"/>
              <a:gd name="connsiteY71" fmla="*/ 1983617 h 5129212"/>
              <a:gd name="connsiteX72" fmla="*/ 3054793 w 6573406"/>
              <a:gd name="connsiteY72" fmla="*/ 1989649 h 5129212"/>
              <a:gd name="connsiteX73" fmla="*/ 3055840 w 6573406"/>
              <a:gd name="connsiteY73" fmla="*/ 1995681 h 5129212"/>
              <a:gd name="connsiteX74" fmla="*/ 3057236 w 6573406"/>
              <a:gd name="connsiteY74" fmla="*/ 2001079 h 5129212"/>
              <a:gd name="connsiteX75" fmla="*/ 3058632 w 6573406"/>
              <a:gd name="connsiteY75" fmla="*/ 2007111 h 5129212"/>
              <a:gd name="connsiteX76" fmla="*/ 3060726 w 6573406"/>
              <a:gd name="connsiteY76" fmla="*/ 2013143 h 5129212"/>
              <a:gd name="connsiteX77" fmla="*/ 3062820 w 6573406"/>
              <a:gd name="connsiteY77" fmla="*/ 2018540 h 5129212"/>
              <a:gd name="connsiteX78" fmla="*/ 3065263 w 6573406"/>
              <a:gd name="connsiteY78" fmla="*/ 2024255 h 5129212"/>
              <a:gd name="connsiteX79" fmla="*/ 3067706 w 6573406"/>
              <a:gd name="connsiteY79" fmla="*/ 2029334 h 5129212"/>
              <a:gd name="connsiteX80" fmla="*/ 3070847 w 6573406"/>
              <a:gd name="connsiteY80" fmla="*/ 2035049 h 5129212"/>
              <a:gd name="connsiteX81" fmla="*/ 3073988 w 6573406"/>
              <a:gd name="connsiteY81" fmla="*/ 2040446 h 5129212"/>
              <a:gd name="connsiteX82" fmla="*/ 3077827 w 6573406"/>
              <a:gd name="connsiteY82" fmla="*/ 2045208 h 5129212"/>
              <a:gd name="connsiteX83" fmla="*/ 3081666 w 6573406"/>
              <a:gd name="connsiteY83" fmla="*/ 2050288 h 5129212"/>
              <a:gd name="connsiteX84" fmla="*/ 3085505 w 6573406"/>
              <a:gd name="connsiteY84" fmla="*/ 2055368 h 5129212"/>
              <a:gd name="connsiteX85" fmla="*/ 3090042 w 6573406"/>
              <a:gd name="connsiteY85" fmla="*/ 2059812 h 5129212"/>
              <a:gd name="connsiteX86" fmla="*/ 3916473 w 6573406"/>
              <a:gd name="connsiteY86" fmla="*/ 2884626 h 5129212"/>
              <a:gd name="connsiteX87" fmla="*/ 3920661 w 6573406"/>
              <a:gd name="connsiteY87" fmla="*/ 2889706 h 5129212"/>
              <a:gd name="connsiteX88" fmla="*/ 3924849 w 6573406"/>
              <a:gd name="connsiteY88" fmla="*/ 2894151 h 5129212"/>
              <a:gd name="connsiteX89" fmla="*/ 3928688 w 6573406"/>
              <a:gd name="connsiteY89" fmla="*/ 2899548 h 5129212"/>
              <a:gd name="connsiteX90" fmla="*/ 3932178 w 6573406"/>
              <a:gd name="connsiteY90" fmla="*/ 2904310 h 5129212"/>
              <a:gd name="connsiteX91" fmla="*/ 3935668 w 6573406"/>
              <a:gd name="connsiteY91" fmla="*/ 2909390 h 5129212"/>
              <a:gd name="connsiteX92" fmla="*/ 3938460 w 6573406"/>
              <a:gd name="connsiteY92" fmla="*/ 2915104 h 5129212"/>
              <a:gd name="connsiteX93" fmla="*/ 3941252 w 6573406"/>
              <a:gd name="connsiteY93" fmla="*/ 2920502 h 5129212"/>
              <a:gd name="connsiteX94" fmla="*/ 3943695 w 6573406"/>
              <a:gd name="connsiteY94" fmla="*/ 2925899 h 5129212"/>
              <a:gd name="connsiteX95" fmla="*/ 3945789 w 6573406"/>
              <a:gd name="connsiteY95" fmla="*/ 2931613 h 5129212"/>
              <a:gd name="connsiteX96" fmla="*/ 3947534 w 6573406"/>
              <a:gd name="connsiteY96" fmla="*/ 2937328 h 5129212"/>
              <a:gd name="connsiteX97" fmla="*/ 3949279 w 6573406"/>
              <a:gd name="connsiteY97" fmla="*/ 2943360 h 5129212"/>
              <a:gd name="connsiteX98" fmla="*/ 3950675 w 6573406"/>
              <a:gd name="connsiteY98" fmla="*/ 2949075 h 5129212"/>
              <a:gd name="connsiteX99" fmla="*/ 3951373 w 6573406"/>
              <a:gd name="connsiteY99" fmla="*/ 2954789 h 5129212"/>
              <a:gd name="connsiteX100" fmla="*/ 3952071 w 6573406"/>
              <a:gd name="connsiteY100" fmla="*/ 2960822 h 5129212"/>
              <a:gd name="connsiteX101" fmla="*/ 3952769 w 6573406"/>
              <a:gd name="connsiteY101" fmla="*/ 2966854 h 5129212"/>
              <a:gd name="connsiteX102" fmla="*/ 3952769 w 6573406"/>
              <a:gd name="connsiteY102" fmla="*/ 2973203 h 5129212"/>
              <a:gd name="connsiteX103" fmla="*/ 3952769 w 6573406"/>
              <a:gd name="connsiteY103" fmla="*/ 2978918 h 5129212"/>
              <a:gd name="connsiteX104" fmla="*/ 3952071 w 6573406"/>
              <a:gd name="connsiteY104" fmla="*/ 2984950 h 5129212"/>
              <a:gd name="connsiteX105" fmla="*/ 3951373 w 6573406"/>
              <a:gd name="connsiteY105" fmla="*/ 2990982 h 5129212"/>
              <a:gd name="connsiteX106" fmla="*/ 3950675 w 6573406"/>
              <a:gd name="connsiteY106" fmla="*/ 2996697 h 5129212"/>
              <a:gd name="connsiteX107" fmla="*/ 3949279 w 6573406"/>
              <a:gd name="connsiteY107" fmla="*/ 3002411 h 5129212"/>
              <a:gd name="connsiteX108" fmla="*/ 3947534 w 6573406"/>
              <a:gd name="connsiteY108" fmla="*/ 3008444 h 5129212"/>
              <a:gd name="connsiteX109" fmla="*/ 3945789 w 6573406"/>
              <a:gd name="connsiteY109" fmla="*/ 3014158 h 5129212"/>
              <a:gd name="connsiteX110" fmla="*/ 3943695 w 6573406"/>
              <a:gd name="connsiteY110" fmla="*/ 3019873 h 5129212"/>
              <a:gd name="connsiteX111" fmla="*/ 3941252 w 6573406"/>
              <a:gd name="connsiteY111" fmla="*/ 3025270 h 5129212"/>
              <a:gd name="connsiteX112" fmla="*/ 3938460 w 6573406"/>
              <a:gd name="connsiteY112" fmla="*/ 3030667 h 5129212"/>
              <a:gd name="connsiteX113" fmla="*/ 3935668 w 6573406"/>
              <a:gd name="connsiteY113" fmla="*/ 3036064 h 5129212"/>
              <a:gd name="connsiteX114" fmla="*/ 3932178 w 6573406"/>
              <a:gd name="connsiteY114" fmla="*/ 3041462 h 5129212"/>
              <a:gd name="connsiteX115" fmla="*/ 3928688 w 6573406"/>
              <a:gd name="connsiteY115" fmla="*/ 3046224 h 5129212"/>
              <a:gd name="connsiteX116" fmla="*/ 3924849 w 6573406"/>
              <a:gd name="connsiteY116" fmla="*/ 3051621 h 5129212"/>
              <a:gd name="connsiteX117" fmla="*/ 3920661 w 6573406"/>
              <a:gd name="connsiteY117" fmla="*/ 3056066 h 5129212"/>
              <a:gd name="connsiteX118" fmla="*/ 3916473 w 6573406"/>
              <a:gd name="connsiteY118" fmla="*/ 3060828 h 5129212"/>
              <a:gd name="connsiteX119" fmla="*/ 3911587 w 6573406"/>
              <a:gd name="connsiteY119" fmla="*/ 3065273 h 5129212"/>
              <a:gd name="connsiteX120" fmla="*/ 3906701 w 6573406"/>
              <a:gd name="connsiteY120" fmla="*/ 3069400 h 5129212"/>
              <a:gd name="connsiteX121" fmla="*/ 3901815 w 6573406"/>
              <a:gd name="connsiteY121" fmla="*/ 3073210 h 5129212"/>
              <a:gd name="connsiteX122" fmla="*/ 3896929 w 6573406"/>
              <a:gd name="connsiteY122" fmla="*/ 3077019 h 5129212"/>
              <a:gd name="connsiteX123" fmla="*/ 3891694 w 6573406"/>
              <a:gd name="connsiteY123" fmla="*/ 3080194 h 5129212"/>
              <a:gd name="connsiteX124" fmla="*/ 3886110 w 6573406"/>
              <a:gd name="connsiteY124" fmla="*/ 3083051 h 5129212"/>
              <a:gd name="connsiteX125" fmla="*/ 3880177 w 6573406"/>
              <a:gd name="connsiteY125" fmla="*/ 3085909 h 5129212"/>
              <a:gd name="connsiteX126" fmla="*/ 3874593 w 6573406"/>
              <a:gd name="connsiteY126" fmla="*/ 3088131 h 5129212"/>
              <a:gd name="connsiteX127" fmla="*/ 3869009 w 6573406"/>
              <a:gd name="connsiteY127" fmla="*/ 3090354 h 5129212"/>
              <a:gd name="connsiteX128" fmla="*/ 3863425 w 6573406"/>
              <a:gd name="connsiteY128" fmla="*/ 3092258 h 5129212"/>
              <a:gd name="connsiteX129" fmla="*/ 3857492 w 6573406"/>
              <a:gd name="connsiteY129" fmla="*/ 3093846 h 5129212"/>
              <a:gd name="connsiteX130" fmla="*/ 3851559 w 6573406"/>
              <a:gd name="connsiteY130" fmla="*/ 3095116 h 5129212"/>
              <a:gd name="connsiteX131" fmla="*/ 3845626 w 6573406"/>
              <a:gd name="connsiteY131" fmla="*/ 3096068 h 5129212"/>
              <a:gd name="connsiteX132" fmla="*/ 3839693 w 6573406"/>
              <a:gd name="connsiteY132" fmla="*/ 3097021 h 5129212"/>
              <a:gd name="connsiteX133" fmla="*/ 3833760 w 6573406"/>
              <a:gd name="connsiteY133" fmla="*/ 3097338 h 5129212"/>
              <a:gd name="connsiteX134" fmla="*/ 3827827 w 6573406"/>
              <a:gd name="connsiteY134" fmla="*/ 3097338 h 5129212"/>
              <a:gd name="connsiteX135" fmla="*/ 3821894 w 6573406"/>
              <a:gd name="connsiteY135" fmla="*/ 3097338 h 5129212"/>
              <a:gd name="connsiteX136" fmla="*/ 3815961 w 6573406"/>
              <a:gd name="connsiteY136" fmla="*/ 3097021 h 5129212"/>
              <a:gd name="connsiteX137" fmla="*/ 3810028 w 6573406"/>
              <a:gd name="connsiteY137" fmla="*/ 3096068 h 5129212"/>
              <a:gd name="connsiteX138" fmla="*/ 3804095 w 6573406"/>
              <a:gd name="connsiteY138" fmla="*/ 3095116 h 5129212"/>
              <a:gd name="connsiteX139" fmla="*/ 3798162 w 6573406"/>
              <a:gd name="connsiteY139" fmla="*/ 3093846 h 5129212"/>
              <a:gd name="connsiteX140" fmla="*/ 3792578 w 6573406"/>
              <a:gd name="connsiteY140" fmla="*/ 3092258 h 5129212"/>
              <a:gd name="connsiteX141" fmla="*/ 3786645 w 6573406"/>
              <a:gd name="connsiteY141" fmla="*/ 3090354 h 5129212"/>
              <a:gd name="connsiteX142" fmla="*/ 3781061 w 6573406"/>
              <a:gd name="connsiteY142" fmla="*/ 3088131 h 5129212"/>
              <a:gd name="connsiteX143" fmla="*/ 3775477 w 6573406"/>
              <a:gd name="connsiteY143" fmla="*/ 3085909 h 5129212"/>
              <a:gd name="connsiteX144" fmla="*/ 3769893 w 6573406"/>
              <a:gd name="connsiteY144" fmla="*/ 3083051 h 5129212"/>
              <a:gd name="connsiteX145" fmla="*/ 3764658 w 6573406"/>
              <a:gd name="connsiteY145" fmla="*/ 3080194 h 5129212"/>
              <a:gd name="connsiteX146" fmla="*/ 3759423 w 6573406"/>
              <a:gd name="connsiteY146" fmla="*/ 3077019 h 5129212"/>
              <a:gd name="connsiteX147" fmla="*/ 3754188 w 6573406"/>
              <a:gd name="connsiteY147" fmla="*/ 3073210 h 5129212"/>
              <a:gd name="connsiteX148" fmla="*/ 3749302 w 6573406"/>
              <a:gd name="connsiteY148" fmla="*/ 3069400 h 5129212"/>
              <a:gd name="connsiteX149" fmla="*/ 3744416 w 6573406"/>
              <a:gd name="connsiteY149" fmla="*/ 3065273 h 5129212"/>
              <a:gd name="connsiteX150" fmla="*/ 3739879 w 6573406"/>
              <a:gd name="connsiteY150" fmla="*/ 3060828 h 5129212"/>
              <a:gd name="connsiteX151" fmla="*/ 3013960 w 6573406"/>
              <a:gd name="connsiteY151" fmla="*/ 2336338 h 5129212"/>
              <a:gd name="connsiteX152" fmla="*/ 3009423 w 6573406"/>
              <a:gd name="connsiteY152" fmla="*/ 2331576 h 5129212"/>
              <a:gd name="connsiteX153" fmla="*/ 3004537 w 6573406"/>
              <a:gd name="connsiteY153" fmla="*/ 2327448 h 5129212"/>
              <a:gd name="connsiteX154" fmla="*/ 2999651 w 6573406"/>
              <a:gd name="connsiteY154" fmla="*/ 2323639 h 5129212"/>
              <a:gd name="connsiteX155" fmla="*/ 2994416 w 6573406"/>
              <a:gd name="connsiteY155" fmla="*/ 2320146 h 5129212"/>
              <a:gd name="connsiteX156" fmla="*/ 2989181 w 6573406"/>
              <a:gd name="connsiteY156" fmla="*/ 2316971 h 5129212"/>
              <a:gd name="connsiteX157" fmla="*/ 2983946 w 6573406"/>
              <a:gd name="connsiteY157" fmla="*/ 2313797 h 5129212"/>
              <a:gd name="connsiteX158" fmla="*/ 2978362 w 6573406"/>
              <a:gd name="connsiteY158" fmla="*/ 2310939 h 5129212"/>
              <a:gd name="connsiteX159" fmla="*/ 2972778 w 6573406"/>
              <a:gd name="connsiteY159" fmla="*/ 2308717 h 5129212"/>
              <a:gd name="connsiteX160" fmla="*/ 2967194 w 6573406"/>
              <a:gd name="connsiteY160" fmla="*/ 2306495 h 5129212"/>
              <a:gd name="connsiteX161" fmla="*/ 2961261 w 6573406"/>
              <a:gd name="connsiteY161" fmla="*/ 2304907 h 5129212"/>
              <a:gd name="connsiteX162" fmla="*/ 2955677 w 6573406"/>
              <a:gd name="connsiteY162" fmla="*/ 2303002 h 5129212"/>
              <a:gd name="connsiteX163" fmla="*/ 2949744 w 6573406"/>
              <a:gd name="connsiteY163" fmla="*/ 2302050 h 5129212"/>
              <a:gd name="connsiteX164" fmla="*/ 2943811 w 6573406"/>
              <a:gd name="connsiteY164" fmla="*/ 2301097 h 5129212"/>
              <a:gd name="connsiteX165" fmla="*/ 2937878 w 6573406"/>
              <a:gd name="connsiteY165" fmla="*/ 2300145 h 5129212"/>
              <a:gd name="connsiteX166" fmla="*/ 2931945 w 6573406"/>
              <a:gd name="connsiteY166" fmla="*/ 2299828 h 5129212"/>
              <a:gd name="connsiteX167" fmla="*/ 2926012 w 6573406"/>
              <a:gd name="connsiteY167" fmla="*/ 2299510 h 5129212"/>
              <a:gd name="connsiteX168" fmla="*/ 2919730 w 6573406"/>
              <a:gd name="connsiteY168" fmla="*/ 2299828 h 5129212"/>
              <a:gd name="connsiteX169" fmla="*/ 2913797 w 6573406"/>
              <a:gd name="connsiteY169" fmla="*/ 2300145 h 5129212"/>
              <a:gd name="connsiteX170" fmla="*/ 2907864 w 6573406"/>
              <a:gd name="connsiteY170" fmla="*/ 2301097 h 5129212"/>
              <a:gd name="connsiteX171" fmla="*/ 2901931 w 6573406"/>
              <a:gd name="connsiteY171" fmla="*/ 2302050 h 5129212"/>
              <a:gd name="connsiteX172" fmla="*/ 2896347 w 6573406"/>
              <a:gd name="connsiteY172" fmla="*/ 2303002 h 5129212"/>
              <a:gd name="connsiteX173" fmla="*/ 2890414 w 6573406"/>
              <a:gd name="connsiteY173" fmla="*/ 2304907 h 5129212"/>
              <a:gd name="connsiteX174" fmla="*/ 2884830 w 6573406"/>
              <a:gd name="connsiteY174" fmla="*/ 2306495 h 5129212"/>
              <a:gd name="connsiteX175" fmla="*/ 2878897 w 6573406"/>
              <a:gd name="connsiteY175" fmla="*/ 2308717 h 5129212"/>
              <a:gd name="connsiteX176" fmla="*/ 2873313 w 6573406"/>
              <a:gd name="connsiteY176" fmla="*/ 2310939 h 5129212"/>
              <a:gd name="connsiteX177" fmla="*/ 2868078 w 6573406"/>
              <a:gd name="connsiteY177" fmla="*/ 2313797 h 5129212"/>
              <a:gd name="connsiteX178" fmla="*/ 2862494 w 6573406"/>
              <a:gd name="connsiteY178" fmla="*/ 2316971 h 5129212"/>
              <a:gd name="connsiteX179" fmla="*/ 2857259 w 6573406"/>
              <a:gd name="connsiteY179" fmla="*/ 2320146 h 5129212"/>
              <a:gd name="connsiteX180" fmla="*/ 2852373 w 6573406"/>
              <a:gd name="connsiteY180" fmla="*/ 2323639 h 5129212"/>
              <a:gd name="connsiteX181" fmla="*/ 2847138 w 6573406"/>
              <a:gd name="connsiteY181" fmla="*/ 2327448 h 5129212"/>
              <a:gd name="connsiteX182" fmla="*/ 2842601 w 6573406"/>
              <a:gd name="connsiteY182" fmla="*/ 2331576 h 5129212"/>
              <a:gd name="connsiteX183" fmla="*/ 2837715 w 6573406"/>
              <a:gd name="connsiteY183" fmla="*/ 2336338 h 5129212"/>
              <a:gd name="connsiteX184" fmla="*/ 2833527 w 6573406"/>
              <a:gd name="connsiteY184" fmla="*/ 2340783 h 5129212"/>
              <a:gd name="connsiteX185" fmla="*/ 2829339 w 6573406"/>
              <a:gd name="connsiteY185" fmla="*/ 2345545 h 5129212"/>
              <a:gd name="connsiteX186" fmla="*/ 2825500 w 6573406"/>
              <a:gd name="connsiteY186" fmla="*/ 2350624 h 5129212"/>
              <a:gd name="connsiteX187" fmla="*/ 2822010 w 6573406"/>
              <a:gd name="connsiteY187" fmla="*/ 2355704 h 5129212"/>
              <a:gd name="connsiteX188" fmla="*/ 2818520 w 6573406"/>
              <a:gd name="connsiteY188" fmla="*/ 2361101 h 5129212"/>
              <a:gd name="connsiteX189" fmla="*/ 2815728 w 6573406"/>
              <a:gd name="connsiteY189" fmla="*/ 2366181 h 5129212"/>
              <a:gd name="connsiteX190" fmla="*/ 2812936 w 6573406"/>
              <a:gd name="connsiteY190" fmla="*/ 2371896 h 5129212"/>
              <a:gd name="connsiteX191" fmla="*/ 2810493 w 6573406"/>
              <a:gd name="connsiteY191" fmla="*/ 2377293 h 5129212"/>
              <a:gd name="connsiteX192" fmla="*/ 2808399 w 6573406"/>
              <a:gd name="connsiteY192" fmla="*/ 2383007 h 5129212"/>
              <a:gd name="connsiteX193" fmla="*/ 2806305 w 6573406"/>
              <a:gd name="connsiteY193" fmla="*/ 2388405 h 5129212"/>
              <a:gd name="connsiteX194" fmla="*/ 2804909 w 6573406"/>
              <a:gd name="connsiteY194" fmla="*/ 2394437 h 5129212"/>
              <a:gd name="connsiteX195" fmla="*/ 2803513 w 6573406"/>
              <a:gd name="connsiteY195" fmla="*/ 2400469 h 5129212"/>
              <a:gd name="connsiteX196" fmla="*/ 2802466 w 6573406"/>
              <a:gd name="connsiteY196" fmla="*/ 2406501 h 5129212"/>
              <a:gd name="connsiteX197" fmla="*/ 2801768 w 6573406"/>
              <a:gd name="connsiteY197" fmla="*/ 2412216 h 5129212"/>
              <a:gd name="connsiteX198" fmla="*/ 2801419 w 6573406"/>
              <a:gd name="connsiteY198" fmla="*/ 2418248 h 5129212"/>
              <a:gd name="connsiteX199" fmla="*/ 2801419 w 6573406"/>
              <a:gd name="connsiteY199" fmla="*/ 2424280 h 5129212"/>
              <a:gd name="connsiteX200" fmla="*/ 2801419 w 6573406"/>
              <a:gd name="connsiteY200" fmla="*/ 2429994 h 5129212"/>
              <a:gd name="connsiteX201" fmla="*/ 2801768 w 6573406"/>
              <a:gd name="connsiteY201" fmla="*/ 2436027 h 5129212"/>
              <a:gd name="connsiteX202" fmla="*/ 2802466 w 6573406"/>
              <a:gd name="connsiteY202" fmla="*/ 2442059 h 5129212"/>
              <a:gd name="connsiteX203" fmla="*/ 2803513 w 6573406"/>
              <a:gd name="connsiteY203" fmla="*/ 2447773 h 5129212"/>
              <a:gd name="connsiteX204" fmla="*/ 2804909 w 6573406"/>
              <a:gd name="connsiteY204" fmla="*/ 2453805 h 5129212"/>
              <a:gd name="connsiteX205" fmla="*/ 2806305 w 6573406"/>
              <a:gd name="connsiteY205" fmla="*/ 2459838 h 5129212"/>
              <a:gd name="connsiteX206" fmla="*/ 2808399 w 6573406"/>
              <a:gd name="connsiteY206" fmla="*/ 2465235 h 5129212"/>
              <a:gd name="connsiteX207" fmla="*/ 2810493 w 6573406"/>
              <a:gd name="connsiteY207" fmla="*/ 2470949 h 5129212"/>
              <a:gd name="connsiteX208" fmla="*/ 2812936 w 6573406"/>
              <a:gd name="connsiteY208" fmla="*/ 2476347 h 5129212"/>
              <a:gd name="connsiteX209" fmla="*/ 2815728 w 6573406"/>
              <a:gd name="connsiteY209" fmla="*/ 2482061 h 5129212"/>
              <a:gd name="connsiteX210" fmla="*/ 2818520 w 6573406"/>
              <a:gd name="connsiteY210" fmla="*/ 2487458 h 5129212"/>
              <a:gd name="connsiteX211" fmla="*/ 2822010 w 6573406"/>
              <a:gd name="connsiteY211" fmla="*/ 2492538 h 5129212"/>
              <a:gd name="connsiteX212" fmla="*/ 2825500 w 6573406"/>
              <a:gd name="connsiteY212" fmla="*/ 2497935 h 5129212"/>
              <a:gd name="connsiteX213" fmla="*/ 2829339 w 6573406"/>
              <a:gd name="connsiteY213" fmla="*/ 2502697 h 5129212"/>
              <a:gd name="connsiteX214" fmla="*/ 2833527 w 6573406"/>
              <a:gd name="connsiteY214" fmla="*/ 2507460 h 5129212"/>
              <a:gd name="connsiteX215" fmla="*/ 2837715 w 6573406"/>
              <a:gd name="connsiteY215" fmla="*/ 2512222 h 5129212"/>
              <a:gd name="connsiteX216" fmla="*/ 4276989 w 6573406"/>
              <a:gd name="connsiteY216" fmla="*/ 3949455 h 5129212"/>
              <a:gd name="connsiteX217" fmla="*/ 4281177 w 6573406"/>
              <a:gd name="connsiteY217" fmla="*/ 3953900 h 5129212"/>
              <a:gd name="connsiteX218" fmla="*/ 4285365 w 6573406"/>
              <a:gd name="connsiteY218" fmla="*/ 3958980 h 5129212"/>
              <a:gd name="connsiteX219" fmla="*/ 4289204 w 6573406"/>
              <a:gd name="connsiteY219" fmla="*/ 3963742 h 5129212"/>
              <a:gd name="connsiteX220" fmla="*/ 4292694 w 6573406"/>
              <a:gd name="connsiteY220" fmla="*/ 3968822 h 5129212"/>
              <a:gd name="connsiteX221" fmla="*/ 4296184 w 6573406"/>
              <a:gd name="connsiteY221" fmla="*/ 3974219 h 5129212"/>
              <a:gd name="connsiteX222" fmla="*/ 4298976 w 6573406"/>
              <a:gd name="connsiteY222" fmla="*/ 3979298 h 5129212"/>
              <a:gd name="connsiteX223" fmla="*/ 4301768 w 6573406"/>
              <a:gd name="connsiteY223" fmla="*/ 3985013 h 5129212"/>
              <a:gd name="connsiteX224" fmla="*/ 4304211 w 6573406"/>
              <a:gd name="connsiteY224" fmla="*/ 3990728 h 5129212"/>
              <a:gd name="connsiteX225" fmla="*/ 4306305 w 6573406"/>
              <a:gd name="connsiteY225" fmla="*/ 3996125 h 5129212"/>
              <a:gd name="connsiteX226" fmla="*/ 4308050 w 6573406"/>
              <a:gd name="connsiteY226" fmla="*/ 4001840 h 5129212"/>
              <a:gd name="connsiteX227" fmla="*/ 4309795 w 6573406"/>
              <a:gd name="connsiteY227" fmla="*/ 4007554 h 5129212"/>
              <a:gd name="connsiteX228" fmla="*/ 4311191 w 6573406"/>
              <a:gd name="connsiteY228" fmla="*/ 4013586 h 5129212"/>
              <a:gd name="connsiteX229" fmla="*/ 4311889 w 6573406"/>
              <a:gd name="connsiteY229" fmla="*/ 4019618 h 5129212"/>
              <a:gd name="connsiteX230" fmla="*/ 4312587 w 6573406"/>
              <a:gd name="connsiteY230" fmla="*/ 4025333 h 5129212"/>
              <a:gd name="connsiteX231" fmla="*/ 4313285 w 6573406"/>
              <a:gd name="connsiteY231" fmla="*/ 4031365 h 5129212"/>
              <a:gd name="connsiteX232" fmla="*/ 4313285 w 6573406"/>
              <a:gd name="connsiteY232" fmla="*/ 4037397 h 5129212"/>
              <a:gd name="connsiteX233" fmla="*/ 4313285 w 6573406"/>
              <a:gd name="connsiteY233" fmla="*/ 4043429 h 5129212"/>
              <a:gd name="connsiteX234" fmla="*/ 4312587 w 6573406"/>
              <a:gd name="connsiteY234" fmla="*/ 4049144 h 5129212"/>
              <a:gd name="connsiteX235" fmla="*/ 4311889 w 6573406"/>
              <a:gd name="connsiteY235" fmla="*/ 4055176 h 5129212"/>
              <a:gd name="connsiteX236" fmla="*/ 4311191 w 6573406"/>
              <a:gd name="connsiteY236" fmla="*/ 4061208 h 5129212"/>
              <a:gd name="connsiteX237" fmla="*/ 4309795 w 6573406"/>
              <a:gd name="connsiteY237" fmla="*/ 4066923 h 5129212"/>
              <a:gd name="connsiteX238" fmla="*/ 4308050 w 6573406"/>
              <a:gd name="connsiteY238" fmla="*/ 4072955 h 5129212"/>
              <a:gd name="connsiteX239" fmla="*/ 4306305 w 6573406"/>
              <a:gd name="connsiteY239" fmla="*/ 4078670 h 5129212"/>
              <a:gd name="connsiteX240" fmla="*/ 4304211 w 6573406"/>
              <a:gd name="connsiteY240" fmla="*/ 4084067 h 5129212"/>
              <a:gd name="connsiteX241" fmla="*/ 4301768 w 6573406"/>
              <a:gd name="connsiteY241" fmla="*/ 4089782 h 5129212"/>
              <a:gd name="connsiteX242" fmla="*/ 4298976 w 6573406"/>
              <a:gd name="connsiteY242" fmla="*/ 4095179 h 5129212"/>
              <a:gd name="connsiteX243" fmla="*/ 4296184 w 6573406"/>
              <a:gd name="connsiteY243" fmla="*/ 4100576 h 5129212"/>
              <a:gd name="connsiteX244" fmla="*/ 4292694 w 6573406"/>
              <a:gd name="connsiteY244" fmla="*/ 4105656 h 5129212"/>
              <a:gd name="connsiteX245" fmla="*/ 4289204 w 6573406"/>
              <a:gd name="connsiteY245" fmla="*/ 4111053 h 5129212"/>
              <a:gd name="connsiteX246" fmla="*/ 4285365 w 6573406"/>
              <a:gd name="connsiteY246" fmla="*/ 4115815 h 5129212"/>
              <a:gd name="connsiteX247" fmla="*/ 4281177 w 6573406"/>
              <a:gd name="connsiteY247" fmla="*/ 4120895 h 5129212"/>
              <a:gd name="connsiteX248" fmla="*/ 4276989 w 6573406"/>
              <a:gd name="connsiteY248" fmla="*/ 4125339 h 5129212"/>
              <a:gd name="connsiteX249" fmla="*/ 4272801 w 6573406"/>
              <a:gd name="connsiteY249" fmla="*/ 4129149 h 5129212"/>
              <a:gd name="connsiteX250" fmla="*/ 4268613 w 6573406"/>
              <a:gd name="connsiteY250" fmla="*/ 4132959 h 5129212"/>
              <a:gd name="connsiteX251" fmla="*/ 4264425 w 6573406"/>
              <a:gd name="connsiteY251" fmla="*/ 4136134 h 5129212"/>
              <a:gd name="connsiteX252" fmla="*/ 4259888 w 6573406"/>
              <a:gd name="connsiteY252" fmla="*/ 4139626 h 5129212"/>
              <a:gd name="connsiteX253" fmla="*/ 4255700 w 6573406"/>
              <a:gd name="connsiteY253" fmla="*/ 4142483 h 5129212"/>
              <a:gd name="connsiteX254" fmla="*/ 4250814 w 6573406"/>
              <a:gd name="connsiteY254" fmla="*/ 4145023 h 5129212"/>
              <a:gd name="connsiteX255" fmla="*/ 4246277 w 6573406"/>
              <a:gd name="connsiteY255" fmla="*/ 4147880 h 5129212"/>
              <a:gd name="connsiteX256" fmla="*/ 4241391 w 6573406"/>
              <a:gd name="connsiteY256" fmla="*/ 4150103 h 5129212"/>
              <a:gd name="connsiteX257" fmla="*/ 4236854 w 6573406"/>
              <a:gd name="connsiteY257" fmla="*/ 4152008 h 5129212"/>
              <a:gd name="connsiteX258" fmla="*/ 4231619 w 6573406"/>
              <a:gd name="connsiteY258" fmla="*/ 4154230 h 5129212"/>
              <a:gd name="connsiteX259" fmla="*/ 4226733 w 6573406"/>
              <a:gd name="connsiteY259" fmla="*/ 4156135 h 5129212"/>
              <a:gd name="connsiteX260" fmla="*/ 4221847 w 6573406"/>
              <a:gd name="connsiteY260" fmla="*/ 4157405 h 5129212"/>
              <a:gd name="connsiteX261" fmla="*/ 4216612 w 6573406"/>
              <a:gd name="connsiteY261" fmla="*/ 4158675 h 5129212"/>
              <a:gd name="connsiteX262" fmla="*/ 4211726 w 6573406"/>
              <a:gd name="connsiteY262" fmla="*/ 4159945 h 5129212"/>
              <a:gd name="connsiteX263" fmla="*/ 4206491 w 6573406"/>
              <a:gd name="connsiteY263" fmla="*/ 4160580 h 5129212"/>
              <a:gd name="connsiteX264" fmla="*/ 4201256 w 6573406"/>
              <a:gd name="connsiteY264" fmla="*/ 4161215 h 5129212"/>
              <a:gd name="connsiteX265" fmla="*/ 4196022 w 6573406"/>
              <a:gd name="connsiteY265" fmla="*/ 4161532 h 5129212"/>
              <a:gd name="connsiteX266" fmla="*/ 4191135 w 6573406"/>
              <a:gd name="connsiteY266" fmla="*/ 4161532 h 5129212"/>
              <a:gd name="connsiteX267" fmla="*/ 4185900 w 6573406"/>
              <a:gd name="connsiteY267" fmla="*/ 4161532 h 5129212"/>
              <a:gd name="connsiteX268" fmla="*/ 4180665 w 6573406"/>
              <a:gd name="connsiteY268" fmla="*/ 4161532 h 5129212"/>
              <a:gd name="connsiteX269" fmla="*/ 4175430 w 6573406"/>
              <a:gd name="connsiteY269" fmla="*/ 4160897 h 5129212"/>
              <a:gd name="connsiteX270" fmla="*/ 4170195 w 6573406"/>
              <a:gd name="connsiteY270" fmla="*/ 4160580 h 5129212"/>
              <a:gd name="connsiteX271" fmla="*/ 4165309 w 6573406"/>
              <a:gd name="connsiteY271" fmla="*/ 4159627 h 5129212"/>
              <a:gd name="connsiteX272" fmla="*/ 4159725 w 6573406"/>
              <a:gd name="connsiteY272" fmla="*/ 4158357 h 5129212"/>
              <a:gd name="connsiteX273" fmla="*/ 4154490 w 6573406"/>
              <a:gd name="connsiteY273" fmla="*/ 4157087 h 5129212"/>
              <a:gd name="connsiteX274" fmla="*/ 4149604 w 6573406"/>
              <a:gd name="connsiteY274" fmla="*/ 4155500 h 5129212"/>
              <a:gd name="connsiteX275" fmla="*/ 4144718 w 6573406"/>
              <a:gd name="connsiteY275" fmla="*/ 4153913 h 5129212"/>
              <a:gd name="connsiteX276" fmla="*/ 4139832 w 6573406"/>
              <a:gd name="connsiteY276" fmla="*/ 4151690 h 5129212"/>
              <a:gd name="connsiteX277" fmla="*/ 4134946 w 6573406"/>
              <a:gd name="connsiteY277" fmla="*/ 4149785 h 5129212"/>
              <a:gd name="connsiteX278" fmla="*/ 4130409 w 6573406"/>
              <a:gd name="connsiteY278" fmla="*/ 4147246 h 5129212"/>
              <a:gd name="connsiteX279" fmla="*/ 4125523 w 6573406"/>
              <a:gd name="connsiteY279" fmla="*/ 4144706 h 5129212"/>
              <a:gd name="connsiteX280" fmla="*/ 4120986 w 6573406"/>
              <a:gd name="connsiteY280" fmla="*/ 4142166 h 5129212"/>
              <a:gd name="connsiteX281" fmla="*/ 0 w 6573406"/>
              <a:gd name="connsiteY281" fmla="*/ 0 h 5129212"/>
              <a:gd name="connsiteX0" fmla="*/ 0 w 6573406"/>
              <a:gd name="connsiteY0" fmla="*/ 0 h 5129212"/>
              <a:gd name="connsiteX1" fmla="*/ 0 w 6573406"/>
              <a:gd name="connsiteY1" fmla="*/ 5129212 h 5129212"/>
              <a:gd name="connsiteX2" fmla="*/ 6573406 w 6573406"/>
              <a:gd name="connsiteY2" fmla="*/ 5129212 h 5129212"/>
              <a:gd name="connsiteX3" fmla="*/ 3968474 w 6573406"/>
              <a:gd name="connsiteY3" fmla="*/ 2531906 h 5129212"/>
              <a:gd name="connsiteX4" fmla="*/ 3962541 w 6573406"/>
              <a:gd name="connsiteY4" fmla="*/ 2531906 h 5129212"/>
              <a:gd name="connsiteX5" fmla="*/ 3956259 w 6573406"/>
              <a:gd name="connsiteY5" fmla="*/ 2531588 h 5129212"/>
              <a:gd name="connsiteX6" fmla="*/ 3950326 w 6573406"/>
              <a:gd name="connsiteY6" fmla="*/ 2530953 h 5129212"/>
              <a:gd name="connsiteX7" fmla="*/ 3944393 w 6573406"/>
              <a:gd name="connsiteY7" fmla="*/ 2530001 h 5129212"/>
              <a:gd name="connsiteX8" fmla="*/ 3938460 w 6573406"/>
              <a:gd name="connsiteY8" fmla="*/ 2528731 h 5129212"/>
              <a:gd name="connsiteX9" fmla="*/ 3932527 w 6573406"/>
              <a:gd name="connsiteY9" fmla="*/ 2527143 h 5129212"/>
              <a:gd name="connsiteX10" fmla="*/ 3926943 w 6573406"/>
              <a:gd name="connsiteY10" fmla="*/ 2525239 h 5129212"/>
              <a:gd name="connsiteX11" fmla="*/ 3921010 w 6573406"/>
              <a:gd name="connsiteY11" fmla="*/ 2523334 h 5129212"/>
              <a:gd name="connsiteX12" fmla="*/ 3915426 w 6573406"/>
              <a:gd name="connsiteY12" fmla="*/ 2520794 h 5129212"/>
              <a:gd name="connsiteX13" fmla="*/ 3909842 w 6573406"/>
              <a:gd name="connsiteY13" fmla="*/ 2517937 h 5129212"/>
              <a:gd name="connsiteX14" fmla="*/ 3904258 w 6573406"/>
              <a:gd name="connsiteY14" fmla="*/ 2515079 h 5129212"/>
              <a:gd name="connsiteX15" fmla="*/ 3899023 w 6573406"/>
              <a:gd name="connsiteY15" fmla="*/ 2511587 h 5129212"/>
              <a:gd name="connsiteX16" fmla="*/ 3893788 w 6573406"/>
              <a:gd name="connsiteY16" fmla="*/ 2508095 h 5129212"/>
              <a:gd name="connsiteX17" fmla="*/ 3888902 w 6573406"/>
              <a:gd name="connsiteY17" fmla="*/ 2504285 h 5129212"/>
              <a:gd name="connsiteX18" fmla="*/ 3884016 w 6573406"/>
              <a:gd name="connsiteY18" fmla="*/ 2500158 h 5129212"/>
              <a:gd name="connsiteX19" fmla="*/ 3879130 w 6573406"/>
              <a:gd name="connsiteY19" fmla="*/ 2495713 h 5129212"/>
              <a:gd name="connsiteX20" fmla="*/ 3266286 w 6573406"/>
              <a:gd name="connsiteY20" fmla="*/ 1883611 h 5129212"/>
              <a:gd name="connsiteX21" fmla="*/ 3261400 w 6573406"/>
              <a:gd name="connsiteY21" fmla="*/ 1879484 h 5129212"/>
              <a:gd name="connsiteX22" fmla="*/ 3256864 w 6573406"/>
              <a:gd name="connsiteY22" fmla="*/ 1875356 h 5129212"/>
              <a:gd name="connsiteX23" fmla="*/ 3251628 w 6573406"/>
              <a:gd name="connsiteY23" fmla="*/ 1871547 h 5129212"/>
              <a:gd name="connsiteX24" fmla="*/ 3246742 w 6573406"/>
              <a:gd name="connsiteY24" fmla="*/ 1868054 h 5129212"/>
              <a:gd name="connsiteX25" fmla="*/ 3241508 w 6573406"/>
              <a:gd name="connsiteY25" fmla="*/ 1864562 h 5129212"/>
              <a:gd name="connsiteX26" fmla="*/ 3235924 w 6573406"/>
              <a:gd name="connsiteY26" fmla="*/ 1861705 h 5129212"/>
              <a:gd name="connsiteX27" fmla="*/ 3230688 w 6573406"/>
              <a:gd name="connsiteY27" fmla="*/ 1858847 h 5129212"/>
              <a:gd name="connsiteX28" fmla="*/ 3225104 w 6573406"/>
              <a:gd name="connsiteY28" fmla="*/ 1856308 h 5129212"/>
              <a:gd name="connsiteX29" fmla="*/ 3219172 w 6573406"/>
              <a:gd name="connsiteY29" fmla="*/ 1854403 h 5129212"/>
              <a:gd name="connsiteX30" fmla="*/ 3213588 w 6573406"/>
              <a:gd name="connsiteY30" fmla="*/ 1852180 h 5129212"/>
              <a:gd name="connsiteX31" fmla="*/ 3207654 w 6573406"/>
              <a:gd name="connsiteY31" fmla="*/ 1850910 h 5129212"/>
              <a:gd name="connsiteX32" fmla="*/ 3202070 w 6573406"/>
              <a:gd name="connsiteY32" fmla="*/ 1849323 h 5129212"/>
              <a:gd name="connsiteX33" fmla="*/ 3196138 w 6573406"/>
              <a:gd name="connsiteY33" fmla="*/ 1848371 h 5129212"/>
              <a:gd name="connsiteX34" fmla="*/ 3190205 w 6573406"/>
              <a:gd name="connsiteY34" fmla="*/ 1847736 h 5129212"/>
              <a:gd name="connsiteX35" fmla="*/ 3184272 w 6573406"/>
              <a:gd name="connsiteY35" fmla="*/ 1847418 h 5129212"/>
              <a:gd name="connsiteX36" fmla="*/ 3177990 w 6573406"/>
              <a:gd name="connsiteY36" fmla="*/ 1847418 h 5129212"/>
              <a:gd name="connsiteX37" fmla="*/ 3172057 w 6573406"/>
              <a:gd name="connsiteY37" fmla="*/ 1847418 h 5129212"/>
              <a:gd name="connsiteX38" fmla="*/ 3166124 w 6573406"/>
              <a:gd name="connsiteY38" fmla="*/ 1847736 h 5129212"/>
              <a:gd name="connsiteX39" fmla="*/ 3160191 w 6573406"/>
              <a:gd name="connsiteY39" fmla="*/ 1848371 h 5129212"/>
              <a:gd name="connsiteX40" fmla="*/ 3154258 w 6573406"/>
              <a:gd name="connsiteY40" fmla="*/ 1849323 h 5129212"/>
              <a:gd name="connsiteX41" fmla="*/ 3148325 w 6573406"/>
              <a:gd name="connsiteY41" fmla="*/ 1850910 h 5129212"/>
              <a:gd name="connsiteX42" fmla="*/ 3142741 w 6573406"/>
              <a:gd name="connsiteY42" fmla="*/ 1852180 h 5129212"/>
              <a:gd name="connsiteX43" fmla="*/ 3136808 w 6573406"/>
              <a:gd name="connsiteY43" fmla="*/ 1854403 h 5129212"/>
              <a:gd name="connsiteX44" fmla="*/ 3131224 w 6573406"/>
              <a:gd name="connsiteY44" fmla="*/ 1856308 h 5129212"/>
              <a:gd name="connsiteX45" fmla="*/ 3125640 w 6573406"/>
              <a:gd name="connsiteY45" fmla="*/ 1858847 h 5129212"/>
              <a:gd name="connsiteX46" fmla="*/ 3120405 w 6573406"/>
              <a:gd name="connsiteY46" fmla="*/ 1861705 h 5129212"/>
              <a:gd name="connsiteX47" fmla="*/ 3114821 w 6573406"/>
              <a:gd name="connsiteY47" fmla="*/ 1864562 h 5129212"/>
              <a:gd name="connsiteX48" fmla="*/ 3109586 w 6573406"/>
              <a:gd name="connsiteY48" fmla="*/ 1868054 h 5129212"/>
              <a:gd name="connsiteX49" fmla="*/ 3104351 w 6573406"/>
              <a:gd name="connsiteY49" fmla="*/ 1871547 h 5129212"/>
              <a:gd name="connsiteX50" fmla="*/ 3099465 w 6573406"/>
              <a:gd name="connsiteY50" fmla="*/ 1875356 h 5129212"/>
              <a:gd name="connsiteX51" fmla="*/ 3094579 w 6573406"/>
              <a:gd name="connsiteY51" fmla="*/ 1879484 h 5129212"/>
              <a:gd name="connsiteX52" fmla="*/ 3090042 w 6573406"/>
              <a:gd name="connsiteY52" fmla="*/ 1883611 h 5129212"/>
              <a:gd name="connsiteX53" fmla="*/ 3085505 w 6573406"/>
              <a:gd name="connsiteY53" fmla="*/ 1888373 h 5129212"/>
              <a:gd name="connsiteX54" fmla="*/ 3081666 w 6573406"/>
              <a:gd name="connsiteY54" fmla="*/ 1893135 h 5129212"/>
              <a:gd name="connsiteX55" fmla="*/ 3077827 w 6573406"/>
              <a:gd name="connsiteY55" fmla="*/ 1898215 h 5129212"/>
              <a:gd name="connsiteX56" fmla="*/ 3073988 w 6573406"/>
              <a:gd name="connsiteY56" fmla="*/ 1903295 h 5129212"/>
              <a:gd name="connsiteX57" fmla="*/ 3070847 w 6573406"/>
              <a:gd name="connsiteY57" fmla="*/ 1908374 h 5129212"/>
              <a:gd name="connsiteX58" fmla="*/ 3067706 w 6573406"/>
              <a:gd name="connsiteY58" fmla="*/ 1914089 h 5129212"/>
              <a:gd name="connsiteX59" fmla="*/ 3065263 w 6573406"/>
              <a:gd name="connsiteY59" fmla="*/ 1919169 h 5129212"/>
              <a:gd name="connsiteX60" fmla="*/ 3062820 w 6573406"/>
              <a:gd name="connsiteY60" fmla="*/ 1924883 h 5129212"/>
              <a:gd name="connsiteX61" fmla="*/ 3060726 w 6573406"/>
              <a:gd name="connsiteY61" fmla="*/ 1930281 h 5129212"/>
              <a:gd name="connsiteX62" fmla="*/ 3058632 w 6573406"/>
              <a:gd name="connsiteY62" fmla="*/ 1936313 h 5129212"/>
              <a:gd name="connsiteX63" fmla="*/ 3057236 w 6573406"/>
              <a:gd name="connsiteY63" fmla="*/ 1942345 h 5129212"/>
              <a:gd name="connsiteX64" fmla="*/ 3055840 w 6573406"/>
              <a:gd name="connsiteY64" fmla="*/ 1947742 h 5129212"/>
              <a:gd name="connsiteX65" fmla="*/ 3054793 w 6573406"/>
              <a:gd name="connsiteY65" fmla="*/ 1953774 h 5129212"/>
              <a:gd name="connsiteX66" fmla="*/ 3054095 w 6573406"/>
              <a:gd name="connsiteY66" fmla="*/ 1959806 h 5129212"/>
              <a:gd name="connsiteX67" fmla="*/ 3053746 w 6573406"/>
              <a:gd name="connsiteY67" fmla="*/ 1965521 h 5129212"/>
              <a:gd name="connsiteX68" fmla="*/ 3053746 w 6573406"/>
              <a:gd name="connsiteY68" fmla="*/ 1971870 h 5129212"/>
              <a:gd name="connsiteX69" fmla="*/ 3053746 w 6573406"/>
              <a:gd name="connsiteY69" fmla="*/ 1977903 h 5129212"/>
              <a:gd name="connsiteX70" fmla="*/ 3054095 w 6573406"/>
              <a:gd name="connsiteY70" fmla="*/ 1983617 h 5129212"/>
              <a:gd name="connsiteX71" fmla="*/ 3054793 w 6573406"/>
              <a:gd name="connsiteY71" fmla="*/ 1989649 h 5129212"/>
              <a:gd name="connsiteX72" fmla="*/ 3055840 w 6573406"/>
              <a:gd name="connsiteY72" fmla="*/ 1995681 h 5129212"/>
              <a:gd name="connsiteX73" fmla="*/ 3057236 w 6573406"/>
              <a:gd name="connsiteY73" fmla="*/ 2001079 h 5129212"/>
              <a:gd name="connsiteX74" fmla="*/ 3058632 w 6573406"/>
              <a:gd name="connsiteY74" fmla="*/ 2007111 h 5129212"/>
              <a:gd name="connsiteX75" fmla="*/ 3060726 w 6573406"/>
              <a:gd name="connsiteY75" fmla="*/ 2013143 h 5129212"/>
              <a:gd name="connsiteX76" fmla="*/ 3062820 w 6573406"/>
              <a:gd name="connsiteY76" fmla="*/ 2018540 h 5129212"/>
              <a:gd name="connsiteX77" fmla="*/ 3065263 w 6573406"/>
              <a:gd name="connsiteY77" fmla="*/ 2024255 h 5129212"/>
              <a:gd name="connsiteX78" fmla="*/ 3067706 w 6573406"/>
              <a:gd name="connsiteY78" fmla="*/ 2029334 h 5129212"/>
              <a:gd name="connsiteX79" fmla="*/ 3070847 w 6573406"/>
              <a:gd name="connsiteY79" fmla="*/ 2035049 h 5129212"/>
              <a:gd name="connsiteX80" fmla="*/ 3073988 w 6573406"/>
              <a:gd name="connsiteY80" fmla="*/ 2040446 h 5129212"/>
              <a:gd name="connsiteX81" fmla="*/ 3077827 w 6573406"/>
              <a:gd name="connsiteY81" fmla="*/ 2045208 h 5129212"/>
              <a:gd name="connsiteX82" fmla="*/ 3081666 w 6573406"/>
              <a:gd name="connsiteY82" fmla="*/ 2050288 h 5129212"/>
              <a:gd name="connsiteX83" fmla="*/ 3085505 w 6573406"/>
              <a:gd name="connsiteY83" fmla="*/ 2055368 h 5129212"/>
              <a:gd name="connsiteX84" fmla="*/ 3090042 w 6573406"/>
              <a:gd name="connsiteY84" fmla="*/ 2059812 h 5129212"/>
              <a:gd name="connsiteX85" fmla="*/ 3916473 w 6573406"/>
              <a:gd name="connsiteY85" fmla="*/ 2884626 h 5129212"/>
              <a:gd name="connsiteX86" fmla="*/ 3920661 w 6573406"/>
              <a:gd name="connsiteY86" fmla="*/ 2889706 h 5129212"/>
              <a:gd name="connsiteX87" fmla="*/ 3924849 w 6573406"/>
              <a:gd name="connsiteY87" fmla="*/ 2894151 h 5129212"/>
              <a:gd name="connsiteX88" fmla="*/ 3928688 w 6573406"/>
              <a:gd name="connsiteY88" fmla="*/ 2899548 h 5129212"/>
              <a:gd name="connsiteX89" fmla="*/ 3932178 w 6573406"/>
              <a:gd name="connsiteY89" fmla="*/ 2904310 h 5129212"/>
              <a:gd name="connsiteX90" fmla="*/ 3935668 w 6573406"/>
              <a:gd name="connsiteY90" fmla="*/ 2909390 h 5129212"/>
              <a:gd name="connsiteX91" fmla="*/ 3938460 w 6573406"/>
              <a:gd name="connsiteY91" fmla="*/ 2915104 h 5129212"/>
              <a:gd name="connsiteX92" fmla="*/ 3941252 w 6573406"/>
              <a:gd name="connsiteY92" fmla="*/ 2920502 h 5129212"/>
              <a:gd name="connsiteX93" fmla="*/ 3943695 w 6573406"/>
              <a:gd name="connsiteY93" fmla="*/ 2925899 h 5129212"/>
              <a:gd name="connsiteX94" fmla="*/ 3945789 w 6573406"/>
              <a:gd name="connsiteY94" fmla="*/ 2931613 h 5129212"/>
              <a:gd name="connsiteX95" fmla="*/ 3947534 w 6573406"/>
              <a:gd name="connsiteY95" fmla="*/ 2937328 h 5129212"/>
              <a:gd name="connsiteX96" fmla="*/ 3949279 w 6573406"/>
              <a:gd name="connsiteY96" fmla="*/ 2943360 h 5129212"/>
              <a:gd name="connsiteX97" fmla="*/ 3950675 w 6573406"/>
              <a:gd name="connsiteY97" fmla="*/ 2949075 h 5129212"/>
              <a:gd name="connsiteX98" fmla="*/ 3951373 w 6573406"/>
              <a:gd name="connsiteY98" fmla="*/ 2954789 h 5129212"/>
              <a:gd name="connsiteX99" fmla="*/ 3952071 w 6573406"/>
              <a:gd name="connsiteY99" fmla="*/ 2960822 h 5129212"/>
              <a:gd name="connsiteX100" fmla="*/ 3952769 w 6573406"/>
              <a:gd name="connsiteY100" fmla="*/ 2966854 h 5129212"/>
              <a:gd name="connsiteX101" fmla="*/ 3952769 w 6573406"/>
              <a:gd name="connsiteY101" fmla="*/ 2973203 h 5129212"/>
              <a:gd name="connsiteX102" fmla="*/ 3952769 w 6573406"/>
              <a:gd name="connsiteY102" fmla="*/ 2978918 h 5129212"/>
              <a:gd name="connsiteX103" fmla="*/ 3952071 w 6573406"/>
              <a:gd name="connsiteY103" fmla="*/ 2984950 h 5129212"/>
              <a:gd name="connsiteX104" fmla="*/ 3951373 w 6573406"/>
              <a:gd name="connsiteY104" fmla="*/ 2990982 h 5129212"/>
              <a:gd name="connsiteX105" fmla="*/ 3950675 w 6573406"/>
              <a:gd name="connsiteY105" fmla="*/ 2996697 h 5129212"/>
              <a:gd name="connsiteX106" fmla="*/ 3949279 w 6573406"/>
              <a:gd name="connsiteY106" fmla="*/ 3002411 h 5129212"/>
              <a:gd name="connsiteX107" fmla="*/ 3947534 w 6573406"/>
              <a:gd name="connsiteY107" fmla="*/ 3008444 h 5129212"/>
              <a:gd name="connsiteX108" fmla="*/ 3945789 w 6573406"/>
              <a:gd name="connsiteY108" fmla="*/ 3014158 h 5129212"/>
              <a:gd name="connsiteX109" fmla="*/ 3943695 w 6573406"/>
              <a:gd name="connsiteY109" fmla="*/ 3019873 h 5129212"/>
              <a:gd name="connsiteX110" fmla="*/ 3941252 w 6573406"/>
              <a:gd name="connsiteY110" fmla="*/ 3025270 h 5129212"/>
              <a:gd name="connsiteX111" fmla="*/ 3938460 w 6573406"/>
              <a:gd name="connsiteY111" fmla="*/ 3030667 h 5129212"/>
              <a:gd name="connsiteX112" fmla="*/ 3935668 w 6573406"/>
              <a:gd name="connsiteY112" fmla="*/ 3036064 h 5129212"/>
              <a:gd name="connsiteX113" fmla="*/ 3932178 w 6573406"/>
              <a:gd name="connsiteY113" fmla="*/ 3041462 h 5129212"/>
              <a:gd name="connsiteX114" fmla="*/ 3928688 w 6573406"/>
              <a:gd name="connsiteY114" fmla="*/ 3046224 h 5129212"/>
              <a:gd name="connsiteX115" fmla="*/ 3924849 w 6573406"/>
              <a:gd name="connsiteY115" fmla="*/ 3051621 h 5129212"/>
              <a:gd name="connsiteX116" fmla="*/ 3920661 w 6573406"/>
              <a:gd name="connsiteY116" fmla="*/ 3056066 h 5129212"/>
              <a:gd name="connsiteX117" fmla="*/ 3916473 w 6573406"/>
              <a:gd name="connsiteY117" fmla="*/ 3060828 h 5129212"/>
              <a:gd name="connsiteX118" fmla="*/ 3911587 w 6573406"/>
              <a:gd name="connsiteY118" fmla="*/ 3065273 h 5129212"/>
              <a:gd name="connsiteX119" fmla="*/ 3906701 w 6573406"/>
              <a:gd name="connsiteY119" fmla="*/ 3069400 h 5129212"/>
              <a:gd name="connsiteX120" fmla="*/ 3901815 w 6573406"/>
              <a:gd name="connsiteY120" fmla="*/ 3073210 h 5129212"/>
              <a:gd name="connsiteX121" fmla="*/ 3896929 w 6573406"/>
              <a:gd name="connsiteY121" fmla="*/ 3077019 h 5129212"/>
              <a:gd name="connsiteX122" fmla="*/ 3891694 w 6573406"/>
              <a:gd name="connsiteY122" fmla="*/ 3080194 h 5129212"/>
              <a:gd name="connsiteX123" fmla="*/ 3886110 w 6573406"/>
              <a:gd name="connsiteY123" fmla="*/ 3083051 h 5129212"/>
              <a:gd name="connsiteX124" fmla="*/ 3880177 w 6573406"/>
              <a:gd name="connsiteY124" fmla="*/ 3085909 h 5129212"/>
              <a:gd name="connsiteX125" fmla="*/ 3874593 w 6573406"/>
              <a:gd name="connsiteY125" fmla="*/ 3088131 h 5129212"/>
              <a:gd name="connsiteX126" fmla="*/ 3869009 w 6573406"/>
              <a:gd name="connsiteY126" fmla="*/ 3090354 h 5129212"/>
              <a:gd name="connsiteX127" fmla="*/ 3863425 w 6573406"/>
              <a:gd name="connsiteY127" fmla="*/ 3092258 h 5129212"/>
              <a:gd name="connsiteX128" fmla="*/ 3857492 w 6573406"/>
              <a:gd name="connsiteY128" fmla="*/ 3093846 h 5129212"/>
              <a:gd name="connsiteX129" fmla="*/ 3851559 w 6573406"/>
              <a:gd name="connsiteY129" fmla="*/ 3095116 h 5129212"/>
              <a:gd name="connsiteX130" fmla="*/ 3845626 w 6573406"/>
              <a:gd name="connsiteY130" fmla="*/ 3096068 h 5129212"/>
              <a:gd name="connsiteX131" fmla="*/ 3839693 w 6573406"/>
              <a:gd name="connsiteY131" fmla="*/ 3097021 h 5129212"/>
              <a:gd name="connsiteX132" fmla="*/ 3833760 w 6573406"/>
              <a:gd name="connsiteY132" fmla="*/ 3097338 h 5129212"/>
              <a:gd name="connsiteX133" fmla="*/ 3827827 w 6573406"/>
              <a:gd name="connsiteY133" fmla="*/ 3097338 h 5129212"/>
              <a:gd name="connsiteX134" fmla="*/ 3821894 w 6573406"/>
              <a:gd name="connsiteY134" fmla="*/ 3097338 h 5129212"/>
              <a:gd name="connsiteX135" fmla="*/ 3815961 w 6573406"/>
              <a:gd name="connsiteY135" fmla="*/ 3097021 h 5129212"/>
              <a:gd name="connsiteX136" fmla="*/ 3810028 w 6573406"/>
              <a:gd name="connsiteY136" fmla="*/ 3096068 h 5129212"/>
              <a:gd name="connsiteX137" fmla="*/ 3804095 w 6573406"/>
              <a:gd name="connsiteY137" fmla="*/ 3095116 h 5129212"/>
              <a:gd name="connsiteX138" fmla="*/ 3798162 w 6573406"/>
              <a:gd name="connsiteY138" fmla="*/ 3093846 h 5129212"/>
              <a:gd name="connsiteX139" fmla="*/ 3792578 w 6573406"/>
              <a:gd name="connsiteY139" fmla="*/ 3092258 h 5129212"/>
              <a:gd name="connsiteX140" fmla="*/ 3786645 w 6573406"/>
              <a:gd name="connsiteY140" fmla="*/ 3090354 h 5129212"/>
              <a:gd name="connsiteX141" fmla="*/ 3781061 w 6573406"/>
              <a:gd name="connsiteY141" fmla="*/ 3088131 h 5129212"/>
              <a:gd name="connsiteX142" fmla="*/ 3775477 w 6573406"/>
              <a:gd name="connsiteY142" fmla="*/ 3085909 h 5129212"/>
              <a:gd name="connsiteX143" fmla="*/ 3769893 w 6573406"/>
              <a:gd name="connsiteY143" fmla="*/ 3083051 h 5129212"/>
              <a:gd name="connsiteX144" fmla="*/ 3764658 w 6573406"/>
              <a:gd name="connsiteY144" fmla="*/ 3080194 h 5129212"/>
              <a:gd name="connsiteX145" fmla="*/ 3759423 w 6573406"/>
              <a:gd name="connsiteY145" fmla="*/ 3077019 h 5129212"/>
              <a:gd name="connsiteX146" fmla="*/ 3754188 w 6573406"/>
              <a:gd name="connsiteY146" fmla="*/ 3073210 h 5129212"/>
              <a:gd name="connsiteX147" fmla="*/ 3749302 w 6573406"/>
              <a:gd name="connsiteY147" fmla="*/ 3069400 h 5129212"/>
              <a:gd name="connsiteX148" fmla="*/ 3744416 w 6573406"/>
              <a:gd name="connsiteY148" fmla="*/ 3065273 h 5129212"/>
              <a:gd name="connsiteX149" fmla="*/ 3739879 w 6573406"/>
              <a:gd name="connsiteY149" fmla="*/ 3060828 h 5129212"/>
              <a:gd name="connsiteX150" fmla="*/ 3013960 w 6573406"/>
              <a:gd name="connsiteY150" fmla="*/ 2336338 h 5129212"/>
              <a:gd name="connsiteX151" fmla="*/ 3009423 w 6573406"/>
              <a:gd name="connsiteY151" fmla="*/ 2331576 h 5129212"/>
              <a:gd name="connsiteX152" fmla="*/ 3004537 w 6573406"/>
              <a:gd name="connsiteY152" fmla="*/ 2327448 h 5129212"/>
              <a:gd name="connsiteX153" fmla="*/ 2999651 w 6573406"/>
              <a:gd name="connsiteY153" fmla="*/ 2323639 h 5129212"/>
              <a:gd name="connsiteX154" fmla="*/ 2994416 w 6573406"/>
              <a:gd name="connsiteY154" fmla="*/ 2320146 h 5129212"/>
              <a:gd name="connsiteX155" fmla="*/ 2989181 w 6573406"/>
              <a:gd name="connsiteY155" fmla="*/ 2316971 h 5129212"/>
              <a:gd name="connsiteX156" fmla="*/ 2983946 w 6573406"/>
              <a:gd name="connsiteY156" fmla="*/ 2313797 h 5129212"/>
              <a:gd name="connsiteX157" fmla="*/ 2978362 w 6573406"/>
              <a:gd name="connsiteY157" fmla="*/ 2310939 h 5129212"/>
              <a:gd name="connsiteX158" fmla="*/ 2972778 w 6573406"/>
              <a:gd name="connsiteY158" fmla="*/ 2308717 h 5129212"/>
              <a:gd name="connsiteX159" fmla="*/ 2967194 w 6573406"/>
              <a:gd name="connsiteY159" fmla="*/ 2306495 h 5129212"/>
              <a:gd name="connsiteX160" fmla="*/ 2961261 w 6573406"/>
              <a:gd name="connsiteY160" fmla="*/ 2304907 h 5129212"/>
              <a:gd name="connsiteX161" fmla="*/ 2955677 w 6573406"/>
              <a:gd name="connsiteY161" fmla="*/ 2303002 h 5129212"/>
              <a:gd name="connsiteX162" fmla="*/ 2949744 w 6573406"/>
              <a:gd name="connsiteY162" fmla="*/ 2302050 h 5129212"/>
              <a:gd name="connsiteX163" fmla="*/ 2943811 w 6573406"/>
              <a:gd name="connsiteY163" fmla="*/ 2301097 h 5129212"/>
              <a:gd name="connsiteX164" fmla="*/ 2937878 w 6573406"/>
              <a:gd name="connsiteY164" fmla="*/ 2300145 h 5129212"/>
              <a:gd name="connsiteX165" fmla="*/ 2931945 w 6573406"/>
              <a:gd name="connsiteY165" fmla="*/ 2299828 h 5129212"/>
              <a:gd name="connsiteX166" fmla="*/ 2926012 w 6573406"/>
              <a:gd name="connsiteY166" fmla="*/ 2299510 h 5129212"/>
              <a:gd name="connsiteX167" fmla="*/ 2919730 w 6573406"/>
              <a:gd name="connsiteY167" fmla="*/ 2299828 h 5129212"/>
              <a:gd name="connsiteX168" fmla="*/ 2913797 w 6573406"/>
              <a:gd name="connsiteY168" fmla="*/ 2300145 h 5129212"/>
              <a:gd name="connsiteX169" fmla="*/ 2907864 w 6573406"/>
              <a:gd name="connsiteY169" fmla="*/ 2301097 h 5129212"/>
              <a:gd name="connsiteX170" fmla="*/ 2901931 w 6573406"/>
              <a:gd name="connsiteY170" fmla="*/ 2302050 h 5129212"/>
              <a:gd name="connsiteX171" fmla="*/ 2896347 w 6573406"/>
              <a:gd name="connsiteY171" fmla="*/ 2303002 h 5129212"/>
              <a:gd name="connsiteX172" fmla="*/ 2890414 w 6573406"/>
              <a:gd name="connsiteY172" fmla="*/ 2304907 h 5129212"/>
              <a:gd name="connsiteX173" fmla="*/ 2884830 w 6573406"/>
              <a:gd name="connsiteY173" fmla="*/ 2306495 h 5129212"/>
              <a:gd name="connsiteX174" fmla="*/ 2878897 w 6573406"/>
              <a:gd name="connsiteY174" fmla="*/ 2308717 h 5129212"/>
              <a:gd name="connsiteX175" fmla="*/ 2873313 w 6573406"/>
              <a:gd name="connsiteY175" fmla="*/ 2310939 h 5129212"/>
              <a:gd name="connsiteX176" fmla="*/ 2868078 w 6573406"/>
              <a:gd name="connsiteY176" fmla="*/ 2313797 h 5129212"/>
              <a:gd name="connsiteX177" fmla="*/ 2862494 w 6573406"/>
              <a:gd name="connsiteY177" fmla="*/ 2316971 h 5129212"/>
              <a:gd name="connsiteX178" fmla="*/ 2857259 w 6573406"/>
              <a:gd name="connsiteY178" fmla="*/ 2320146 h 5129212"/>
              <a:gd name="connsiteX179" fmla="*/ 2852373 w 6573406"/>
              <a:gd name="connsiteY179" fmla="*/ 2323639 h 5129212"/>
              <a:gd name="connsiteX180" fmla="*/ 2847138 w 6573406"/>
              <a:gd name="connsiteY180" fmla="*/ 2327448 h 5129212"/>
              <a:gd name="connsiteX181" fmla="*/ 2842601 w 6573406"/>
              <a:gd name="connsiteY181" fmla="*/ 2331576 h 5129212"/>
              <a:gd name="connsiteX182" fmla="*/ 2837715 w 6573406"/>
              <a:gd name="connsiteY182" fmla="*/ 2336338 h 5129212"/>
              <a:gd name="connsiteX183" fmla="*/ 2833527 w 6573406"/>
              <a:gd name="connsiteY183" fmla="*/ 2340783 h 5129212"/>
              <a:gd name="connsiteX184" fmla="*/ 2829339 w 6573406"/>
              <a:gd name="connsiteY184" fmla="*/ 2345545 h 5129212"/>
              <a:gd name="connsiteX185" fmla="*/ 2825500 w 6573406"/>
              <a:gd name="connsiteY185" fmla="*/ 2350624 h 5129212"/>
              <a:gd name="connsiteX186" fmla="*/ 2822010 w 6573406"/>
              <a:gd name="connsiteY186" fmla="*/ 2355704 h 5129212"/>
              <a:gd name="connsiteX187" fmla="*/ 2818520 w 6573406"/>
              <a:gd name="connsiteY187" fmla="*/ 2361101 h 5129212"/>
              <a:gd name="connsiteX188" fmla="*/ 2815728 w 6573406"/>
              <a:gd name="connsiteY188" fmla="*/ 2366181 h 5129212"/>
              <a:gd name="connsiteX189" fmla="*/ 2812936 w 6573406"/>
              <a:gd name="connsiteY189" fmla="*/ 2371896 h 5129212"/>
              <a:gd name="connsiteX190" fmla="*/ 2810493 w 6573406"/>
              <a:gd name="connsiteY190" fmla="*/ 2377293 h 5129212"/>
              <a:gd name="connsiteX191" fmla="*/ 2808399 w 6573406"/>
              <a:gd name="connsiteY191" fmla="*/ 2383007 h 5129212"/>
              <a:gd name="connsiteX192" fmla="*/ 2806305 w 6573406"/>
              <a:gd name="connsiteY192" fmla="*/ 2388405 h 5129212"/>
              <a:gd name="connsiteX193" fmla="*/ 2804909 w 6573406"/>
              <a:gd name="connsiteY193" fmla="*/ 2394437 h 5129212"/>
              <a:gd name="connsiteX194" fmla="*/ 2803513 w 6573406"/>
              <a:gd name="connsiteY194" fmla="*/ 2400469 h 5129212"/>
              <a:gd name="connsiteX195" fmla="*/ 2802466 w 6573406"/>
              <a:gd name="connsiteY195" fmla="*/ 2406501 h 5129212"/>
              <a:gd name="connsiteX196" fmla="*/ 2801768 w 6573406"/>
              <a:gd name="connsiteY196" fmla="*/ 2412216 h 5129212"/>
              <a:gd name="connsiteX197" fmla="*/ 2801419 w 6573406"/>
              <a:gd name="connsiteY197" fmla="*/ 2418248 h 5129212"/>
              <a:gd name="connsiteX198" fmla="*/ 2801419 w 6573406"/>
              <a:gd name="connsiteY198" fmla="*/ 2424280 h 5129212"/>
              <a:gd name="connsiteX199" fmla="*/ 2801419 w 6573406"/>
              <a:gd name="connsiteY199" fmla="*/ 2429994 h 5129212"/>
              <a:gd name="connsiteX200" fmla="*/ 2801768 w 6573406"/>
              <a:gd name="connsiteY200" fmla="*/ 2436027 h 5129212"/>
              <a:gd name="connsiteX201" fmla="*/ 2802466 w 6573406"/>
              <a:gd name="connsiteY201" fmla="*/ 2442059 h 5129212"/>
              <a:gd name="connsiteX202" fmla="*/ 2803513 w 6573406"/>
              <a:gd name="connsiteY202" fmla="*/ 2447773 h 5129212"/>
              <a:gd name="connsiteX203" fmla="*/ 2804909 w 6573406"/>
              <a:gd name="connsiteY203" fmla="*/ 2453805 h 5129212"/>
              <a:gd name="connsiteX204" fmla="*/ 2806305 w 6573406"/>
              <a:gd name="connsiteY204" fmla="*/ 2459838 h 5129212"/>
              <a:gd name="connsiteX205" fmla="*/ 2808399 w 6573406"/>
              <a:gd name="connsiteY205" fmla="*/ 2465235 h 5129212"/>
              <a:gd name="connsiteX206" fmla="*/ 2810493 w 6573406"/>
              <a:gd name="connsiteY206" fmla="*/ 2470949 h 5129212"/>
              <a:gd name="connsiteX207" fmla="*/ 2812936 w 6573406"/>
              <a:gd name="connsiteY207" fmla="*/ 2476347 h 5129212"/>
              <a:gd name="connsiteX208" fmla="*/ 2815728 w 6573406"/>
              <a:gd name="connsiteY208" fmla="*/ 2482061 h 5129212"/>
              <a:gd name="connsiteX209" fmla="*/ 2818520 w 6573406"/>
              <a:gd name="connsiteY209" fmla="*/ 2487458 h 5129212"/>
              <a:gd name="connsiteX210" fmla="*/ 2822010 w 6573406"/>
              <a:gd name="connsiteY210" fmla="*/ 2492538 h 5129212"/>
              <a:gd name="connsiteX211" fmla="*/ 2825500 w 6573406"/>
              <a:gd name="connsiteY211" fmla="*/ 2497935 h 5129212"/>
              <a:gd name="connsiteX212" fmla="*/ 2829339 w 6573406"/>
              <a:gd name="connsiteY212" fmla="*/ 2502697 h 5129212"/>
              <a:gd name="connsiteX213" fmla="*/ 2833527 w 6573406"/>
              <a:gd name="connsiteY213" fmla="*/ 2507460 h 5129212"/>
              <a:gd name="connsiteX214" fmla="*/ 2837715 w 6573406"/>
              <a:gd name="connsiteY214" fmla="*/ 2512222 h 5129212"/>
              <a:gd name="connsiteX215" fmla="*/ 4276989 w 6573406"/>
              <a:gd name="connsiteY215" fmla="*/ 3949455 h 5129212"/>
              <a:gd name="connsiteX216" fmla="*/ 4281177 w 6573406"/>
              <a:gd name="connsiteY216" fmla="*/ 3953900 h 5129212"/>
              <a:gd name="connsiteX217" fmla="*/ 4285365 w 6573406"/>
              <a:gd name="connsiteY217" fmla="*/ 3958980 h 5129212"/>
              <a:gd name="connsiteX218" fmla="*/ 4289204 w 6573406"/>
              <a:gd name="connsiteY218" fmla="*/ 3963742 h 5129212"/>
              <a:gd name="connsiteX219" fmla="*/ 4292694 w 6573406"/>
              <a:gd name="connsiteY219" fmla="*/ 3968822 h 5129212"/>
              <a:gd name="connsiteX220" fmla="*/ 4296184 w 6573406"/>
              <a:gd name="connsiteY220" fmla="*/ 3974219 h 5129212"/>
              <a:gd name="connsiteX221" fmla="*/ 4298976 w 6573406"/>
              <a:gd name="connsiteY221" fmla="*/ 3979298 h 5129212"/>
              <a:gd name="connsiteX222" fmla="*/ 4301768 w 6573406"/>
              <a:gd name="connsiteY222" fmla="*/ 3985013 h 5129212"/>
              <a:gd name="connsiteX223" fmla="*/ 4304211 w 6573406"/>
              <a:gd name="connsiteY223" fmla="*/ 3990728 h 5129212"/>
              <a:gd name="connsiteX224" fmla="*/ 4306305 w 6573406"/>
              <a:gd name="connsiteY224" fmla="*/ 3996125 h 5129212"/>
              <a:gd name="connsiteX225" fmla="*/ 4308050 w 6573406"/>
              <a:gd name="connsiteY225" fmla="*/ 4001840 h 5129212"/>
              <a:gd name="connsiteX226" fmla="*/ 4309795 w 6573406"/>
              <a:gd name="connsiteY226" fmla="*/ 4007554 h 5129212"/>
              <a:gd name="connsiteX227" fmla="*/ 4311191 w 6573406"/>
              <a:gd name="connsiteY227" fmla="*/ 4013586 h 5129212"/>
              <a:gd name="connsiteX228" fmla="*/ 4311889 w 6573406"/>
              <a:gd name="connsiteY228" fmla="*/ 4019618 h 5129212"/>
              <a:gd name="connsiteX229" fmla="*/ 4312587 w 6573406"/>
              <a:gd name="connsiteY229" fmla="*/ 4025333 h 5129212"/>
              <a:gd name="connsiteX230" fmla="*/ 4313285 w 6573406"/>
              <a:gd name="connsiteY230" fmla="*/ 4031365 h 5129212"/>
              <a:gd name="connsiteX231" fmla="*/ 4313285 w 6573406"/>
              <a:gd name="connsiteY231" fmla="*/ 4037397 h 5129212"/>
              <a:gd name="connsiteX232" fmla="*/ 4313285 w 6573406"/>
              <a:gd name="connsiteY232" fmla="*/ 4043429 h 5129212"/>
              <a:gd name="connsiteX233" fmla="*/ 4312587 w 6573406"/>
              <a:gd name="connsiteY233" fmla="*/ 4049144 h 5129212"/>
              <a:gd name="connsiteX234" fmla="*/ 4311889 w 6573406"/>
              <a:gd name="connsiteY234" fmla="*/ 4055176 h 5129212"/>
              <a:gd name="connsiteX235" fmla="*/ 4311191 w 6573406"/>
              <a:gd name="connsiteY235" fmla="*/ 4061208 h 5129212"/>
              <a:gd name="connsiteX236" fmla="*/ 4309795 w 6573406"/>
              <a:gd name="connsiteY236" fmla="*/ 4066923 h 5129212"/>
              <a:gd name="connsiteX237" fmla="*/ 4308050 w 6573406"/>
              <a:gd name="connsiteY237" fmla="*/ 4072955 h 5129212"/>
              <a:gd name="connsiteX238" fmla="*/ 4306305 w 6573406"/>
              <a:gd name="connsiteY238" fmla="*/ 4078670 h 5129212"/>
              <a:gd name="connsiteX239" fmla="*/ 4304211 w 6573406"/>
              <a:gd name="connsiteY239" fmla="*/ 4084067 h 5129212"/>
              <a:gd name="connsiteX240" fmla="*/ 4301768 w 6573406"/>
              <a:gd name="connsiteY240" fmla="*/ 4089782 h 5129212"/>
              <a:gd name="connsiteX241" fmla="*/ 4298976 w 6573406"/>
              <a:gd name="connsiteY241" fmla="*/ 4095179 h 5129212"/>
              <a:gd name="connsiteX242" fmla="*/ 4296184 w 6573406"/>
              <a:gd name="connsiteY242" fmla="*/ 4100576 h 5129212"/>
              <a:gd name="connsiteX243" fmla="*/ 4292694 w 6573406"/>
              <a:gd name="connsiteY243" fmla="*/ 4105656 h 5129212"/>
              <a:gd name="connsiteX244" fmla="*/ 4289204 w 6573406"/>
              <a:gd name="connsiteY244" fmla="*/ 4111053 h 5129212"/>
              <a:gd name="connsiteX245" fmla="*/ 4285365 w 6573406"/>
              <a:gd name="connsiteY245" fmla="*/ 4115815 h 5129212"/>
              <a:gd name="connsiteX246" fmla="*/ 4281177 w 6573406"/>
              <a:gd name="connsiteY246" fmla="*/ 4120895 h 5129212"/>
              <a:gd name="connsiteX247" fmla="*/ 4276989 w 6573406"/>
              <a:gd name="connsiteY247" fmla="*/ 4125339 h 5129212"/>
              <a:gd name="connsiteX248" fmla="*/ 4272801 w 6573406"/>
              <a:gd name="connsiteY248" fmla="*/ 4129149 h 5129212"/>
              <a:gd name="connsiteX249" fmla="*/ 4268613 w 6573406"/>
              <a:gd name="connsiteY249" fmla="*/ 4132959 h 5129212"/>
              <a:gd name="connsiteX250" fmla="*/ 4264425 w 6573406"/>
              <a:gd name="connsiteY250" fmla="*/ 4136134 h 5129212"/>
              <a:gd name="connsiteX251" fmla="*/ 4259888 w 6573406"/>
              <a:gd name="connsiteY251" fmla="*/ 4139626 h 5129212"/>
              <a:gd name="connsiteX252" fmla="*/ 4255700 w 6573406"/>
              <a:gd name="connsiteY252" fmla="*/ 4142483 h 5129212"/>
              <a:gd name="connsiteX253" fmla="*/ 4250814 w 6573406"/>
              <a:gd name="connsiteY253" fmla="*/ 4145023 h 5129212"/>
              <a:gd name="connsiteX254" fmla="*/ 4246277 w 6573406"/>
              <a:gd name="connsiteY254" fmla="*/ 4147880 h 5129212"/>
              <a:gd name="connsiteX255" fmla="*/ 4241391 w 6573406"/>
              <a:gd name="connsiteY255" fmla="*/ 4150103 h 5129212"/>
              <a:gd name="connsiteX256" fmla="*/ 4236854 w 6573406"/>
              <a:gd name="connsiteY256" fmla="*/ 4152008 h 5129212"/>
              <a:gd name="connsiteX257" fmla="*/ 4231619 w 6573406"/>
              <a:gd name="connsiteY257" fmla="*/ 4154230 h 5129212"/>
              <a:gd name="connsiteX258" fmla="*/ 4226733 w 6573406"/>
              <a:gd name="connsiteY258" fmla="*/ 4156135 h 5129212"/>
              <a:gd name="connsiteX259" fmla="*/ 4221847 w 6573406"/>
              <a:gd name="connsiteY259" fmla="*/ 4157405 h 5129212"/>
              <a:gd name="connsiteX260" fmla="*/ 4216612 w 6573406"/>
              <a:gd name="connsiteY260" fmla="*/ 4158675 h 5129212"/>
              <a:gd name="connsiteX261" fmla="*/ 4211726 w 6573406"/>
              <a:gd name="connsiteY261" fmla="*/ 4159945 h 5129212"/>
              <a:gd name="connsiteX262" fmla="*/ 4206491 w 6573406"/>
              <a:gd name="connsiteY262" fmla="*/ 4160580 h 5129212"/>
              <a:gd name="connsiteX263" fmla="*/ 4201256 w 6573406"/>
              <a:gd name="connsiteY263" fmla="*/ 4161215 h 5129212"/>
              <a:gd name="connsiteX264" fmla="*/ 4196022 w 6573406"/>
              <a:gd name="connsiteY264" fmla="*/ 4161532 h 5129212"/>
              <a:gd name="connsiteX265" fmla="*/ 4191135 w 6573406"/>
              <a:gd name="connsiteY265" fmla="*/ 4161532 h 5129212"/>
              <a:gd name="connsiteX266" fmla="*/ 4185900 w 6573406"/>
              <a:gd name="connsiteY266" fmla="*/ 4161532 h 5129212"/>
              <a:gd name="connsiteX267" fmla="*/ 4180665 w 6573406"/>
              <a:gd name="connsiteY267" fmla="*/ 4161532 h 5129212"/>
              <a:gd name="connsiteX268" fmla="*/ 4175430 w 6573406"/>
              <a:gd name="connsiteY268" fmla="*/ 4160897 h 5129212"/>
              <a:gd name="connsiteX269" fmla="*/ 4170195 w 6573406"/>
              <a:gd name="connsiteY269" fmla="*/ 4160580 h 5129212"/>
              <a:gd name="connsiteX270" fmla="*/ 4165309 w 6573406"/>
              <a:gd name="connsiteY270" fmla="*/ 4159627 h 5129212"/>
              <a:gd name="connsiteX271" fmla="*/ 4159725 w 6573406"/>
              <a:gd name="connsiteY271" fmla="*/ 4158357 h 5129212"/>
              <a:gd name="connsiteX272" fmla="*/ 4154490 w 6573406"/>
              <a:gd name="connsiteY272" fmla="*/ 4157087 h 5129212"/>
              <a:gd name="connsiteX273" fmla="*/ 4149604 w 6573406"/>
              <a:gd name="connsiteY273" fmla="*/ 4155500 h 5129212"/>
              <a:gd name="connsiteX274" fmla="*/ 4144718 w 6573406"/>
              <a:gd name="connsiteY274" fmla="*/ 4153913 h 5129212"/>
              <a:gd name="connsiteX275" fmla="*/ 4139832 w 6573406"/>
              <a:gd name="connsiteY275" fmla="*/ 4151690 h 5129212"/>
              <a:gd name="connsiteX276" fmla="*/ 4134946 w 6573406"/>
              <a:gd name="connsiteY276" fmla="*/ 4149785 h 5129212"/>
              <a:gd name="connsiteX277" fmla="*/ 4130409 w 6573406"/>
              <a:gd name="connsiteY277" fmla="*/ 4147246 h 5129212"/>
              <a:gd name="connsiteX278" fmla="*/ 4125523 w 6573406"/>
              <a:gd name="connsiteY278" fmla="*/ 4144706 h 5129212"/>
              <a:gd name="connsiteX279" fmla="*/ 4120986 w 6573406"/>
              <a:gd name="connsiteY279" fmla="*/ 4142166 h 5129212"/>
              <a:gd name="connsiteX280" fmla="*/ 0 w 6573406"/>
              <a:gd name="connsiteY280" fmla="*/ 0 h 5129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</a:cxnLst>
            <a:rect l="l" t="t" r="r" b="b"/>
            <a:pathLst>
              <a:path w="6573406" h="5129212">
                <a:moveTo>
                  <a:pt x="0" y="0"/>
                </a:moveTo>
                <a:lnTo>
                  <a:pt x="0" y="5129212"/>
                </a:lnTo>
                <a:lnTo>
                  <a:pt x="6573406" y="5129212"/>
                </a:lnTo>
                <a:lnTo>
                  <a:pt x="3968474" y="2531906"/>
                </a:lnTo>
                <a:lnTo>
                  <a:pt x="3962541" y="2531906"/>
                </a:lnTo>
                <a:lnTo>
                  <a:pt x="3956259" y="2531588"/>
                </a:lnTo>
                <a:lnTo>
                  <a:pt x="3950326" y="2530953"/>
                </a:lnTo>
                <a:lnTo>
                  <a:pt x="3944393" y="2530001"/>
                </a:lnTo>
                <a:lnTo>
                  <a:pt x="3938460" y="2528731"/>
                </a:lnTo>
                <a:lnTo>
                  <a:pt x="3932527" y="2527143"/>
                </a:lnTo>
                <a:lnTo>
                  <a:pt x="3926943" y="2525239"/>
                </a:lnTo>
                <a:lnTo>
                  <a:pt x="3921010" y="2523334"/>
                </a:lnTo>
                <a:lnTo>
                  <a:pt x="3915426" y="2520794"/>
                </a:lnTo>
                <a:lnTo>
                  <a:pt x="3909842" y="2517937"/>
                </a:lnTo>
                <a:lnTo>
                  <a:pt x="3904258" y="2515079"/>
                </a:lnTo>
                <a:lnTo>
                  <a:pt x="3899023" y="2511587"/>
                </a:lnTo>
                <a:lnTo>
                  <a:pt x="3893788" y="2508095"/>
                </a:lnTo>
                <a:lnTo>
                  <a:pt x="3888902" y="2504285"/>
                </a:lnTo>
                <a:lnTo>
                  <a:pt x="3884016" y="2500158"/>
                </a:lnTo>
                <a:lnTo>
                  <a:pt x="3879130" y="2495713"/>
                </a:lnTo>
                <a:lnTo>
                  <a:pt x="3266286" y="1883611"/>
                </a:lnTo>
                <a:lnTo>
                  <a:pt x="3261400" y="1879484"/>
                </a:lnTo>
                <a:lnTo>
                  <a:pt x="3256864" y="1875356"/>
                </a:lnTo>
                <a:lnTo>
                  <a:pt x="3251628" y="1871547"/>
                </a:lnTo>
                <a:lnTo>
                  <a:pt x="3246742" y="1868054"/>
                </a:lnTo>
                <a:lnTo>
                  <a:pt x="3241508" y="1864562"/>
                </a:lnTo>
                <a:lnTo>
                  <a:pt x="3235924" y="1861705"/>
                </a:lnTo>
                <a:lnTo>
                  <a:pt x="3230688" y="1858847"/>
                </a:lnTo>
                <a:lnTo>
                  <a:pt x="3225104" y="1856308"/>
                </a:lnTo>
                <a:lnTo>
                  <a:pt x="3219172" y="1854403"/>
                </a:lnTo>
                <a:lnTo>
                  <a:pt x="3213588" y="1852180"/>
                </a:lnTo>
                <a:lnTo>
                  <a:pt x="3207654" y="1850910"/>
                </a:lnTo>
                <a:lnTo>
                  <a:pt x="3202070" y="1849323"/>
                </a:lnTo>
                <a:lnTo>
                  <a:pt x="3196138" y="1848371"/>
                </a:lnTo>
                <a:lnTo>
                  <a:pt x="3190205" y="1847736"/>
                </a:lnTo>
                <a:lnTo>
                  <a:pt x="3184272" y="1847418"/>
                </a:lnTo>
                <a:lnTo>
                  <a:pt x="3177990" y="1847418"/>
                </a:lnTo>
                <a:lnTo>
                  <a:pt x="3172057" y="1847418"/>
                </a:lnTo>
                <a:lnTo>
                  <a:pt x="3166124" y="1847736"/>
                </a:lnTo>
                <a:lnTo>
                  <a:pt x="3160191" y="1848371"/>
                </a:lnTo>
                <a:lnTo>
                  <a:pt x="3154258" y="1849323"/>
                </a:lnTo>
                <a:lnTo>
                  <a:pt x="3148325" y="1850910"/>
                </a:lnTo>
                <a:lnTo>
                  <a:pt x="3142741" y="1852180"/>
                </a:lnTo>
                <a:lnTo>
                  <a:pt x="3136808" y="1854403"/>
                </a:lnTo>
                <a:lnTo>
                  <a:pt x="3131224" y="1856308"/>
                </a:lnTo>
                <a:lnTo>
                  <a:pt x="3125640" y="1858847"/>
                </a:lnTo>
                <a:lnTo>
                  <a:pt x="3120405" y="1861705"/>
                </a:lnTo>
                <a:lnTo>
                  <a:pt x="3114821" y="1864562"/>
                </a:lnTo>
                <a:lnTo>
                  <a:pt x="3109586" y="1868054"/>
                </a:lnTo>
                <a:lnTo>
                  <a:pt x="3104351" y="1871547"/>
                </a:lnTo>
                <a:lnTo>
                  <a:pt x="3099465" y="1875356"/>
                </a:lnTo>
                <a:lnTo>
                  <a:pt x="3094579" y="1879484"/>
                </a:lnTo>
                <a:lnTo>
                  <a:pt x="3090042" y="1883611"/>
                </a:lnTo>
                <a:lnTo>
                  <a:pt x="3085505" y="1888373"/>
                </a:lnTo>
                <a:lnTo>
                  <a:pt x="3081666" y="1893135"/>
                </a:lnTo>
                <a:lnTo>
                  <a:pt x="3077827" y="1898215"/>
                </a:lnTo>
                <a:lnTo>
                  <a:pt x="3073988" y="1903295"/>
                </a:lnTo>
                <a:lnTo>
                  <a:pt x="3070847" y="1908374"/>
                </a:lnTo>
                <a:lnTo>
                  <a:pt x="3067706" y="1914089"/>
                </a:lnTo>
                <a:lnTo>
                  <a:pt x="3065263" y="1919169"/>
                </a:lnTo>
                <a:lnTo>
                  <a:pt x="3062820" y="1924883"/>
                </a:lnTo>
                <a:lnTo>
                  <a:pt x="3060726" y="1930281"/>
                </a:lnTo>
                <a:lnTo>
                  <a:pt x="3058632" y="1936313"/>
                </a:lnTo>
                <a:lnTo>
                  <a:pt x="3057236" y="1942345"/>
                </a:lnTo>
                <a:lnTo>
                  <a:pt x="3055840" y="1947742"/>
                </a:lnTo>
                <a:lnTo>
                  <a:pt x="3054793" y="1953774"/>
                </a:lnTo>
                <a:cubicBezTo>
                  <a:pt x="3054560" y="1955785"/>
                  <a:pt x="3054328" y="1957795"/>
                  <a:pt x="3054095" y="1959806"/>
                </a:cubicBezTo>
                <a:cubicBezTo>
                  <a:pt x="3053979" y="1961711"/>
                  <a:pt x="3053862" y="1963616"/>
                  <a:pt x="3053746" y="1965521"/>
                </a:cubicBezTo>
                <a:lnTo>
                  <a:pt x="3053746" y="1971870"/>
                </a:lnTo>
                <a:lnTo>
                  <a:pt x="3053746" y="1977903"/>
                </a:lnTo>
                <a:cubicBezTo>
                  <a:pt x="3053862" y="1979808"/>
                  <a:pt x="3053979" y="1981712"/>
                  <a:pt x="3054095" y="1983617"/>
                </a:cubicBezTo>
                <a:cubicBezTo>
                  <a:pt x="3054328" y="1985628"/>
                  <a:pt x="3054560" y="1987638"/>
                  <a:pt x="3054793" y="1989649"/>
                </a:cubicBezTo>
                <a:lnTo>
                  <a:pt x="3055840" y="1995681"/>
                </a:lnTo>
                <a:lnTo>
                  <a:pt x="3057236" y="2001079"/>
                </a:lnTo>
                <a:lnTo>
                  <a:pt x="3058632" y="2007111"/>
                </a:lnTo>
                <a:lnTo>
                  <a:pt x="3060726" y="2013143"/>
                </a:lnTo>
                <a:lnTo>
                  <a:pt x="3062820" y="2018540"/>
                </a:lnTo>
                <a:lnTo>
                  <a:pt x="3065263" y="2024255"/>
                </a:lnTo>
                <a:lnTo>
                  <a:pt x="3067706" y="2029334"/>
                </a:lnTo>
                <a:lnTo>
                  <a:pt x="3070847" y="2035049"/>
                </a:lnTo>
                <a:lnTo>
                  <a:pt x="3073988" y="2040446"/>
                </a:lnTo>
                <a:lnTo>
                  <a:pt x="3077827" y="2045208"/>
                </a:lnTo>
                <a:lnTo>
                  <a:pt x="3081666" y="2050288"/>
                </a:lnTo>
                <a:lnTo>
                  <a:pt x="3085505" y="2055368"/>
                </a:lnTo>
                <a:lnTo>
                  <a:pt x="3090042" y="2059812"/>
                </a:lnTo>
                <a:lnTo>
                  <a:pt x="3916473" y="2884626"/>
                </a:lnTo>
                <a:lnTo>
                  <a:pt x="3920661" y="2889706"/>
                </a:lnTo>
                <a:lnTo>
                  <a:pt x="3924849" y="2894151"/>
                </a:lnTo>
                <a:lnTo>
                  <a:pt x="3928688" y="2899548"/>
                </a:lnTo>
                <a:lnTo>
                  <a:pt x="3932178" y="2904310"/>
                </a:lnTo>
                <a:lnTo>
                  <a:pt x="3935668" y="2909390"/>
                </a:lnTo>
                <a:lnTo>
                  <a:pt x="3938460" y="2915104"/>
                </a:lnTo>
                <a:lnTo>
                  <a:pt x="3941252" y="2920502"/>
                </a:lnTo>
                <a:lnTo>
                  <a:pt x="3943695" y="2925899"/>
                </a:lnTo>
                <a:lnTo>
                  <a:pt x="3945789" y="2931613"/>
                </a:lnTo>
                <a:lnTo>
                  <a:pt x="3947534" y="2937328"/>
                </a:lnTo>
                <a:lnTo>
                  <a:pt x="3949279" y="2943360"/>
                </a:lnTo>
                <a:lnTo>
                  <a:pt x="3950675" y="2949075"/>
                </a:lnTo>
                <a:cubicBezTo>
                  <a:pt x="3950908" y="2950980"/>
                  <a:pt x="3951140" y="2952884"/>
                  <a:pt x="3951373" y="2954789"/>
                </a:cubicBezTo>
                <a:cubicBezTo>
                  <a:pt x="3951606" y="2956800"/>
                  <a:pt x="3951838" y="2958811"/>
                  <a:pt x="3952071" y="2960822"/>
                </a:cubicBezTo>
                <a:cubicBezTo>
                  <a:pt x="3952304" y="2962833"/>
                  <a:pt x="3952536" y="2964843"/>
                  <a:pt x="3952769" y="2966854"/>
                </a:cubicBezTo>
                <a:lnTo>
                  <a:pt x="3952769" y="2973203"/>
                </a:lnTo>
                <a:lnTo>
                  <a:pt x="3952769" y="2978918"/>
                </a:lnTo>
                <a:cubicBezTo>
                  <a:pt x="3952536" y="2980929"/>
                  <a:pt x="3952304" y="2982939"/>
                  <a:pt x="3952071" y="2984950"/>
                </a:cubicBezTo>
                <a:cubicBezTo>
                  <a:pt x="3951838" y="2986961"/>
                  <a:pt x="3951606" y="2988971"/>
                  <a:pt x="3951373" y="2990982"/>
                </a:cubicBezTo>
                <a:cubicBezTo>
                  <a:pt x="3951140" y="2992887"/>
                  <a:pt x="3950908" y="2994792"/>
                  <a:pt x="3950675" y="2996697"/>
                </a:cubicBezTo>
                <a:lnTo>
                  <a:pt x="3949279" y="3002411"/>
                </a:lnTo>
                <a:lnTo>
                  <a:pt x="3947534" y="3008444"/>
                </a:lnTo>
                <a:lnTo>
                  <a:pt x="3945789" y="3014158"/>
                </a:lnTo>
                <a:lnTo>
                  <a:pt x="3943695" y="3019873"/>
                </a:lnTo>
                <a:lnTo>
                  <a:pt x="3941252" y="3025270"/>
                </a:lnTo>
                <a:lnTo>
                  <a:pt x="3938460" y="3030667"/>
                </a:lnTo>
                <a:lnTo>
                  <a:pt x="3935668" y="3036064"/>
                </a:lnTo>
                <a:lnTo>
                  <a:pt x="3932178" y="3041462"/>
                </a:lnTo>
                <a:lnTo>
                  <a:pt x="3928688" y="3046224"/>
                </a:lnTo>
                <a:lnTo>
                  <a:pt x="3924849" y="3051621"/>
                </a:lnTo>
                <a:lnTo>
                  <a:pt x="3920661" y="3056066"/>
                </a:lnTo>
                <a:lnTo>
                  <a:pt x="3916473" y="3060828"/>
                </a:lnTo>
                <a:lnTo>
                  <a:pt x="3911587" y="3065273"/>
                </a:lnTo>
                <a:lnTo>
                  <a:pt x="3906701" y="3069400"/>
                </a:lnTo>
                <a:lnTo>
                  <a:pt x="3901815" y="3073210"/>
                </a:lnTo>
                <a:lnTo>
                  <a:pt x="3896929" y="3077019"/>
                </a:lnTo>
                <a:lnTo>
                  <a:pt x="3891694" y="3080194"/>
                </a:lnTo>
                <a:lnTo>
                  <a:pt x="3886110" y="3083051"/>
                </a:lnTo>
                <a:lnTo>
                  <a:pt x="3880177" y="3085909"/>
                </a:lnTo>
                <a:lnTo>
                  <a:pt x="3874593" y="3088131"/>
                </a:lnTo>
                <a:lnTo>
                  <a:pt x="3869009" y="3090354"/>
                </a:lnTo>
                <a:lnTo>
                  <a:pt x="3863425" y="3092258"/>
                </a:lnTo>
                <a:lnTo>
                  <a:pt x="3857492" y="3093846"/>
                </a:lnTo>
                <a:lnTo>
                  <a:pt x="3851559" y="3095116"/>
                </a:lnTo>
                <a:lnTo>
                  <a:pt x="3845626" y="3096068"/>
                </a:lnTo>
                <a:lnTo>
                  <a:pt x="3839693" y="3097021"/>
                </a:lnTo>
                <a:lnTo>
                  <a:pt x="3833760" y="3097338"/>
                </a:lnTo>
                <a:lnTo>
                  <a:pt x="3827827" y="3097338"/>
                </a:lnTo>
                <a:lnTo>
                  <a:pt x="3821894" y="3097338"/>
                </a:lnTo>
                <a:lnTo>
                  <a:pt x="3815961" y="3097021"/>
                </a:lnTo>
                <a:lnTo>
                  <a:pt x="3810028" y="3096068"/>
                </a:lnTo>
                <a:lnTo>
                  <a:pt x="3804095" y="3095116"/>
                </a:lnTo>
                <a:lnTo>
                  <a:pt x="3798162" y="3093846"/>
                </a:lnTo>
                <a:lnTo>
                  <a:pt x="3792578" y="3092258"/>
                </a:lnTo>
                <a:lnTo>
                  <a:pt x="3786645" y="3090354"/>
                </a:lnTo>
                <a:lnTo>
                  <a:pt x="3781061" y="3088131"/>
                </a:lnTo>
                <a:lnTo>
                  <a:pt x="3775477" y="3085909"/>
                </a:lnTo>
                <a:lnTo>
                  <a:pt x="3769893" y="3083051"/>
                </a:lnTo>
                <a:lnTo>
                  <a:pt x="3764658" y="3080194"/>
                </a:lnTo>
                <a:lnTo>
                  <a:pt x="3759423" y="3077019"/>
                </a:lnTo>
                <a:lnTo>
                  <a:pt x="3754188" y="3073210"/>
                </a:lnTo>
                <a:lnTo>
                  <a:pt x="3749302" y="3069400"/>
                </a:lnTo>
                <a:lnTo>
                  <a:pt x="3744416" y="3065273"/>
                </a:lnTo>
                <a:lnTo>
                  <a:pt x="3739879" y="3060828"/>
                </a:lnTo>
                <a:lnTo>
                  <a:pt x="3013960" y="2336338"/>
                </a:lnTo>
                <a:lnTo>
                  <a:pt x="3009423" y="2331576"/>
                </a:lnTo>
                <a:lnTo>
                  <a:pt x="3004537" y="2327448"/>
                </a:lnTo>
                <a:lnTo>
                  <a:pt x="2999651" y="2323639"/>
                </a:lnTo>
                <a:lnTo>
                  <a:pt x="2994416" y="2320146"/>
                </a:lnTo>
                <a:lnTo>
                  <a:pt x="2989181" y="2316971"/>
                </a:lnTo>
                <a:lnTo>
                  <a:pt x="2983946" y="2313797"/>
                </a:lnTo>
                <a:lnTo>
                  <a:pt x="2978362" y="2310939"/>
                </a:lnTo>
                <a:lnTo>
                  <a:pt x="2972778" y="2308717"/>
                </a:lnTo>
                <a:lnTo>
                  <a:pt x="2967194" y="2306495"/>
                </a:lnTo>
                <a:lnTo>
                  <a:pt x="2961261" y="2304907"/>
                </a:lnTo>
                <a:lnTo>
                  <a:pt x="2955677" y="2303002"/>
                </a:lnTo>
                <a:lnTo>
                  <a:pt x="2949744" y="2302050"/>
                </a:lnTo>
                <a:lnTo>
                  <a:pt x="2943811" y="2301097"/>
                </a:lnTo>
                <a:lnTo>
                  <a:pt x="2937878" y="2300145"/>
                </a:lnTo>
                <a:lnTo>
                  <a:pt x="2931945" y="2299828"/>
                </a:lnTo>
                <a:lnTo>
                  <a:pt x="2926012" y="2299510"/>
                </a:lnTo>
                <a:lnTo>
                  <a:pt x="2919730" y="2299828"/>
                </a:lnTo>
                <a:lnTo>
                  <a:pt x="2913797" y="2300145"/>
                </a:lnTo>
                <a:lnTo>
                  <a:pt x="2907864" y="2301097"/>
                </a:lnTo>
                <a:lnTo>
                  <a:pt x="2901931" y="2302050"/>
                </a:lnTo>
                <a:lnTo>
                  <a:pt x="2896347" y="2303002"/>
                </a:lnTo>
                <a:lnTo>
                  <a:pt x="2890414" y="2304907"/>
                </a:lnTo>
                <a:lnTo>
                  <a:pt x="2884830" y="2306495"/>
                </a:lnTo>
                <a:lnTo>
                  <a:pt x="2878897" y="2308717"/>
                </a:lnTo>
                <a:lnTo>
                  <a:pt x="2873313" y="2310939"/>
                </a:lnTo>
                <a:lnTo>
                  <a:pt x="2868078" y="2313797"/>
                </a:lnTo>
                <a:lnTo>
                  <a:pt x="2862494" y="2316971"/>
                </a:lnTo>
                <a:lnTo>
                  <a:pt x="2857259" y="2320146"/>
                </a:lnTo>
                <a:lnTo>
                  <a:pt x="2852373" y="2323639"/>
                </a:lnTo>
                <a:lnTo>
                  <a:pt x="2847138" y="2327448"/>
                </a:lnTo>
                <a:lnTo>
                  <a:pt x="2842601" y="2331576"/>
                </a:lnTo>
                <a:lnTo>
                  <a:pt x="2837715" y="2336338"/>
                </a:lnTo>
                <a:lnTo>
                  <a:pt x="2833527" y="2340783"/>
                </a:lnTo>
                <a:lnTo>
                  <a:pt x="2829339" y="2345545"/>
                </a:lnTo>
                <a:lnTo>
                  <a:pt x="2825500" y="2350624"/>
                </a:lnTo>
                <a:lnTo>
                  <a:pt x="2822010" y="2355704"/>
                </a:lnTo>
                <a:lnTo>
                  <a:pt x="2818520" y="2361101"/>
                </a:lnTo>
                <a:lnTo>
                  <a:pt x="2815728" y="2366181"/>
                </a:lnTo>
                <a:lnTo>
                  <a:pt x="2812936" y="2371896"/>
                </a:lnTo>
                <a:lnTo>
                  <a:pt x="2810493" y="2377293"/>
                </a:lnTo>
                <a:lnTo>
                  <a:pt x="2808399" y="2383007"/>
                </a:lnTo>
                <a:lnTo>
                  <a:pt x="2806305" y="2388405"/>
                </a:lnTo>
                <a:lnTo>
                  <a:pt x="2804909" y="2394437"/>
                </a:lnTo>
                <a:lnTo>
                  <a:pt x="2803513" y="2400469"/>
                </a:lnTo>
                <a:lnTo>
                  <a:pt x="2802466" y="2406501"/>
                </a:lnTo>
                <a:cubicBezTo>
                  <a:pt x="2802233" y="2408406"/>
                  <a:pt x="2802001" y="2410311"/>
                  <a:pt x="2801768" y="2412216"/>
                </a:cubicBezTo>
                <a:cubicBezTo>
                  <a:pt x="2801652" y="2414227"/>
                  <a:pt x="2801535" y="2416237"/>
                  <a:pt x="2801419" y="2418248"/>
                </a:cubicBezTo>
                <a:lnTo>
                  <a:pt x="2801419" y="2424280"/>
                </a:lnTo>
                <a:lnTo>
                  <a:pt x="2801419" y="2429994"/>
                </a:lnTo>
                <a:cubicBezTo>
                  <a:pt x="2801535" y="2432005"/>
                  <a:pt x="2801652" y="2434016"/>
                  <a:pt x="2801768" y="2436027"/>
                </a:cubicBezTo>
                <a:cubicBezTo>
                  <a:pt x="2802001" y="2438038"/>
                  <a:pt x="2802233" y="2440048"/>
                  <a:pt x="2802466" y="2442059"/>
                </a:cubicBezTo>
                <a:lnTo>
                  <a:pt x="2803513" y="2447773"/>
                </a:lnTo>
                <a:lnTo>
                  <a:pt x="2804909" y="2453805"/>
                </a:lnTo>
                <a:lnTo>
                  <a:pt x="2806305" y="2459838"/>
                </a:lnTo>
                <a:lnTo>
                  <a:pt x="2808399" y="2465235"/>
                </a:lnTo>
                <a:lnTo>
                  <a:pt x="2810493" y="2470949"/>
                </a:lnTo>
                <a:lnTo>
                  <a:pt x="2812936" y="2476347"/>
                </a:lnTo>
                <a:lnTo>
                  <a:pt x="2815728" y="2482061"/>
                </a:lnTo>
                <a:lnTo>
                  <a:pt x="2818520" y="2487458"/>
                </a:lnTo>
                <a:lnTo>
                  <a:pt x="2822010" y="2492538"/>
                </a:lnTo>
                <a:lnTo>
                  <a:pt x="2825500" y="2497935"/>
                </a:lnTo>
                <a:lnTo>
                  <a:pt x="2829339" y="2502697"/>
                </a:lnTo>
                <a:lnTo>
                  <a:pt x="2833527" y="2507460"/>
                </a:lnTo>
                <a:lnTo>
                  <a:pt x="2837715" y="2512222"/>
                </a:lnTo>
                <a:lnTo>
                  <a:pt x="4276989" y="3949455"/>
                </a:lnTo>
                <a:lnTo>
                  <a:pt x="4281177" y="3953900"/>
                </a:lnTo>
                <a:lnTo>
                  <a:pt x="4285365" y="3958980"/>
                </a:lnTo>
                <a:lnTo>
                  <a:pt x="4289204" y="3963742"/>
                </a:lnTo>
                <a:lnTo>
                  <a:pt x="4292694" y="3968822"/>
                </a:lnTo>
                <a:lnTo>
                  <a:pt x="4296184" y="3974219"/>
                </a:lnTo>
                <a:lnTo>
                  <a:pt x="4298976" y="3979298"/>
                </a:lnTo>
                <a:lnTo>
                  <a:pt x="4301768" y="3985013"/>
                </a:lnTo>
                <a:lnTo>
                  <a:pt x="4304211" y="3990728"/>
                </a:lnTo>
                <a:lnTo>
                  <a:pt x="4306305" y="3996125"/>
                </a:lnTo>
                <a:lnTo>
                  <a:pt x="4308050" y="4001840"/>
                </a:lnTo>
                <a:lnTo>
                  <a:pt x="4309795" y="4007554"/>
                </a:lnTo>
                <a:lnTo>
                  <a:pt x="4311191" y="4013586"/>
                </a:lnTo>
                <a:cubicBezTo>
                  <a:pt x="4311424" y="4015597"/>
                  <a:pt x="4311656" y="4017607"/>
                  <a:pt x="4311889" y="4019618"/>
                </a:cubicBezTo>
                <a:cubicBezTo>
                  <a:pt x="4312122" y="4021523"/>
                  <a:pt x="4312354" y="4023428"/>
                  <a:pt x="4312587" y="4025333"/>
                </a:cubicBezTo>
                <a:cubicBezTo>
                  <a:pt x="4312820" y="4027344"/>
                  <a:pt x="4313052" y="4029354"/>
                  <a:pt x="4313285" y="4031365"/>
                </a:cubicBezTo>
                <a:lnTo>
                  <a:pt x="4313285" y="4037397"/>
                </a:lnTo>
                <a:lnTo>
                  <a:pt x="4313285" y="4043429"/>
                </a:lnTo>
                <a:cubicBezTo>
                  <a:pt x="4313052" y="4045334"/>
                  <a:pt x="4312820" y="4047239"/>
                  <a:pt x="4312587" y="4049144"/>
                </a:cubicBezTo>
                <a:cubicBezTo>
                  <a:pt x="4312354" y="4051155"/>
                  <a:pt x="4312122" y="4053165"/>
                  <a:pt x="4311889" y="4055176"/>
                </a:cubicBezTo>
                <a:cubicBezTo>
                  <a:pt x="4311656" y="4057187"/>
                  <a:pt x="4311424" y="4059197"/>
                  <a:pt x="4311191" y="4061208"/>
                </a:cubicBezTo>
                <a:lnTo>
                  <a:pt x="4309795" y="4066923"/>
                </a:lnTo>
                <a:lnTo>
                  <a:pt x="4308050" y="4072955"/>
                </a:lnTo>
                <a:lnTo>
                  <a:pt x="4306305" y="4078670"/>
                </a:lnTo>
                <a:lnTo>
                  <a:pt x="4304211" y="4084067"/>
                </a:lnTo>
                <a:lnTo>
                  <a:pt x="4301768" y="4089782"/>
                </a:lnTo>
                <a:lnTo>
                  <a:pt x="4298976" y="4095179"/>
                </a:lnTo>
                <a:lnTo>
                  <a:pt x="4296184" y="4100576"/>
                </a:lnTo>
                <a:lnTo>
                  <a:pt x="4292694" y="4105656"/>
                </a:lnTo>
                <a:lnTo>
                  <a:pt x="4289204" y="4111053"/>
                </a:lnTo>
                <a:lnTo>
                  <a:pt x="4285365" y="4115815"/>
                </a:lnTo>
                <a:lnTo>
                  <a:pt x="4281177" y="4120895"/>
                </a:lnTo>
                <a:lnTo>
                  <a:pt x="4276989" y="4125339"/>
                </a:lnTo>
                <a:lnTo>
                  <a:pt x="4272801" y="4129149"/>
                </a:lnTo>
                <a:lnTo>
                  <a:pt x="4268613" y="4132959"/>
                </a:lnTo>
                <a:lnTo>
                  <a:pt x="4264425" y="4136134"/>
                </a:lnTo>
                <a:lnTo>
                  <a:pt x="4259888" y="4139626"/>
                </a:lnTo>
                <a:lnTo>
                  <a:pt x="4255700" y="4142483"/>
                </a:lnTo>
                <a:lnTo>
                  <a:pt x="4250814" y="4145023"/>
                </a:lnTo>
                <a:lnTo>
                  <a:pt x="4246277" y="4147880"/>
                </a:lnTo>
                <a:lnTo>
                  <a:pt x="4241391" y="4150103"/>
                </a:lnTo>
                <a:lnTo>
                  <a:pt x="4236854" y="4152008"/>
                </a:lnTo>
                <a:lnTo>
                  <a:pt x="4231619" y="4154230"/>
                </a:lnTo>
                <a:lnTo>
                  <a:pt x="4226733" y="4156135"/>
                </a:lnTo>
                <a:lnTo>
                  <a:pt x="4221847" y="4157405"/>
                </a:lnTo>
                <a:lnTo>
                  <a:pt x="4216612" y="4158675"/>
                </a:lnTo>
                <a:lnTo>
                  <a:pt x="4211726" y="4159945"/>
                </a:lnTo>
                <a:lnTo>
                  <a:pt x="4206491" y="4160580"/>
                </a:lnTo>
                <a:lnTo>
                  <a:pt x="4201256" y="4161215"/>
                </a:lnTo>
                <a:lnTo>
                  <a:pt x="4196022" y="4161532"/>
                </a:lnTo>
                <a:lnTo>
                  <a:pt x="4191135" y="4161532"/>
                </a:lnTo>
                <a:lnTo>
                  <a:pt x="4185900" y="4161532"/>
                </a:lnTo>
                <a:lnTo>
                  <a:pt x="4180665" y="4161532"/>
                </a:lnTo>
                <a:lnTo>
                  <a:pt x="4175430" y="4160897"/>
                </a:lnTo>
                <a:lnTo>
                  <a:pt x="4170195" y="4160580"/>
                </a:lnTo>
                <a:lnTo>
                  <a:pt x="4165309" y="4159627"/>
                </a:lnTo>
                <a:lnTo>
                  <a:pt x="4159725" y="4158357"/>
                </a:lnTo>
                <a:lnTo>
                  <a:pt x="4154490" y="4157087"/>
                </a:lnTo>
                <a:lnTo>
                  <a:pt x="4149604" y="4155500"/>
                </a:lnTo>
                <a:lnTo>
                  <a:pt x="4144718" y="4153913"/>
                </a:lnTo>
                <a:lnTo>
                  <a:pt x="4139832" y="4151690"/>
                </a:lnTo>
                <a:lnTo>
                  <a:pt x="4134946" y="4149785"/>
                </a:lnTo>
                <a:lnTo>
                  <a:pt x="4130409" y="4147246"/>
                </a:lnTo>
                <a:lnTo>
                  <a:pt x="4125523" y="4144706"/>
                </a:lnTo>
                <a:lnTo>
                  <a:pt x="4120986" y="414216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  <a:noAutofit/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1C90E6BA-84D3-46D7-8FD5-6184B8D96D98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" y="2"/>
            <a:ext cx="15104736" cy="9601199"/>
          </a:xfrm>
          <a:custGeom>
            <a:avLst/>
            <a:gdLst>
              <a:gd name="connsiteX0" fmla="*/ 10789097 w 10789097"/>
              <a:gd name="connsiteY0" fmla="*/ 0 h 6857999"/>
              <a:gd name="connsiteX1" fmla="*/ 708177 w 10789097"/>
              <a:gd name="connsiteY1" fmla="*/ 0 h 6857999"/>
              <a:gd name="connsiteX2" fmla="*/ 683305 w 10789097"/>
              <a:gd name="connsiteY2" fmla="*/ 0 h 6857999"/>
              <a:gd name="connsiteX3" fmla="*/ 329787 w 10789097"/>
              <a:gd name="connsiteY3" fmla="*/ 0 h 6857999"/>
              <a:gd name="connsiteX4" fmla="*/ 240539 w 10789097"/>
              <a:gd name="connsiteY4" fmla="*/ 0 h 6857999"/>
              <a:gd name="connsiteX5" fmla="*/ 0 w 10789097"/>
              <a:gd name="connsiteY5" fmla="*/ 0 h 6857999"/>
              <a:gd name="connsiteX6" fmla="*/ 34549 w 10789097"/>
              <a:gd name="connsiteY6" fmla="*/ 34608 h 6857999"/>
              <a:gd name="connsiteX7" fmla="*/ 2681221 w 10789097"/>
              <a:gd name="connsiteY7" fmla="*/ 2678112 h 6857999"/>
              <a:gd name="connsiteX8" fmla="*/ 2685758 w 10789097"/>
              <a:gd name="connsiteY8" fmla="*/ 2682875 h 6857999"/>
              <a:gd name="connsiteX9" fmla="*/ 2689946 w 10789097"/>
              <a:gd name="connsiteY9" fmla="*/ 2687320 h 6857999"/>
              <a:gd name="connsiteX10" fmla="*/ 2693785 w 10789097"/>
              <a:gd name="connsiteY10" fmla="*/ 2692717 h 6857999"/>
              <a:gd name="connsiteX11" fmla="*/ 2697274 w 10789097"/>
              <a:gd name="connsiteY11" fmla="*/ 2697480 h 6857999"/>
              <a:gd name="connsiteX12" fmla="*/ 2700415 w 10789097"/>
              <a:gd name="connsiteY12" fmla="*/ 2702877 h 6857999"/>
              <a:gd name="connsiteX13" fmla="*/ 2703556 w 10789097"/>
              <a:gd name="connsiteY13" fmla="*/ 2708275 h 6857999"/>
              <a:gd name="connsiteX14" fmla="*/ 2706348 w 10789097"/>
              <a:gd name="connsiteY14" fmla="*/ 2713672 h 6857999"/>
              <a:gd name="connsiteX15" fmla="*/ 2708791 w 10789097"/>
              <a:gd name="connsiteY15" fmla="*/ 2719070 h 6857999"/>
              <a:gd name="connsiteX16" fmla="*/ 2710885 w 10789097"/>
              <a:gd name="connsiteY16" fmla="*/ 2725102 h 6857999"/>
              <a:gd name="connsiteX17" fmla="*/ 2712630 w 10789097"/>
              <a:gd name="connsiteY17" fmla="*/ 2730817 h 6857999"/>
              <a:gd name="connsiteX18" fmla="*/ 2714025 w 10789097"/>
              <a:gd name="connsiteY18" fmla="*/ 2736532 h 6857999"/>
              <a:gd name="connsiteX19" fmla="*/ 2715421 w 10789097"/>
              <a:gd name="connsiteY19" fmla="*/ 2742565 h 6857999"/>
              <a:gd name="connsiteX20" fmla="*/ 2716468 w 10789097"/>
              <a:gd name="connsiteY20" fmla="*/ 2748280 h 6857999"/>
              <a:gd name="connsiteX21" fmla="*/ 2717166 w 10789097"/>
              <a:gd name="connsiteY21" fmla="*/ 2753995 h 6857999"/>
              <a:gd name="connsiteX22" fmla="*/ 2717515 w 10789097"/>
              <a:gd name="connsiteY22" fmla="*/ 2760345 h 6857999"/>
              <a:gd name="connsiteX23" fmla="*/ 2717864 w 10789097"/>
              <a:gd name="connsiteY23" fmla="*/ 2766377 h 6857999"/>
              <a:gd name="connsiteX24" fmla="*/ 2717515 w 10789097"/>
              <a:gd name="connsiteY24" fmla="*/ 2772092 h 6857999"/>
              <a:gd name="connsiteX25" fmla="*/ 2717166 w 10789097"/>
              <a:gd name="connsiteY25" fmla="*/ 2778125 h 6857999"/>
              <a:gd name="connsiteX26" fmla="*/ 2716468 w 10789097"/>
              <a:gd name="connsiteY26" fmla="*/ 2784157 h 6857999"/>
              <a:gd name="connsiteX27" fmla="*/ 2715421 w 10789097"/>
              <a:gd name="connsiteY27" fmla="*/ 2790190 h 6857999"/>
              <a:gd name="connsiteX28" fmla="*/ 2714025 w 10789097"/>
              <a:gd name="connsiteY28" fmla="*/ 2795905 h 6857999"/>
              <a:gd name="connsiteX29" fmla="*/ 2712630 w 10789097"/>
              <a:gd name="connsiteY29" fmla="*/ 2801620 h 6857999"/>
              <a:gd name="connsiteX30" fmla="*/ 2710885 w 10789097"/>
              <a:gd name="connsiteY30" fmla="*/ 2807335 h 6857999"/>
              <a:gd name="connsiteX31" fmla="*/ 2708791 w 10789097"/>
              <a:gd name="connsiteY31" fmla="*/ 2813050 h 6857999"/>
              <a:gd name="connsiteX32" fmla="*/ 2706348 w 10789097"/>
              <a:gd name="connsiteY32" fmla="*/ 2818765 h 6857999"/>
              <a:gd name="connsiteX33" fmla="*/ 2703556 w 10789097"/>
              <a:gd name="connsiteY33" fmla="*/ 2824162 h 6857999"/>
              <a:gd name="connsiteX34" fmla="*/ 2700415 w 10789097"/>
              <a:gd name="connsiteY34" fmla="*/ 2829560 h 6857999"/>
              <a:gd name="connsiteX35" fmla="*/ 2697274 w 10789097"/>
              <a:gd name="connsiteY35" fmla="*/ 2834640 h 6857999"/>
              <a:gd name="connsiteX36" fmla="*/ 2693785 w 10789097"/>
              <a:gd name="connsiteY36" fmla="*/ 2840037 h 6857999"/>
              <a:gd name="connsiteX37" fmla="*/ 2689946 w 10789097"/>
              <a:gd name="connsiteY37" fmla="*/ 2844800 h 6857999"/>
              <a:gd name="connsiteX38" fmla="*/ 2685758 w 10789097"/>
              <a:gd name="connsiteY38" fmla="*/ 2849562 h 6857999"/>
              <a:gd name="connsiteX39" fmla="*/ 2681221 w 10789097"/>
              <a:gd name="connsiteY39" fmla="*/ 2854325 h 6857999"/>
              <a:gd name="connsiteX40" fmla="*/ 2676684 w 10789097"/>
              <a:gd name="connsiteY40" fmla="*/ 2858770 h 6857999"/>
              <a:gd name="connsiteX41" fmla="*/ 2671799 w 10789097"/>
              <a:gd name="connsiteY41" fmla="*/ 2862580 h 6857999"/>
              <a:gd name="connsiteX42" fmla="*/ 2666913 w 10789097"/>
              <a:gd name="connsiteY42" fmla="*/ 2866390 h 6857999"/>
              <a:gd name="connsiteX43" fmla="*/ 2661678 w 10789097"/>
              <a:gd name="connsiteY43" fmla="*/ 2870200 h 6857999"/>
              <a:gd name="connsiteX44" fmla="*/ 2656444 w 10789097"/>
              <a:gd name="connsiteY44" fmla="*/ 2873375 h 6857999"/>
              <a:gd name="connsiteX45" fmla="*/ 2651209 w 10789097"/>
              <a:gd name="connsiteY45" fmla="*/ 2876550 h 6857999"/>
              <a:gd name="connsiteX46" fmla="*/ 2645625 w 10789097"/>
              <a:gd name="connsiteY46" fmla="*/ 2879090 h 6857999"/>
              <a:gd name="connsiteX47" fmla="*/ 2640041 w 10789097"/>
              <a:gd name="connsiteY47" fmla="*/ 2881312 h 6857999"/>
              <a:gd name="connsiteX48" fmla="*/ 2634458 w 10789097"/>
              <a:gd name="connsiteY48" fmla="*/ 2883535 h 6857999"/>
              <a:gd name="connsiteX49" fmla="*/ 2628525 w 10789097"/>
              <a:gd name="connsiteY49" fmla="*/ 2885757 h 6857999"/>
              <a:gd name="connsiteX50" fmla="*/ 2622941 w 10789097"/>
              <a:gd name="connsiteY50" fmla="*/ 2887027 h 6857999"/>
              <a:gd name="connsiteX51" fmla="*/ 2617009 w 10789097"/>
              <a:gd name="connsiteY51" fmla="*/ 2888297 h 6857999"/>
              <a:gd name="connsiteX52" fmla="*/ 2611076 w 10789097"/>
              <a:gd name="connsiteY52" fmla="*/ 2889567 h 6857999"/>
              <a:gd name="connsiteX53" fmla="*/ 2605143 w 10789097"/>
              <a:gd name="connsiteY53" fmla="*/ 2890202 h 6857999"/>
              <a:gd name="connsiteX54" fmla="*/ 2599211 w 10789097"/>
              <a:gd name="connsiteY54" fmla="*/ 2890520 h 6857999"/>
              <a:gd name="connsiteX55" fmla="*/ 2593278 w 10789097"/>
              <a:gd name="connsiteY55" fmla="*/ 2890520 h 6857999"/>
              <a:gd name="connsiteX56" fmla="*/ 2587345 w 10789097"/>
              <a:gd name="connsiteY56" fmla="*/ 2890520 h 6857999"/>
              <a:gd name="connsiteX57" fmla="*/ 2581413 w 10789097"/>
              <a:gd name="connsiteY57" fmla="*/ 2890202 h 6857999"/>
              <a:gd name="connsiteX58" fmla="*/ 2575480 w 10789097"/>
              <a:gd name="connsiteY58" fmla="*/ 2889567 h 6857999"/>
              <a:gd name="connsiteX59" fmla="*/ 2569547 w 10789097"/>
              <a:gd name="connsiteY59" fmla="*/ 2888297 h 6857999"/>
              <a:gd name="connsiteX60" fmla="*/ 2563615 w 10789097"/>
              <a:gd name="connsiteY60" fmla="*/ 2887027 h 6857999"/>
              <a:gd name="connsiteX61" fmla="*/ 2557682 w 10789097"/>
              <a:gd name="connsiteY61" fmla="*/ 2885757 h 6857999"/>
              <a:gd name="connsiteX62" fmla="*/ 2552098 w 10789097"/>
              <a:gd name="connsiteY62" fmla="*/ 2883535 h 6857999"/>
              <a:gd name="connsiteX63" fmla="*/ 2546515 w 10789097"/>
              <a:gd name="connsiteY63" fmla="*/ 2881312 h 6857999"/>
              <a:gd name="connsiteX64" fmla="*/ 2540931 w 10789097"/>
              <a:gd name="connsiteY64" fmla="*/ 2879090 h 6857999"/>
              <a:gd name="connsiteX65" fmla="*/ 2535347 w 10789097"/>
              <a:gd name="connsiteY65" fmla="*/ 2876550 h 6857999"/>
              <a:gd name="connsiteX66" fmla="*/ 2530112 w 10789097"/>
              <a:gd name="connsiteY66" fmla="*/ 2873375 h 6857999"/>
              <a:gd name="connsiteX67" fmla="*/ 2524878 w 10789097"/>
              <a:gd name="connsiteY67" fmla="*/ 2870200 h 6857999"/>
              <a:gd name="connsiteX68" fmla="*/ 2519643 w 10789097"/>
              <a:gd name="connsiteY68" fmla="*/ 2866390 h 6857999"/>
              <a:gd name="connsiteX69" fmla="*/ 2514757 w 10789097"/>
              <a:gd name="connsiteY69" fmla="*/ 2862580 h 6857999"/>
              <a:gd name="connsiteX70" fmla="*/ 2509872 w 10789097"/>
              <a:gd name="connsiteY70" fmla="*/ 2858770 h 6857999"/>
              <a:gd name="connsiteX71" fmla="*/ 2505335 w 10789097"/>
              <a:gd name="connsiteY71" fmla="*/ 2854325 h 6857999"/>
              <a:gd name="connsiteX72" fmla="*/ 2390869 w 10789097"/>
              <a:gd name="connsiteY72" fmla="*/ 2740025 h 6857999"/>
              <a:gd name="connsiteX73" fmla="*/ 2385983 w 10789097"/>
              <a:gd name="connsiteY73" fmla="*/ 2735580 h 6857999"/>
              <a:gd name="connsiteX74" fmla="*/ 2381097 w 10789097"/>
              <a:gd name="connsiteY74" fmla="*/ 2731452 h 6857999"/>
              <a:gd name="connsiteX75" fmla="*/ 2376212 w 10789097"/>
              <a:gd name="connsiteY75" fmla="*/ 2727642 h 6857999"/>
              <a:gd name="connsiteX76" fmla="*/ 2371326 w 10789097"/>
              <a:gd name="connsiteY76" fmla="*/ 2724150 h 6857999"/>
              <a:gd name="connsiteX77" fmla="*/ 2366091 w 10789097"/>
              <a:gd name="connsiteY77" fmla="*/ 2720975 h 6857999"/>
              <a:gd name="connsiteX78" fmla="*/ 2360507 w 10789097"/>
              <a:gd name="connsiteY78" fmla="*/ 2717800 h 6857999"/>
              <a:gd name="connsiteX79" fmla="*/ 2355273 w 10789097"/>
              <a:gd name="connsiteY79" fmla="*/ 2715260 h 6857999"/>
              <a:gd name="connsiteX80" fmla="*/ 2349689 w 10789097"/>
              <a:gd name="connsiteY80" fmla="*/ 2713037 h 6857999"/>
              <a:gd name="connsiteX81" fmla="*/ 2343757 w 10789097"/>
              <a:gd name="connsiteY81" fmla="*/ 2710497 h 6857999"/>
              <a:gd name="connsiteX82" fmla="*/ 2338173 w 10789097"/>
              <a:gd name="connsiteY82" fmla="*/ 2708592 h 6857999"/>
              <a:gd name="connsiteX83" fmla="*/ 2332240 w 10789097"/>
              <a:gd name="connsiteY83" fmla="*/ 2707322 h 6857999"/>
              <a:gd name="connsiteX84" fmla="*/ 2326307 w 10789097"/>
              <a:gd name="connsiteY84" fmla="*/ 2706052 h 6857999"/>
              <a:gd name="connsiteX85" fmla="*/ 2320724 w 10789097"/>
              <a:gd name="connsiteY85" fmla="*/ 2704782 h 6857999"/>
              <a:gd name="connsiteX86" fmla="*/ 2314442 w 10789097"/>
              <a:gd name="connsiteY86" fmla="*/ 2704147 h 6857999"/>
              <a:gd name="connsiteX87" fmla="*/ 2308509 w 10789097"/>
              <a:gd name="connsiteY87" fmla="*/ 2703830 h 6857999"/>
              <a:gd name="connsiteX88" fmla="*/ 2302577 w 10789097"/>
              <a:gd name="connsiteY88" fmla="*/ 2703512 h 6857999"/>
              <a:gd name="connsiteX89" fmla="*/ 2296644 w 10789097"/>
              <a:gd name="connsiteY89" fmla="*/ 2703830 h 6857999"/>
              <a:gd name="connsiteX90" fmla="*/ 2290711 w 10789097"/>
              <a:gd name="connsiteY90" fmla="*/ 2704147 h 6857999"/>
              <a:gd name="connsiteX91" fmla="*/ 2284779 w 10789097"/>
              <a:gd name="connsiteY91" fmla="*/ 2704782 h 6857999"/>
              <a:gd name="connsiteX92" fmla="*/ 2278846 w 10789097"/>
              <a:gd name="connsiteY92" fmla="*/ 2706052 h 6857999"/>
              <a:gd name="connsiteX93" fmla="*/ 2272913 w 10789097"/>
              <a:gd name="connsiteY93" fmla="*/ 2707322 h 6857999"/>
              <a:gd name="connsiteX94" fmla="*/ 2267330 w 10789097"/>
              <a:gd name="connsiteY94" fmla="*/ 2708592 h 6857999"/>
              <a:gd name="connsiteX95" fmla="*/ 2261397 w 10789097"/>
              <a:gd name="connsiteY95" fmla="*/ 2710497 h 6857999"/>
              <a:gd name="connsiteX96" fmla="*/ 2255813 w 10789097"/>
              <a:gd name="connsiteY96" fmla="*/ 2713037 h 6857999"/>
              <a:gd name="connsiteX97" fmla="*/ 2250229 w 10789097"/>
              <a:gd name="connsiteY97" fmla="*/ 2715260 h 6857999"/>
              <a:gd name="connsiteX98" fmla="*/ 2244646 w 10789097"/>
              <a:gd name="connsiteY98" fmla="*/ 2717800 h 6857999"/>
              <a:gd name="connsiteX99" fmla="*/ 2239411 w 10789097"/>
              <a:gd name="connsiteY99" fmla="*/ 2720975 h 6857999"/>
              <a:gd name="connsiteX100" fmla="*/ 2234177 w 10789097"/>
              <a:gd name="connsiteY100" fmla="*/ 2724150 h 6857999"/>
              <a:gd name="connsiteX101" fmla="*/ 2228942 w 10789097"/>
              <a:gd name="connsiteY101" fmla="*/ 2727642 h 6857999"/>
              <a:gd name="connsiteX102" fmla="*/ 2224056 w 10789097"/>
              <a:gd name="connsiteY102" fmla="*/ 2731452 h 6857999"/>
              <a:gd name="connsiteX103" fmla="*/ 2219170 w 10789097"/>
              <a:gd name="connsiteY103" fmla="*/ 2735580 h 6857999"/>
              <a:gd name="connsiteX104" fmla="*/ 2214633 w 10789097"/>
              <a:gd name="connsiteY104" fmla="*/ 2740025 h 6857999"/>
              <a:gd name="connsiteX105" fmla="*/ 2210097 w 10789097"/>
              <a:gd name="connsiteY105" fmla="*/ 2744787 h 6857999"/>
              <a:gd name="connsiteX106" fmla="*/ 2206258 w 10789097"/>
              <a:gd name="connsiteY106" fmla="*/ 2749550 h 6857999"/>
              <a:gd name="connsiteX107" fmla="*/ 2202070 w 10789097"/>
              <a:gd name="connsiteY107" fmla="*/ 2754312 h 6857999"/>
              <a:gd name="connsiteX108" fmla="*/ 2198581 w 10789097"/>
              <a:gd name="connsiteY108" fmla="*/ 2759710 h 6857999"/>
              <a:gd name="connsiteX109" fmla="*/ 2195091 w 10789097"/>
              <a:gd name="connsiteY109" fmla="*/ 2764790 h 6857999"/>
              <a:gd name="connsiteX110" fmla="*/ 2191950 w 10789097"/>
              <a:gd name="connsiteY110" fmla="*/ 2770187 h 6857999"/>
              <a:gd name="connsiteX111" fmla="*/ 2189507 w 10789097"/>
              <a:gd name="connsiteY111" fmla="*/ 2775585 h 6857999"/>
              <a:gd name="connsiteX112" fmla="*/ 2187064 w 10789097"/>
              <a:gd name="connsiteY112" fmla="*/ 2781300 h 6857999"/>
              <a:gd name="connsiteX113" fmla="*/ 2184621 w 10789097"/>
              <a:gd name="connsiteY113" fmla="*/ 2787015 h 6857999"/>
              <a:gd name="connsiteX114" fmla="*/ 2182876 w 10789097"/>
              <a:gd name="connsiteY114" fmla="*/ 2792730 h 6857999"/>
              <a:gd name="connsiteX115" fmla="*/ 2181480 w 10789097"/>
              <a:gd name="connsiteY115" fmla="*/ 2798445 h 6857999"/>
              <a:gd name="connsiteX116" fmla="*/ 2180085 w 10789097"/>
              <a:gd name="connsiteY116" fmla="*/ 2804477 h 6857999"/>
              <a:gd name="connsiteX117" fmla="*/ 2179037 w 10789097"/>
              <a:gd name="connsiteY117" fmla="*/ 2810192 h 6857999"/>
              <a:gd name="connsiteX118" fmla="*/ 2178339 w 10789097"/>
              <a:gd name="connsiteY118" fmla="*/ 2816225 h 6857999"/>
              <a:gd name="connsiteX119" fmla="*/ 2177991 w 10789097"/>
              <a:gd name="connsiteY119" fmla="*/ 2822257 h 6857999"/>
              <a:gd name="connsiteX120" fmla="*/ 2177641 w 10789097"/>
              <a:gd name="connsiteY120" fmla="*/ 2827972 h 6857999"/>
              <a:gd name="connsiteX121" fmla="*/ 2177991 w 10789097"/>
              <a:gd name="connsiteY121" fmla="*/ 2834005 h 6857999"/>
              <a:gd name="connsiteX122" fmla="*/ 2178339 w 10789097"/>
              <a:gd name="connsiteY122" fmla="*/ 2840037 h 6857999"/>
              <a:gd name="connsiteX123" fmla="*/ 2179037 w 10789097"/>
              <a:gd name="connsiteY123" fmla="*/ 2845752 h 6857999"/>
              <a:gd name="connsiteX124" fmla="*/ 2180085 w 10789097"/>
              <a:gd name="connsiteY124" fmla="*/ 2851785 h 6857999"/>
              <a:gd name="connsiteX125" fmla="*/ 2181480 w 10789097"/>
              <a:gd name="connsiteY125" fmla="*/ 2857817 h 6857999"/>
              <a:gd name="connsiteX126" fmla="*/ 2182876 w 10789097"/>
              <a:gd name="connsiteY126" fmla="*/ 2863532 h 6857999"/>
              <a:gd name="connsiteX127" fmla="*/ 2184621 w 10789097"/>
              <a:gd name="connsiteY127" fmla="*/ 2869247 h 6857999"/>
              <a:gd name="connsiteX128" fmla="*/ 2187064 w 10789097"/>
              <a:gd name="connsiteY128" fmla="*/ 2875280 h 6857999"/>
              <a:gd name="connsiteX129" fmla="*/ 2189507 w 10789097"/>
              <a:gd name="connsiteY129" fmla="*/ 2880677 h 6857999"/>
              <a:gd name="connsiteX130" fmla="*/ 2191950 w 10789097"/>
              <a:gd name="connsiteY130" fmla="*/ 2886075 h 6857999"/>
              <a:gd name="connsiteX131" fmla="*/ 2195091 w 10789097"/>
              <a:gd name="connsiteY131" fmla="*/ 2891472 h 6857999"/>
              <a:gd name="connsiteX132" fmla="*/ 2198581 w 10789097"/>
              <a:gd name="connsiteY132" fmla="*/ 2896870 h 6857999"/>
              <a:gd name="connsiteX133" fmla="*/ 2202070 w 10789097"/>
              <a:gd name="connsiteY133" fmla="*/ 2901632 h 6857999"/>
              <a:gd name="connsiteX134" fmla="*/ 2206258 w 10789097"/>
              <a:gd name="connsiteY134" fmla="*/ 2906712 h 6857999"/>
              <a:gd name="connsiteX135" fmla="*/ 2210097 w 10789097"/>
              <a:gd name="connsiteY135" fmla="*/ 2911475 h 6857999"/>
              <a:gd name="connsiteX136" fmla="*/ 2214633 w 10789097"/>
              <a:gd name="connsiteY136" fmla="*/ 2916237 h 6857999"/>
              <a:gd name="connsiteX137" fmla="*/ 2938420 w 10789097"/>
              <a:gd name="connsiteY137" fmla="*/ 3639502 h 6857999"/>
              <a:gd name="connsiteX138" fmla="*/ 2942957 w 10789097"/>
              <a:gd name="connsiteY138" fmla="*/ 3643947 h 6857999"/>
              <a:gd name="connsiteX139" fmla="*/ 2947145 w 10789097"/>
              <a:gd name="connsiteY139" fmla="*/ 3648710 h 6857999"/>
              <a:gd name="connsiteX140" fmla="*/ 2950984 w 10789097"/>
              <a:gd name="connsiteY140" fmla="*/ 3653790 h 6857999"/>
              <a:gd name="connsiteX141" fmla="*/ 2954473 w 10789097"/>
              <a:gd name="connsiteY141" fmla="*/ 3658870 h 6857999"/>
              <a:gd name="connsiteX142" fmla="*/ 2957614 w 10789097"/>
              <a:gd name="connsiteY142" fmla="*/ 3664267 h 6857999"/>
              <a:gd name="connsiteX143" fmla="*/ 2960755 w 10789097"/>
              <a:gd name="connsiteY143" fmla="*/ 3669347 h 6857999"/>
              <a:gd name="connsiteX144" fmla="*/ 2963547 w 10789097"/>
              <a:gd name="connsiteY144" fmla="*/ 3675062 h 6857999"/>
              <a:gd name="connsiteX145" fmla="*/ 2965641 w 10789097"/>
              <a:gd name="connsiteY145" fmla="*/ 3680460 h 6857999"/>
              <a:gd name="connsiteX146" fmla="*/ 2968084 w 10789097"/>
              <a:gd name="connsiteY146" fmla="*/ 3686175 h 6857999"/>
              <a:gd name="connsiteX147" fmla="*/ 2969829 w 10789097"/>
              <a:gd name="connsiteY147" fmla="*/ 3691890 h 6857999"/>
              <a:gd name="connsiteX148" fmla="*/ 2971224 w 10789097"/>
              <a:gd name="connsiteY148" fmla="*/ 3697605 h 6857999"/>
              <a:gd name="connsiteX149" fmla="*/ 2972620 w 10789097"/>
              <a:gd name="connsiteY149" fmla="*/ 3703637 h 6857999"/>
              <a:gd name="connsiteX150" fmla="*/ 2973667 w 10789097"/>
              <a:gd name="connsiteY150" fmla="*/ 3709670 h 6857999"/>
              <a:gd name="connsiteX151" fmla="*/ 2974365 w 10789097"/>
              <a:gd name="connsiteY151" fmla="*/ 3715385 h 6857999"/>
              <a:gd name="connsiteX152" fmla="*/ 2974714 w 10789097"/>
              <a:gd name="connsiteY152" fmla="*/ 3721417 h 6857999"/>
              <a:gd name="connsiteX153" fmla="*/ 2975063 w 10789097"/>
              <a:gd name="connsiteY153" fmla="*/ 3727450 h 6857999"/>
              <a:gd name="connsiteX154" fmla="*/ 2974714 w 10789097"/>
              <a:gd name="connsiteY154" fmla="*/ 3733165 h 6857999"/>
              <a:gd name="connsiteX155" fmla="*/ 2974365 w 10789097"/>
              <a:gd name="connsiteY155" fmla="*/ 3739197 h 6857999"/>
              <a:gd name="connsiteX156" fmla="*/ 2973667 w 10789097"/>
              <a:gd name="connsiteY156" fmla="*/ 3745230 h 6857999"/>
              <a:gd name="connsiteX157" fmla="*/ 2972620 w 10789097"/>
              <a:gd name="connsiteY157" fmla="*/ 3750945 h 6857999"/>
              <a:gd name="connsiteX158" fmla="*/ 2971224 w 10789097"/>
              <a:gd name="connsiteY158" fmla="*/ 3756977 h 6857999"/>
              <a:gd name="connsiteX159" fmla="*/ 2969829 w 10789097"/>
              <a:gd name="connsiteY159" fmla="*/ 3763010 h 6857999"/>
              <a:gd name="connsiteX160" fmla="*/ 2968084 w 10789097"/>
              <a:gd name="connsiteY160" fmla="*/ 3768407 h 6857999"/>
              <a:gd name="connsiteX161" fmla="*/ 2965641 w 10789097"/>
              <a:gd name="connsiteY161" fmla="*/ 3774122 h 6857999"/>
              <a:gd name="connsiteX162" fmla="*/ 2963547 w 10789097"/>
              <a:gd name="connsiteY162" fmla="*/ 3779837 h 6857999"/>
              <a:gd name="connsiteX163" fmla="*/ 2960755 w 10789097"/>
              <a:gd name="connsiteY163" fmla="*/ 3785235 h 6857999"/>
              <a:gd name="connsiteX164" fmla="*/ 2957614 w 10789097"/>
              <a:gd name="connsiteY164" fmla="*/ 3790632 h 6857999"/>
              <a:gd name="connsiteX165" fmla="*/ 2954473 w 10789097"/>
              <a:gd name="connsiteY165" fmla="*/ 3795712 h 6857999"/>
              <a:gd name="connsiteX166" fmla="*/ 2950984 w 10789097"/>
              <a:gd name="connsiteY166" fmla="*/ 3801110 h 6857999"/>
              <a:gd name="connsiteX167" fmla="*/ 2947145 w 10789097"/>
              <a:gd name="connsiteY167" fmla="*/ 3805872 h 6857999"/>
              <a:gd name="connsiteX168" fmla="*/ 2942957 w 10789097"/>
              <a:gd name="connsiteY168" fmla="*/ 3810635 h 6857999"/>
              <a:gd name="connsiteX169" fmla="*/ 2938420 w 10789097"/>
              <a:gd name="connsiteY169" fmla="*/ 3815397 h 6857999"/>
              <a:gd name="connsiteX170" fmla="*/ 2933884 w 10789097"/>
              <a:gd name="connsiteY170" fmla="*/ 3819842 h 6857999"/>
              <a:gd name="connsiteX171" fmla="*/ 2928998 w 10789097"/>
              <a:gd name="connsiteY171" fmla="*/ 3823970 h 6857999"/>
              <a:gd name="connsiteX172" fmla="*/ 2924112 w 10789097"/>
              <a:gd name="connsiteY172" fmla="*/ 3827780 h 6857999"/>
              <a:gd name="connsiteX173" fmla="*/ 2918877 w 10789097"/>
              <a:gd name="connsiteY173" fmla="*/ 3831272 h 6857999"/>
              <a:gd name="connsiteX174" fmla="*/ 2913643 w 10789097"/>
              <a:gd name="connsiteY174" fmla="*/ 3834447 h 6857999"/>
              <a:gd name="connsiteX175" fmla="*/ 2908408 w 10789097"/>
              <a:gd name="connsiteY175" fmla="*/ 3837622 h 6857999"/>
              <a:gd name="connsiteX176" fmla="*/ 2902824 w 10789097"/>
              <a:gd name="connsiteY176" fmla="*/ 3840480 h 6857999"/>
              <a:gd name="connsiteX177" fmla="*/ 2897240 w 10789097"/>
              <a:gd name="connsiteY177" fmla="*/ 3843020 h 6857999"/>
              <a:gd name="connsiteX178" fmla="*/ 2891657 w 10789097"/>
              <a:gd name="connsiteY178" fmla="*/ 3844925 h 6857999"/>
              <a:gd name="connsiteX179" fmla="*/ 2885724 w 10789097"/>
              <a:gd name="connsiteY179" fmla="*/ 3846830 h 6857999"/>
              <a:gd name="connsiteX180" fmla="*/ 2880140 w 10789097"/>
              <a:gd name="connsiteY180" fmla="*/ 3848417 h 6857999"/>
              <a:gd name="connsiteX181" fmla="*/ 2874208 w 10789097"/>
              <a:gd name="connsiteY181" fmla="*/ 3849370 h 6857999"/>
              <a:gd name="connsiteX182" fmla="*/ 2868275 w 10789097"/>
              <a:gd name="connsiteY182" fmla="*/ 3850640 h 6857999"/>
              <a:gd name="connsiteX183" fmla="*/ 2862342 w 10789097"/>
              <a:gd name="connsiteY183" fmla="*/ 3851275 h 6857999"/>
              <a:gd name="connsiteX184" fmla="*/ 2856410 w 10789097"/>
              <a:gd name="connsiteY184" fmla="*/ 3851592 h 6857999"/>
              <a:gd name="connsiteX185" fmla="*/ 2850477 w 10789097"/>
              <a:gd name="connsiteY185" fmla="*/ 3851910 h 6857999"/>
              <a:gd name="connsiteX186" fmla="*/ 2844544 w 10789097"/>
              <a:gd name="connsiteY186" fmla="*/ 3851592 h 6857999"/>
              <a:gd name="connsiteX187" fmla="*/ 2838612 w 10789097"/>
              <a:gd name="connsiteY187" fmla="*/ 3851275 h 6857999"/>
              <a:gd name="connsiteX188" fmla="*/ 2832679 w 10789097"/>
              <a:gd name="connsiteY188" fmla="*/ 3850640 h 6857999"/>
              <a:gd name="connsiteX189" fmla="*/ 2826746 w 10789097"/>
              <a:gd name="connsiteY189" fmla="*/ 3849370 h 6857999"/>
              <a:gd name="connsiteX190" fmla="*/ 2820814 w 10789097"/>
              <a:gd name="connsiteY190" fmla="*/ 3848417 h 6857999"/>
              <a:gd name="connsiteX191" fmla="*/ 2814881 w 10789097"/>
              <a:gd name="connsiteY191" fmla="*/ 3846830 h 6857999"/>
              <a:gd name="connsiteX192" fmla="*/ 2809297 w 10789097"/>
              <a:gd name="connsiteY192" fmla="*/ 3844925 h 6857999"/>
              <a:gd name="connsiteX193" fmla="*/ 2803714 w 10789097"/>
              <a:gd name="connsiteY193" fmla="*/ 3843020 h 6857999"/>
              <a:gd name="connsiteX194" fmla="*/ 2798130 w 10789097"/>
              <a:gd name="connsiteY194" fmla="*/ 3840480 h 6857999"/>
              <a:gd name="connsiteX195" fmla="*/ 2792546 w 10789097"/>
              <a:gd name="connsiteY195" fmla="*/ 3837622 h 6857999"/>
              <a:gd name="connsiteX196" fmla="*/ 2787311 w 10789097"/>
              <a:gd name="connsiteY196" fmla="*/ 3834447 h 6857999"/>
              <a:gd name="connsiteX197" fmla="*/ 2782077 w 10789097"/>
              <a:gd name="connsiteY197" fmla="*/ 3831272 h 6857999"/>
              <a:gd name="connsiteX198" fmla="*/ 2776842 w 10789097"/>
              <a:gd name="connsiteY198" fmla="*/ 3827780 h 6857999"/>
              <a:gd name="connsiteX199" fmla="*/ 2771956 w 10789097"/>
              <a:gd name="connsiteY199" fmla="*/ 3823970 h 6857999"/>
              <a:gd name="connsiteX200" fmla="*/ 2767071 w 10789097"/>
              <a:gd name="connsiteY200" fmla="*/ 3819842 h 6857999"/>
              <a:gd name="connsiteX201" fmla="*/ 2762534 w 10789097"/>
              <a:gd name="connsiteY201" fmla="*/ 3815397 h 6857999"/>
              <a:gd name="connsiteX202" fmla="*/ 2666564 w 10789097"/>
              <a:gd name="connsiteY202" fmla="*/ 3720147 h 6857999"/>
              <a:gd name="connsiteX203" fmla="*/ 2559078 w 10789097"/>
              <a:gd name="connsiteY203" fmla="*/ 3612515 h 6857999"/>
              <a:gd name="connsiteX204" fmla="*/ 2554541 w 10789097"/>
              <a:gd name="connsiteY204" fmla="*/ 3608070 h 6857999"/>
              <a:gd name="connsiteX205" fmla="*/ 2549655 w 10789097"/>
              <a:gd name="connsiteY205" fmla="*/ 3604260 h 6857999"/>
              <a:gd name="connsiteX206" fmla="*/ 2544770 w 10789097"/>
              <a:gd name="connsiteY206" fmla="*/ 3600132 h 6857999"/>
              <a:gd name="connsiteX207" fmla="*/ 2539535 w 10789097"/>
              <a:gd name="connsiteY207" fmla="*/ 3596640 h 6857999"/>
              <a:gd name="connsiteX208" fmla="*/ 2534300 w 10789097"/>
              <a:gd name="connsiteY208" fmla="*/ 3593465 h 6857999"/>
              <a:gd name="connsiteX209" fmla="*/ 2529066 w 10789097"/>
              <a:gd name="connsiteY209" fmla="*/ 3590290 h 6857999"/>
              <a:gd name="connsiteX210" fmla="*/ 2523482 w 10789097"/>
              <a:gd name="connsiteY210" fmla="*/ 3587750 h 6857999"/>
              <a:gd name="connsiteX211" fmla="*/ 2517898 w 10789097"/>
              <a:gd name="connsiteY211" fmla="*/ 3585210 h 6857999"/>
              <a:gd name="connsiteX212" fmla="*/ 2512314 w 10789097"/>
              <a:gd name="connsiteY212" fmla="*/ 3583305 h 6857999"/>
              <a:gd name="connsiteX213" fmla="*/ 2506731 w 10789097"/>
              <a:gd name="connsiteY213" fmla="*/ 3581082 h 6857999"/>
              <a:gd name="connsiteX214" fmla="*/ 2500798 w 10789097"/>
              <a:gd name="connsiteY214" fmla="*/ 3579812 h 6857999"/>
              <a:gd name="connsiteX215" fmla="*/ 2494865 w 10789097"/>
              <a:gd name="connsiteY215" fmla="*/ 3578225 h 6857999"/>
              <a:gd name="connsiteX216" fmla="*/ 2488933 w 10789097"/>
              <a:gd name="connsiteY216" fmla="*/ 3577272 h 6857999"/>
              <a:gd name="connsiteX217" fmla="*/ 2483000 w 10789097"/>
              <a:gd name="connsiteY217" fmla="*/ 3576637 h 6857999"/>
              <a:gd name="connsiteX218" fmla="*/ 2476718 w 10789097"/>
              <a:gd name="connsiteY218" fmla="*/ 3576320 h 6857999"/>
              <a:gd name="connsiteX219" fmla="*/ 2470786 w 10789097"/>
              <a:gd name="connsiteY219" fmla="*/ 3576320 h 6857999"/>
              <a:gd name="connsiteX220" fmla="*/ 2464853 w 10789097"/>
              <a:gd name="connsiteY220" fmla="*/ 3576320 h 6857999"/>
              <a:gd name="connsiteX221" fmla="*/ 2458920 w 10789097"/>
              <a:gd name="connsiteY221" fmla="*/ 3576637 h 6857999"/>
              <a:gd name="connsiteX222" fmla="*/ 2452988 w 10789097"/>
              <a:gd name="connsiteY222" fmla="*/ 3577272 h 6857999"/>
              <a:gd name="connsiteX223" fmla="*/ 2447055 w 10789097"/>
              <a:gd name="connsiteY223" fmla="*/ 3578225 h 6857999"/>
              <a:gd name="connsiteX224" fmla="*/ 2441122 w 10789097"/>
              <a:gd name="connsiteY224" fmla="*/ 3579812 h 6857999"/>
              <a:gd name="connsiteX225" fmla="*/ 2435190 w 10789097"/>
              <a:gd name="connsiteY225" fmla="*/ 3581082 h 6857999"/>
              <a:gd name="connsiteX226" fmla="*/ 2429606 w 10789097"/>
              <a:gd name="connsiteY226" fmla="*/ 3583305 h 6857999"/>
              <a:gd name="connsiteX227" fmla="*/ 2424022 w 10789097"/>
              <a:gd name="connsiteY227" fmla="*/ 3585210 h 6857999"/>
              <a:gd name="connsiteX228" fmla="*/ 2418439 w 10789097"/>
              <a:gd name="connsiteY228" fmla="*/ 3587750 h 6857999"/>
              <a:gd name="connsiteX229" fmla="*/ 2412855 w 10789097"/>
              <a:gd name="connsiteY229" fmla="*/ 3590290 h 6857999"/>
              <a:gd name="connsiteX230" fmla="*/ 2407620 w 10789097"/>
              <a:gd name="connsiteY230" fmla="*/ 3593465 h 6857999"/>
              <a:gd name="connsiteX231" fmla="*/ 2402385 w 10789097"/>
              <a:gd name="connsiteY231" fmla="*/ 3596640 h 6857999"/>
              <a:gd name="connsiteX232" fmla="*/ 2397151 w 10789097"/>
              <a:gd name="connsiteY232" fmla="*/ 3600450 h 6857999"/>
              <a:gd name="connsiteX233" fmla="*/ 2392265 w 10789097"/>
              <a:gd name="connsiteY233" fmla="*/ 3604260 h 6857999"/>
              <a:gd name="connsiteX234" fmla="*/ 2387379 w 10789097"/>
              <a:gd name="connsiteY234" fmla="*/ 3608070 h 6857999"/>
              <a:gd name="connsiteX235" fmla="*/ 2382842 w 10789097"/>
              <a:gd name="connsiteY235" fmla="*/ 3612515 h 6857999"/>
              <a:gd name="connsiteX236" fmla="*/ 2379003 w 10789097"/>
              <a:gd name="connsiteY236" fmla="*/ 3616325 h 6857999"/>
              <a:gd name="connsiteX237" fmla="*/ 2375863 w 10789097"/>
              <a:gd name="connsiteY237" fmla="*/ 3620135 h 6857999"/>
              <a:gd name="connsiteX238" fmla="*/ 2369581 w 10789097"/>
              <a:gd name="connsiteY238" fmla="*/ 3628390 h 6857999"/>
              <a:gd name="connsiteX239" fmla="*/ 2363997 w 10789097"/>
              <a:gd name="connsiteY239" fmla="*/ 3636327 h 6857999"/>
              <a:gd name="connsiteX240" fmla="*/ 2359461 w 10789097"/>
              <a:gd name="connsiteY240" fmla="*/ 3644900 h 6857999"/>
              <a:gd name="connsiteX241" fmla="*/ 2355273 w 10789097"/>
              <a:gd name="connsiteY241" fmla="*/ 3654107 h 6857999"/>
              <a:gd name="connsiteX242" fmla="*/ 2352132 w 10789097"/>
              <a:gd name="connsiteY242" fmla="*/ 3663315 h 6857999"/>
              <a:gd name="connsiteX243" fmla="*/ 2349689 w 10789097"/>
              <a:gd name="connsiteY243" fmla="*/ 3672522 h 6857999"/>
              <a:gd name="connsiteX244" fmla="*/ 2347944 w 10789097"/>
              <a:gd name="connsiteY244" fmla="*/ 3682047 h 6857999"/>
              <a:gd name="connsiteX245" fmla="*/ 2346897 w 10789097"/>
              <a:gd name="connsiteY245" fmla="*/ 3691572 h 6857999"/>
              <a:gd name="connsiteX246" fmla="*/ 2346548 w 10789097"/>
              <a:gd name="connsiteY246" fmla="*/ 3701097 h 6857999"/>
              <a:gd name="connsiteX247" fmla="*/ 2347246 w 10789097"/>
              <a:gd name="connsiteY247" fmla="*/ 3710622 h 6857999"/>
              <a:gd name="connsiteX248" fmla="*/ 2348293 w 10789097"/>
              <a:gd name="connsiteY248" fmla="*/ 3720465 h 6857999"/>
              <a:gd name="connsiteX249" fmla="*/ 2350387 w 10789097"/>
              <a:gd name="connsiteY249" fmla="*/ 3729672 h 6857999"/>
              <a:gd name="connsiteX250" fmla="*/ 2352830 w 10789097"/>
              <a:gd name="connsiteY250" fmla="*/ 3739197 h 6857999"/>
              <a:gd name="connsiteX251" fmla="*/ 2356320 w 10789097"/>
              <a:gd name="connsiteY251" fmla="*/ 3748405 h 6857999"/>
              <a:gd name="connsiteX252" fmla="*/ 2360507 w 10789097"/>
              <a:gd name="connsiteY252" fmla="*/ 3756977 h 6857999"/>
              <a:gd name="connsiteX253" fmla="*/ 2651907 w 10789097"/>
              <a:gd name="connsiteY253" fmla="*/ 4048442 h 6857999"/>
              <a:gd name="connsiteX254" fmla="*/ 2656444 w 10789097"/>
              <a:gd name="connsiteY254" fmla="*/ 4052887 h 6857999"/>
              <a:gd name="connsiteX255" fmla="*/ 2660631 w 10789097"/>
              <a:gd name="connsiteY255" fmla="*/ 4057967 h 6857999"/>
              <a:gd name="connsiteX256" fmla="*/ 2664470 w 10789097"/>
              <a:gd name="connsiteY256" fmla="*/ 4062730 h 6857999"/>
              <a:gd name="connsiteX257" fmla="*/ 2667960 w 10789097"/>
              <a:gd name="connsiteY257" fmla="*/ 4067810 h 6857999"/>
              <a:gd name="connsiteX258" fmla="*/ 2671101 w 10789097"/>
              <a:gd name="connsiteY258" fmla="*/ 4073207 h 6857999"/>
              <a:gd name="connsiteX259" fmla="*/ 2674242 w 10789097"/>
              <a:gd name="connsiteY259" fmla="*/ 4078287 h 6857999"/>
              <a:gd name="connsiteX260" fmla="*/ 2677033 w 10789097"/>
              <a:gd name="connsiteY260" fmla="*/ 4084002 h 6857999"/>
              <a:gd name="connsiteX261" fmla="*/ 2679476 w 10789097"/>
              <a:gd name="connsiteY261" fmla="*/ 4089717 h 6857999"/>
              <a:gd name="connsiteX262" fmla="*/ 2681570 w 10789097"/>
              <a:gd name="connsiteY262" fmla="*/ 4095115 h 6857999"/>
              <a:gd name="connsiteX263" fmla="*/ 2683315 w 10789097"/>
              <a:gd name="connsiteY263" fmla="*/ 4100830 h 6857999"/>
              <a:gd name="connsiteX264" fmla="*/ 2684711 w 10789097"/>
              <a:gd name="connsiteY264" fmla="*/ 4106862 h 6857999"/>
              <a:gd name="connsiteX265" fmla="*/ 2686107 w 10789097"/>
              <a:gd name="connsiteY265" fmla="*/ 4112577 h 6857999"/>
              <a:gd name="connsiteX266" fmla="*/ 2687154 w 10789097"/>
              <a:gd name="connsiteY266" fmla="*/ 4118610 h 6857999"/>
              <a:gd name="connsiteX267" fmla="*/ 2687852 w 10789097"/>
              <a:gd name="connsiteY267" fmla="*/ 4124642 h 6857999"/>
              <a:gd name="connsiteX268" fmla="*/ 2688201 w 10789097"/>
              <a:gd name="connsiteY268" fmla="*/ 4130357 h 6857999"/>
              <a:gd name="connsiteX269" fmla="*/ 2688550 w 10789097"/>
              <a:gd name="connsiteY269" fmla="*/ 4136390 h 6857999"/>
              <a:gd name="connsiteX270" fmla="*/ 2688201 w 10789097"/>
              <a:gd name="connsiteY270" fmla="*/ 4142422 h 6857999"/>
              <a:gd name="connsiteX271" fmla="*/ 2687852 w 10789097"/>
              <a:gd name="connsiteY271" fmla="*/ 4148137 h 6857999"/>
              <a:gd name="connsiteX272" fmla="*/ 2687154 w 10789097"/>
              <a:gd name="connsiteY272" fmla="*/ 4154170 h 6857999"/>
              <a:gd name="connsiteX273" fmla="*/ 2686107 w 10789097"/>
              <a:gd name="connsiteY273" fmla="*/ 4160202 h 6857999"/>
              <a:gd name="connsiteX274" fmla="*/ 2684711 w 10789097"/>
              <a:gd name="connsiteY274" fmla="*/ 4165917 h 6857999"/>
              <a:gd name="connsiteX275" fmla="*/ 2683315 w 10789097"/>
              <a:gd name="connsiteY275" fmla="*/ 4171632 h 6857999"/>
              <a:gd name="connsiteX276" fmla="*/ 2681570 w 10789097"/>
              <a:gd name="connsiteY276" fmla="*/ 4177665 h 6857999"/>
              <a:gd name="connsiteX277" fmla="*/ 2679476 w 10789097"/>
              <a:gd name="connsiteY277" fmla="*/ 4183062 h 6857999"/>
              <a:gd name="connsiteX278" fmla="*/ 2677033 w 10789097"/>
              <a:gd name="connsiteY278" fmla="*/ 4188777 h 6857999"/>
              <a:gd name="connsiteX279" fmla="*/ 2674242 w 10789097"/>
              <a:gd name="connsiteY279" fmla="*/ 4194175 h 6857999"/>
              <a:gd name="connsiteX280" fmla="*/ 2671101 w 10789097"/>
              <a:gd name="connsiteY280" fmla="*/ 4199572 h 6857999"/>
              <a:gd name="connsiteX281" fmla="*/ 2667960 w 10789097"/>
              <a:gd name="connsiteY281" fmla="*/ 4204652 h 6857999"/>
              <a:gd name="connsiteX282" fmla="*/ 2664470 w 10789097"/>
              <a:gd name="connsiteY282" fmla="*/ 4210050 h 6857999"/>
              <a:gd name="connsiteX283" fmla="*/ 2660631 w 10789097"/>
              <a:gd name="connsiteY283" fmla="*/ 4214812 h 6857999"/>
              <a:gd name="connsiteX284" fmla="*/ 2656444 w 10789097"/>
              <a:gd name="connsiteY284" fmla="*/ 4219892 h 6857999"/>
              <a:gd name="connsiteX285" fmla="*/ 2651907 w 10789097"/>
              <a:gd name="connsiteY285" fmla="*/ 4224337 h 6857999"/>
              <a:gd name="connsiteX286" fmla="*/ 2647370 w 10789097"/>
              <a:gd name="connsiteY286" fmla="*/ 4228782 h 6857999"/>
              <a:gd name="connsiteX287" fmla="*/ 2642484 w 10789097"/>
              <a:gd name="connsiteY287" fmla="*/ 4232592 h 6857999"/>
              <a:gd name="connsiteX288" fmla="*/ 2637599 w 10789097"/>
              <a:gd name="connsiteY288" fmla="*/ 4236402 h 6857999"/>
              <a:gd name="connsiteX289" fmla="*/ 2632713 w 10789097"/>
              <a:gd name="connsiteY289" fmla="*/ 4239895 h 6857999"/>
              <a:gd name="connsiteX290" fmla="*/ 2627478 w 10789097"/>
              <a:gd name="connsiteY290" fmla="*/ 4243387 h 6857999"/>
              <a:gd name="connsiteX291" fmla="*/ 2622243 w 10789097"/>
              <a:gd name="connsiteY291" fmla="*/ 4246245 h 6857999"/>
              <a:gd name="connsiteX292" fmla="*/ 2616660 w 10789097"/>
              <a:gd name="connsiteY292" fmla="*/ 4249102 h 6857999"/>
              <a:gd name="connsiteX293" fmla="*/ 2611425 w 10789097"/>
              <a:gd name="connsiteY293" fmla="*/ 4251642 h 6857999"/>
              <a:gd name="connsiteX294" fmla="*/ 2605841 w 10789097"/>
              <a:gd name="connsiteY294" fmla="*/ 4253547 h 6857999"/>
              <a:gd name="connsiteX295" fmla="*/ 2599909 w 10789097"/>
              <a:gd name="connsiteY295" fmla="*/ 4255452 h 6857999"/>
              <a:gd name="connsiteX296" fmla="*/ 2594325 w 10789097"/>
              <a:gd name="connsiteY296" fmla="*/ 4257040 h 6857999"/>
              <a:gd name="connsiteX297" fmla="*/ 2588392 w 10789097"/>
              <a:gd name="connsiteY297" fmla="*/ 4258627 h 6857999"/>
              <a:gd name="connsiteX298" fmla="*/ 2582809 w 10789097"/>
              <a:gd name="connsiteY298" fmla="*/ 4259262 h 6857999"/>
              <a:gd name="connsiteX299" fmla="*/ 2576876 w 10789097"/>
              <a:gd name="connsiteY299" fmla="*/ 4260215 h 6857999"/>
              <a:gd name="connsiteX300" fmla="*/ 2570943 w 10789097"/>
              <a:gd name="connsiteY300" fmla="*/ 4260532 h 6857999"/>
              <a:gd name="connsiteX301" fmla="*/ 2565011 w 10789097"/>
              <a:gd name="connsiteY301" fmla="*/ 4260532 h 6857999"/>
              <a:gd name="connsiteX302" fmla="*/ 5169805 w 10789097"/>
              <a:gd name="connsiteY302" fmla="*/ 6857999 h 6857999"/>
              <a:gd name="connsiteX303" fmla="*/ 10789097 w 10789097"/>
              <a:gd name="connsiteY303" fmla="*/ 6857999 h 6857999"/>
              <a:gd name="connsiteX0" fmla="*/ 10789097 w 10789097"/>
              <a:gd name="connsiteY0" fmla="*/ 0 h 6857999"/>
              <a:gd name="connsiteX1" fmla="*/ 708177 w 10789097"/>
              <a:gd name="connsiteY1" fmla="*/ 0 h 6857999"/>
              <a:gd name="connsiteX2" fmla="*/ 329787 w 10789097"/>
              <a:gd name="connsiteY2" fmla="*/ 0 h 6857999"/>
              <a:gd name="connsiteX3" fmla="*/ 240539 w 10789097"/>
              <a:gd name="connsiteY3" fmla="*/ 0 h 6857999"/>
              <a:gd name="connsiteX4" fmla="*/ 0 w 10789097"/>
              <a:gd name="connsiteY4" fmla="*/ 0 h 6857999"/>
              <a:gd name="connsiteX5" fmla="*/ 34549 w 10789097"/>
              <a:gd name="connsiteY5" fmla="*/ 34608 h 6857999"/>
              <a:gd name="connsiteX6" fmla="*/ 2681221 w 10789097"/>
              <a:gd name="connsiteY6" fmla="*/ 2678112 h 6857999"/>
              <a:gd name="connsiteX7" fmla="*/ 2685758 w 10789097"/>
              <a:gd name="connsiteY7" fmla="*/ 2682875 h 6857999"/>
              <a:gd name="connsiteX8" fmla="*/ 2689946 w 10789097"/>
              <a:gd name="connsiteY8" fmla="*/ 2687320 h 6857999"/>
              <a:gd name="connsiteX9" fmla="*/ 2693785 w 10789097"/>
              <a:gd name="connsiteY9" fmla="*/ 2692717 h 6857999"/>
              <a:gd name="connsiteX10" fmla="*/ 2697274 w 10789097"/>
              <a:gd name="connsiteY10" fmla="*/ 2697480 h 6857999"/>
              <a:gd name="connsiteX11" fmla="*/ 2700415 w 10789097"/>
              <a:gd name="connsiteY11" fmla="*/ 2702877 h 6857999"/>
              <a:gd name="connsiteX12" fmla="*/ 2703556 w 10789097"/>
              <a:gd name="connsiteY12" fmla="*/ 2708275 h 6857999"/>
              <a:gd name="connsiteX13" fmla="*/ 2706348 w 10789097"/>
              <a:gd name="connsiteY13" fmla="*/ 2713672 h 6857999"/>
              <a:gd name="connsiteX14" fmla="*/ 2708791 w 10789097"/>
              <a:gd name="connsiteY14" fmla="*/ 2719070 h 6857999"/>
              <a:gd name="connsiteX15" fmla="*/ 2710885 w 10789097"/>
              <a:gd name="connsiteY15" fmla="*/ 2725102 h 6857999"/>
              <a:gd name="connsiteX16" fmla="*/ 2712630 w 10789097"/>
              <a:gd name="connsiteY16" fmla="*/ 2730817 h 6857999"/>
              <a:gd name="connsiteX17" fmla="*/ 2714025 w 10789097"/>
              <a:gd name="connsiteY17" fmla="*/ 2736532 h 6857999"/>
              <a:gd name="connsiteX18" fmla="*/ 2715421 w 10789097"/>
              <a:gd name="connsiteY18" fmla="*/ 2742565 h 6857999"/>
              <a:gd name="connsiteX19" fmla="*/ 2716468 w 10789097"/>
              <a:gd name="connsiteY19" fmla="*/ 2748280 h 6857999"/>
              <a:gd name="connsiteX20" fmla="*/ 2717166 w 10789097"/>
              <a:gd name="connsiteY20" fmla="*/ 2753995 h 6857999"/>
              <a:gd name="connsiteX21" fmla="*/ 2717515 w 10789097"/>
              <a:gd name="connsiteY21" fmla="*/ 2760345 h 6857999"/>
              <a:gd name="connsiteX22" fmla="*/ 2717864 w 10789097"/>
              <a:gd name="connsiteY22" fmla="*/ 2766377 h 6857999"/>
              <a:gd name="connsiteX23" fmla="*/ 2717515 w 10789097"/>
              <a:gd name="connsiteY23" fmla="*/ 2772092 h 6857999"/>
              <a:gd name="connsiteX24" fmla="*/ 2717166 w 10789097"/>
              <a:gd name="connsiteY24" fmla="*/ 2778125 h 6857999"/>
              <a:gd name="connsiteX25" fmla="*/ 2716468 w 10789097"/>
              <a:gd name="connsiteY25" fmla="*/ 2784157 h 6857999"/>
              <a:gd name="connsiteX26" fmla="*/ 2715421 w 10789097"/>
              <a:gd name="connsiteY26" fmla="*/ 2790190 h 6857999"/>
              <a:gd name="connsiteX27" fmla="*/ 2714025 w 10789097"/>
              <a:gd name="connsiteY27" fmla="*/ 2795905 h 6857999"/>
              <a:gd name="connsiteX28" fmla="*/ 2712630 w 10789097"/>
              <a:gd name="connsiteY28" fmla="*/ 2801620 h 6857999"/>
              <a:gd name="connsiteX29" fmla="*/ 2710885 w 10789097"/>
              <a:gd name="connsiteY29" fmla="*/ 2807335 h 6857999"/>
              <a:gd name="connsiteX30" fmla="*/ 2708791 w 10789097"/>
              <a:gd name="connsiteY30" fmla="*/ 2813050 h 6857999"/>
              <a:gd name="connsiteX31" fmla="*/ 2706348 w 10789097"/>
              <a:gd name="connsiteY31" fmla="*/ 2818765 h 6857999"/>
              <a:gd name="connsiteX32" fmla="*/ 2703556 w 10789097"/>
              <a:gd name="connsiteY32" fmla="*/ 2824162 h 6857999"/>
              <a:gd name="connsiteX33" fmla="*/ 2700415 w 10789097"/>
              <a:gd name="connsiteY33" fmla="*/ 2829560 h 6857999"/>
              <a:gd name="connsiteX34" fmla="*/ 2697274 w 10789097"/>
              <a:gd name="connsiteY34" fmla="*/ 2834640 h 6857999"/>
              <a:gd name="connsiteX35" fmla="*/ 2693785 w 10789097"/>
              <a:gd name="connsiteY35" fmla="*/ 2840037 h 6857999"/>
              <a:gd name="connsiteX36" fmla="*/ 2689946 w 10789097"/>
              <a:gd name="connsiteY36" fmla="*/ 2844800 h 6857999"/>
              <a:gd name="connsiteX37" fmla="*/ 2685758 w 10789097"/>
              <a:gd name="connsiteY37" fmla="*/ 2849562 h 6857999"/>
              <a:gd name="connsiteX38" fmla="*/ 2681221 w 10789097"/>
              <a:gd name="connsiteY38" fmla="*/ 2854325 h 6857999"/>
              <a:gd name="connsiteX39" fmla="*/ 2676684 w 10789097"/>
              <a:gd name="connsiteY39" fmla="*/ 2858770 h 6857999"/>
              <a:gd name="connsiteX40" fmla="*/ 2671799 w 10789097"/>
              <a:gd name="connsiteY40" fmla="*/ 2862580 h 6857999"/>
              <a:gd name="connsiteX41" fmla="*/ 2666913 w 10789097"/>
              <a:gd name="connsiteY41" fmla="*/ 2866390 h 6857999"/>
              <a:gd name="connsiteX42" fmla="*/ 2661678 w 10789097"/>
              <a:gd name="connsiteY42" fmla="*/ 2870200 h 6857999"/>
              <a:gd name="connsiteX43" fmla="*/ 2656444 w 10789097"/>
              <a:gd name="connsiteY43" fmla="*/ 2873375 h 6857999"/>
              <a:gd name="connsiteX44" fmla="*/ 2651209 w 10789097"/>
              <a:gd name="connsiteY44" fmla="*/ 2876550 h 6857999"/>
              <a:gd name="connsiteX45" fmla="*/ 2645625 w 10789097"/>
              <a:gd name="connsiteY45" fmla="*/ 2879090 h 6857999"/>
              <a:gd name="connsiteX46" fmla="*/ 2640041 w 10789097"/>
              <a:gd name="connsiteY46" fmla="*/ 2881312 h 6857999"/>
              <a:gd name="connsiteX47" fmla="*/ 2634458 w 10789097"/>
              <a:gd name="connsiteY47" fmla="*/ 2883535 h 6857999"/>
              <a:gd name="connsiteX48" fmla="*/ 2628525 w 10789097"/>
              <a:gd name="connsiteY48" fmla="*/ 2885757 h 6857999"/>
              <a:gd name="connsiteX49" fmla="*/ 2622941 w 10789097"/>
              <a:gd name="connsiteY49" fmla="*/ 2887027 h 6857999"/>
              <a:gd name="connsiteX50" fmla="*/ 2617009 w 10789097"/>
              <a:gd name="connsiteY50" fmla="*/ 2888297 h 6857999"/>
              <a:gd name="connsiteX51" fmla="*/ 2611076 w 10789097"/>
              <a:gd name="connsiteY51" fmla="*/ 2889567 h 6857999"/>
              <a:gd name="connsiteX52" fmla="*/ 2605143 w 10789097"/>
              <a:gd name="connsiteY52" fmla="*/ 2890202 h 6857999"/>
              <a:gd name="connsiteX53" fmla="*/ 2599211 w 10789097"/>
              <a:gd name="connsiteY53" fmla="*/ 2890520 h 6857999"/>
              <a:gd name="connsiteX54" fmla="*/ 2593278 w 10789097"/>
              <a:gd name="connsiteY54" fmla="*/ 2890520 h 6857999"/>
              <a:gd name="connsiteX55" fmla="*/ 2587345 w 10789097"/>
              <a:gd name="connsiteY55" fmla="*/ 2890520 h 6857999"/>
              <a:gd name="connsiteX56" fmla="*/ 2581413 w 10789097"/>
              <a:gd name="connsiteY56" fmla="*/ 2890202 h 6857999"/>
              <a:gd name="connsiteX57" fmla="*/ 2575480 w 10789097"/>
              <a:gd name="connsiteY57" fmla="*/ 2889567 h 6857999"/>
              <a:gd name="connsiteX58" fmla="*/ 2569547 w 10789097"/>
              <a:gd name="connsiteY58" fmla="*/ 2888297 h 6857999"/>
              <a:gd name="connsiteX59" fmla="*/ 2563615 w 10789097"/>
              <a:gd name="connsiteY59" fmla="*/ 2887027 h 6857999"/>
              <a:gd name="connsiteX60" fmla="*/ 2557682 w 10789097"/>
              <a:gd name="connsiteY60" fmla="*/ 2885757 h 6857999"/>
              <a:gd name="connsiteX61" fmla="*/ 2552098 w 10789097"/>
              <a:gd name="connsiteY61" fmla="*/ 2883535 h 6857999"/>
              <a:gd name="connsiteX62" fmla="*/ 2546515 w 10789097"/>
              <a:gd name="connsiteY62" fmla="*/ 2881312 h 6857999"/>
              <a:gd name="connsiteX63" fmla="*/ 2540931 w 10789097"/>
              <a:gd name="connsiteY63" fmla="*/ 2879090 h 6857999"/>
              <a:gd name="connsiteX64" fmla="*/ 2535347 w 10789097"/>
              <a:gd name="connsiteY64" fmla="*/ 2876550 h 6857999"/>
              <a:gd name="connsiteX65" fmla="*/ 2530112 w 10789097"/>
              <a:gd name="connsiteY65" fmla="*/ 2873375 h 6857999"/>
              <a:gd name="connsiteX66" fmla="*/ 2524878 w 10789097"/>
              <a:gd name="connsiteY66" fmla="*/ 2870200 h 6857999"/>
              <a:gd name="connsiteX67" fmla="*/ 2519643 w 10789097"/>
              <a:gd name="connsiteY67" fmla="*/ 2866390 h 6857999"/>
              <a:gd name="connsiteX68" fmla="*/ 2514757 w 10789097"/>
              <a:gd name="connsiteY68" fmla="*/ 2862580 h 6857999"/>
              <a:gd name="connsiteX69" fmla="*/ 2509872 w 10789097"/>
              <a:gd name="connsiteY69" fmla="*/ 2858770 h 6857999"/>
              <a:gd name="connsiteX70" fmla="*/ 2505335 w 10789097"/>
              <a:gd name="connsiteY70" fmla="*/ 2854325 h 6857999"/>
              <a:gd name="connsiteX71" fmla="*/ 2390869 w 10789097"/>
              <a:gd name="connsiteY71" fmla="*/ 2740025 h 6857999"/>
              <a:gd name="connsiteX72" fmla="*/ 2385983 w 10789097"/>
              <a:gd name="connsiteY72" fmla="*/ 2735580 h 6857999"/>
              <a:gd name="connsiteX73" fmla="*/ 2381097 w 10789097"/>
              <a:gd name="connsiteY73" fmla="*/ 2731452 h 6857999"/>
              <a:gd name="connsiteX74" fmla="*/ 2376212 w 10789097"/>
              <a:gd name="connsiteY74" fmla="*/ 2727642 h 6857999"/>
              <a:gd name="connsiteX75" fmla="*/ 2371326 w 10789097"/>
              <a:gd name="connsiteY75" fmla="*/ 2724150 h 6857999"/>
              <a:gd name="connsiteX76" fmla="*/ 2366091 w 10789097"/>
              <a:gd name="connsiteY76" fmla="*/ 2720975 h 6857999"/>
              <a:gd name="connsiteX77" fmla="*/ 2360507 w 10789097"/>
              <a:gd name="connsiteY77" fmla="*/ 2717800 h 6857999"/>
              <a:gd name="connsiteX78" fmla="*/ 2355273 w 10789097"/>
              <a:gd name="connsiteY78" fmla="*/ 2715260 h 6857999"/>
              <a:gd name="connsiteX79" fmla="*/ 2349689 w 10789097"/>
              <a:gd name="connsiteY79" fmla="*/ 2713037 h 6857999"/>
              <a:gd name="connsiteX80" fmla="*/ 2343757 w 10789097"/>
              <a:gd name="connsiteY80" fmla="*/ 2710497 h 6857999"/>
              <a:gd name="connsiteX81" fmla="*/ 2338173 w 10789097"/>
              <a:gd name="connsiteY81" fmla="*/ 2708592 h 6857999"/>
              <a:gd name="connsiteX82" fmla="*/ 2332240 w 10789097"/>
              <a:gd name="connsiteY82" fmla="*/ 2707322 h 6857999"/>
              <a:gd name="connsiteX83" fmla="*/ 2326307 w 10789097"/>
              <a:gd name="connsiteY83" fmla="*/ 2706052 h 6857999"/>
              <a:gd name="connsiteX84" fmla="*/ 2320724 w 10789097"/>
              <a:gd name="connsiteY84" fmla="*/ 2704782 h 6857999"/>
              <a:gd name="connsiteX85" fmla="*/ 2314442 w 10789097"/>
              <a:gd name="connsiteY85" fmla="*/ 2704147 h 6857999"/>
              <a:gd name="connsiteX86" fmla="*/ 2308509 w 10789097"/>
              <a:gd name="connsiteY86" fmla="*/ 2703830 h 6857999"/>
              <a:gd name="connsiteX87" fmla="*/ 2302577 w 10789097"/>
              <a:gd name="connsiteY87" fmla="*/ 2703512 h 6857999"/>
              <a:gd name="connsiteX88" fmla="*/ 2296644 w 10789097"/>
              <a:gd name="connsiteY88" fmla="*/ 2703830 h 6857999"/>
              <a:gd name="connsiteX89" fmla="*/ 2290711 w 10789097"/>
              <a:gd name="connsiteY89" fmla="*/ 2704147 h 6857999"/>
              <a:gd name="connsiteX90" fmla="*/ 2284779 w 10789097"/>
              <a:gd name="connsiteY90" fmla="*/ 2704782 h 6857999"/>
              <a:gd name="connsiteX91" fmla="*/ 2278846 w 10789097"/>
              <a:gd name="connsiteY91" fmla="*/ 2706052 h 6857999"/>
              <a:gd name="connsiteX92" fmla="*/ 2272913 w 10789097"/>
              <a:gd name="connsiteY92" fmla="*/ 2707322 h 6857999"/>
              <a:gd name="connsiteX93" fmla="*/ 2267330 w 10789097"/>
              <a:gd name="connsiteY93" fmla="*/ 2708592 h 6857999"/>
              <a:gd name="connsiteX94" fmla="*/ 2261397 w 10789097"/>
              <a:gd name="connsiteY94" fmla="*/ 2710497 h 6857999"/>
              <a:gd name="connsiteX95" fmla="*/ 2255813 w 10789097"/>
              <a:gd name="connsiteY95" fmla="*/ 2713037 h 6857999"/>
              <a:gd name="connsiteX96" fmla="*/ 2250229 w 10789097"/>
              <a:gd name="connsiteY96" fmla="*/ 2715260 h 6857999"/>
              <a:gd name="connsiteX97" fmla="*/ 2244646 w 10789097"/>
              <a:gd name="connsiteY97" fmla="*/ 2717800 h 6857999"/>
              <a:gd name="connsiteX98" fmla="*/ 2239411 w 10789097"/>
              <a:gd name="connsiteY98" fmla="*/ 2720975 h 6857999"/>
              <a:gd name="connsiteX99" fmla="*/ 2234177 w 10789097"/>
              <a:gd name="connsiteY99" fmla="*/ 2724150 h 6857999"/>
              <a:gd name="connsiteX100" fmla="*/ 2228942 w 10789097"/>
              <a:gd name="connsiteY100" fmla="*/ 2727642 h 6857999"/>
              <a:gd name="connsiteX101" fmla="*/ 2224056 w 10789097"/>
              <a:gd name="connsiteY101" fmla="*/ 2731452 h 6857999"/>
              <a:gd name="connsiteX102" fmla="*/ 2219170 w 10789097"/>
              <a:gd name="connsiteY102" fmla="*/ 2735580 h 6857999"/>
              <a:gd name="connsiteX103" fmla="*/ 2214633 w 10789097"/>
              <a:gd name="connsiteY103" fmla="*/ 2740025 h 6857999"/>
              <a:gd name="connsiteX104" fmla="*/ 2210097 w 10789097"/>
              <a:gd name="connsiteY104" fmla="*/ 2744787 h 6857999"/>
              <a:gd name="connsiteX105" fmla="*/ 2206258 w 10789097"/>
              <a:gd name="connsiteY105" fmla="*/ 2749550 h 6857999"/>
              <a:gd name="connsiteX106" fmla="*/ 2202070 w 10789097"/>
              <a:gd name="connsiteY106" fmla="*/ 2754312 h 6857999"/>
              <a:gd name="connsiteX107" fmla="*/ 2198581 w 10789097"/>
              <a:gd name="connsiteY107" fmla="*/ 2759710 h 6857999"/>
              <a:gd name="connsiteX108" fmla="*/ 2195091 w 10789097"/>
              <a:gd name="connsiteY108" fmla="*/ 2764790 h 6857999"/>
              <a:gd name="connsiteX109" fmla="*/ 2191950 w 10789097"/>
              <a:gd name="connsiteY109" fmla="*/ 2770187 h 6857999"/>
              <a:gd name="connsiteX110" fmla="*/ 2189507 w 10789097"/>
              <a:gd name="connsiteY110" fmla="*/ 2775585 h 6857999"/>
              <a:gd name="connsiteX111" fmla="*/ 2187064 w 10789097"/>
              <a:gd name="connsiteY111" fmla="*/ 2781300 h 6857999"/>
              <a:gd name="connsiteX112" fmla="*/ 2184621 w 10789097"/>
              <a:gd name="connsiteY112" fmla="*/ 2787015 h 6857999"/>
              <a:gd name="connsiteX113" fmla="*/ 2182876 w 10789097"/>
              <a:gd name="connsiteY113" fmla="*/ 2792730 h 6857999"/>
              <a:gd name="connsiteX114" fmla="*/ 2181480 w 10789097"/>
              <a:gd name="connsiteY114" fmla="*/ 2798445 h 6857999"/>
              <a:gd name="connsiteX115" fmla="*/ 2180085 w 10789097"/>
              <a:gd name="connsiteY115" fmla="*/ 2804477 h 6857999"/>
              <a:gd name="connsiteX116" fmla="*/ 2179037 w 10789097"/>
              <a:gd name="connsiteY116" fmla="*/ 2810192 h 6857999"/>
              <a:gd name="connsiteX117" fmla="*/ 2178339 w 10789097"/>
              <a:gd name="connsiteY117" fmla="*/ 2816225 h 6857999"/>
              <a:gd name="connsiteX118" fmla="*/ 2177991 w 10789097"/>
              <a:gd name="connsiteY118" fmla="*/ 2822257 h 6857999"/>
              <a:gd name="connsiteX119" fmla="*/ 2177641 w 10789097"/>
              <a:gd name="connsiteY119" fmla="*/ 2827972 h 6857999"/>
              <a:gd name="connsiteX120" fmla="*/ 2177991 w 10789097"/>
              <a:gd name="connsiteY120" fmla="*/ 2834005 h 6857999"/>
              <a:gd name="connsiteX121" fmla="*/ 2178339 w 10789097"/>
              <a:gd name="connsiteY121" fmla="*/ 2840037 h 6857999"/>
              <a:gd name="connsiteX122" fmla="*/ 2179037 w 10789097"/>
              <a:gd name="connsiteY122" fmla="*/ 2845752 h 6857999"/>
              <a:gd name="connsiteX123" fmla="*/ 2180085 w 10789097"/>
              <a:gd name="connsiteY123" fmla="*/ 2851785 h 6857999"/>
              <a:gd name="connsiteX124" fmla="*/ 2181480 w 10789097"/>
              <a:gd name="connsiteY124" fmla="*/ 2857817 h 6857999"/>
              <a:gd name="connsiteX125" fmla="*/ 2182876 w 10789097"/>
              <a:gd name="connsiteY125" fmla="*/ 2863532 h 6857999"/>
              <a:gd name="connsiteX126" fmla="*/ 2184621 w 10789097"/>
              <a:gd name="connsiteY126" fmla="*/ 2869247 h 6857999"/>
              <a:gd name="connsiteX127" fmla="*/ 2187064 w 10789097"/>
              <a:gd name="connsiteY127" fmla="*/ 2875280 h 6857999"/>
              <a:gd name="connsiteX128" fmla="*/ 2189507 w 10789097"/>
              <a:gd name="connsiteY128" fmla="*/ 2880677 h 6857999"/>
              <a:gd name="connsiteX129" fmla="*/ 2191950 w 10789097"/>
              <a:gd name="connsiteY129" fmla="*/ 2886075 h 6857999"/>
              <a:gd name="connsiteX130" fmla="*/ 2195091 w 10789097"/>
              <a:gd name="connsiteY130" fmla="*/ 2891472 h 6857999"/>
              <a:gd name="connsiteX131" fmla="*/ 2198581 w 10789097"/>
              <a:gd name="connsiteY131" fmla="*/ 2896870 h 6857999"/>
              <a:gd name="connsiteX132" fmla="*/ 2202070 w 10789097"/>
              <a:gd name="connsiteY132" fmla="*/ 2901632 h 6857999"/>
              <a:gd name="connsiteX133" fmla="*/ 2206258 w 10789097"/>
              <a:gd name="connsiteY133" fmla="*/ 2906712 h 6857999"/>
              <a:gd name="connsiteX134" fmla="*/ 2210097 w 10789097"/>
              <a:gd name="connsiteY134" fmla="*/ 2911475 h 6857999"/>
              <a:gd name="connsiteX135" fmla="*/ 2214633 w 10789097"/>
              <a:gd name="connsiteY135" fmla="*/ 2916237 h 6857999"/>
              <a:gd name="connsiteX136" fmla="*/ 2938420 w 10789097"/>
              <a:gd name="connsiteY136" fmla="*/ 3639502 h 6857999"/>
              <a:gd name="connsiteX137" fmla="*/ 2942957 w 10789097"/>
              <a:gd name="connsiteY137" fmla="*/ 3643947 h 6857999"/>
              <a:gd name="connsiteX138" fmla="*/ 2947145 w 10789097"/>
              <a:gd name="connsiteY138" fmla="*/ 3648710 h 6857999"/>
              <a:gd name="connsiteX139" fmla="*/ 2950984 w 10789097"/>
              <a:gd name="connsiteY139" fmla="*/ 3653790 h 6857999"/>
              <a:gd name="connsiteX140" fmla="*/ 2954473 w 10789097"/>
              <a:gd name="connsiteY140" fmla="*/ 3658870 h 6857999"/>
              <a:gd name="connsiteX141" fmla="*/ 2957614 w 10789097"/>
              <a:gd name="connsiteY141" fmla="*/ 3664267 h 6857999"/>
              <a:gd name="connsiteX142" fmla="*/ 2960755 w 10789097"/>
              <a:gd name="connsiteY142" fmla="*/ 3669347 h 6857999"/>
              <a:gd name="connsiteX143" fmla="*/ 2963547 w 10789097"/>
              <a:gd name="connsiteY143" fmla="*/ 3675062 h 6857999"/>
              <a:gd name="connsiteX144" fmla="*/ 2965641 w 10789097"/>
              <a:gd name="connsiteY144" fmla="*/ 3680460 h 6857999"/>
              <a:gd name="connsiteX145" fmla="*/ 2968084 w 10789097"/>
              <a:gd name="connsiteY145" fmla="*/ 3686175 h 6857999"/>
              <a:gd name="connsiteX146" fmla="*/ 2969829 w 10789097"/>
              <a:gd name="connsiteY146" fmla="*/ 3691890 h 6857999"/>
              <a:gd name="connsiteX147" fmla="*/ 2971224 w 10789097"/>
              <a:gd name="connsiteY147" fmla="*/ 3697605 h 6857999"/>
              <a:gd name="connsiteX148" fmla="*/ 2972620 w 10789097"/>
              <a:gd name="connsiteY148" fmla="*/ 3703637 h 6857999"/>
              <a:gd name="connsiteX149" fmla="*/ 2973667 w 10789097"/>
              <a:gd name="connsiteY149" fmla="*/ 3709670 h 6857999"/>
              <a:gd name="connsiteX150" fmla="*/ 2974365 w 10789097"/>
              <a:gd name="connsiteY150" fmla="*/ 3715385 h 6857999"/>
              <a:gd name="connsiteX151" fmla="*/ 2974714 w 10789097"/>
              <a:gd name="connsiteY151" fmla="*/ 3721417 h 6857999"/>
              <a:gd name="connsiteX152" fmla="*/ 2975063 w 10789097"/>
              <a:gd name="connsiteY152" fmla="*/ 3727450 h 6857999"/>
              <a:gd name="connsiteX153" fmla="*/ 2974714 w 10789097"/>
              <a:gd name="connsiteY153" fmla="*/ 3733165 h 6857999"/>
              <a:gd name="connsiteX154" fmla="*/ 2974365 w 10789097"/>
              <a:gd name="connsiteY154" fmla="*/ 3739197 h 6857999"/>
              <a:gd name="connsiteX155" fmla="*/ 2973667 w 10789097"/>
              <a:gd name="connsiteY155" fmla="*/ 3745230 h 6857999"/>
              <a:gd name="connsiteX156" fmla="*/ 2972620 w 10789097"/>
              <a:gd name="connsiteY156" fmla="*/ 3750945 h 6857999"/>
              <a:gd name="connsiteX157" fmla="*/ 2971224 w 10789097"/>
              <a:gd name="connsiteY157" fmla="*/ 3756977 h 6857999"/>
              <a:gd name="connsiteX158" fmla="*/ 2969829 w 10789097"/>
              <a:gd name="connsiteY158" fmla="*/ 3763010 h 6857999"/>
              <a:gd name="connsiteX159" fmla="*/ 2968084 w 10789097"/>
              <a:gd name="connsiteY159" fmla="*/ 3768407 h 6857999"/>
              <a:gd name="connsiteX160" fmla="*/ 2965641 w 10789097"/>
              <a:gd name="connsiteY160" fmla="*/ 3774122 h 6857999"/>
              <a:gd name="connsiteX161" fmla="*/ 2963547 w 10789097"/>
              <a:gd name="connsiteY161" fmla="*/ 3779837 h 6857999"/>
              <a:gd name="connsiteX162" fmla="*/ 2960755 w 10789097"/>
              <a:gd name="connsiteY162" fmla="*/ 3785235 h 6857999"/>
              <a:gd name="connsiteX163" fmla="*/ 2957614 w 10789097"/>
              <a:gd name="connsiteY163" fmla="*/ 3790632 h 6857999"/>
              <a:gd name="connsiteX164" fmla="*/ 2954473 w 10789097"/>
              <a:gd name="connsiteY164" fmla="*/ 3795712 h 6857999"/>
              <a:gd name="connsiteX165" fmla="*/ 2950984 w 10789097"/>
              <a:gd name="connsiteY165" fmla="*/ 3801110 h 6857999"/>
              <a:gd name="connsiteX166" fmla="*/ 2947145 w 10789097"/>
              <a:gd name="connsiteY166" fmla="*/ 3805872 h 6857999"/>
              <a:gd name="connsiteX167" fmla="*/ 2942957 w 10789097"/>
              <a:gd name="connsiteY167" fmla="*/ 3810635 h 6857999"/>
              <a:gd name="connsiteX168" fmla="*/ 2938420 w 10789097"/>
              <a:gd name="connsiteY168" fmla="*/ 3815397 h 6857999"/>
              <a:gd name="connsiteX169" fmla="*/ 2933884 w 10789097"/>
              <a:gd name="connsiteY169" fmla="*/ 3819842 h 6857999"/>
              <a:gd name="connsiteX170" fmla="*/ 2928998 w 10789097"/>
              <a:gd name="connsiteY170" fmla="*/ 3823970 h 6857999"/>
              <a:gd name="connsiteX171" fmla="*/ 2924112 w 10789097"/>
              <a:gd name="connsiteY171" fmla="*/ 3827780 h 6857999"/>
              <a:gd name="connsiteX172" fmla="*/ 2918877 w 10789097"/>
              <a:gd name="connsiteY172" fmla="*/ 3831272 h 6857999"/>
              <a:gd name="connsiteX173" fmla="*/ 2913643 w 10789097"/>
              <a:gd name="connsiteY173" fmla="*/ 3834447 h 6857999"/>
              <a:gd name="connsiteX174" fmla="*/ 2908408 w 10789097"/>
              <a:gd name="connsiteY174" fmla="*/ 3837622 h 6857999"/>
              <a:gd name="connsiteX175" fmla="*/ 2902824 w 10789097"/>
              <a:gd name="connsiteY175" fmla="*/ 3840480 h 6857999"/>
              <a:gd name="connsiteX176" fmla="*/ 2897240 w 10789097"/>
              <a:gd name="connsiteY176" fmla="*/ 3843020 h 6857999"/>
              <a:gd name="connsiteX177" fmla="*/ 2891657 w 10789097"/>
              <a:gd name="connsiteY177" fmla="*/ 3844925 h 6857999"/>
              <a:gd name="connsiteX178" fmla="*/ 2885724 w 10789097"/>
              <a:gd name="connsiteY178" fmla="*/ 3846830 h 6857999"/>
              <a:gd name="connsiteX179" fmla="*/ 2880140 w 10789097"/>
              <a:gd name="connsiteY179" fmla="*/ 3848417 h 6857999"/>
              <a:gd name="connsiteX180" fmla="*/ 2874208 w 10789097"/>
              <a:gd name="connsiteY180" fmla="*/ 3849370 h 6857999"/>
              <a:gd name="connsiteX181" fmla="*/ 2868275 w 10789097"/>
              <a:gd name="connsiteY181" fmla="*/ 3850640 h 6857999"/>
              <a:gd name="connsiteX182" fmla="*/ 2862342 w 10789097"/>
              <a:gd name="connsiteY182" fmla="*/ 3851275 h 6857999"/>
              <a:gd name="connsiteX183" fmla="*/ 2856410 w 10789097"/>
              <a:gd name="connsiteY183" fmla="*/ 3851592 h 6857999"/>
              <a:gd name="connsiteX184" fmla="*/ 2850477 w 10789097"/>
              <a:gd name="connsiteY184" fmla="*/ 3851910 h 6857999"/>
              <a:gd name="connsiteX185" fmla="*/ 2844544 w 10789097"/>
              <a:gd name="connsiteY185" fmla="*/ 3851592 h 6857999"/>
              <a:gd name="connsiteX186" fmla="*/ 2838612 w 10789097"/>
              <a:gd name="connsiteY186" fmla="*/ 3851275 h 6857999"/>
              <a:gd name="connsiteX187" fmla="*/ 2832679 w 10789097"/>
              <a:gd name="connsiteY187" fmla="*/ 3850640 h 6857999"/>
              <a:gd name="connsiteX188" fmla="*/ 2826746 w 10789097"/>
              <a:gd name="connsiteY188" fmla="*/ 3849370 h 6857999"/>
              <a:gd name="connsiteX189" fmla="*/ 2820814 w 10789097"/>
              <a:gd name="connsiteY189" fmla="*/ 3848417 h 6857999"/>
              <a:gd name="connsiteX190" fmla="*/ 2814881 w 10789097"/>
              <a:gd name="connsiteY190" fmla="*/ 3846830 h 6857999"/>
              <a:gd name="connsiteX191" fmla="*/ 2809297 w 10789097"/>
              <a:gd name="connsiteY191" fmla="*/ 3844925 h 6857999"/>
              <a:gd name="connsiteX192" fmla="*/ 2803714 w 10789097"/>
              <a:gd name="connsiteY192" fmla="*/ 3843020 h 6857999"/>
              <a:gd name="connsiteX193" fmla="*/ 2798130 w 10789097"/>
              <a:gd name="connsiteY193" fmla="*/ 3840480 h 6857999"/>
              <a:gd name="connsiteX194" fmla="*/ 2792546 w 10789097"/>
              <a:gd name="connsiteY194" fmla="*/ 3837622 h 6857999"/>
              <a:gd name="connsiteX195" fmla="*/ 2787311 w 10789097"/>
              <a:gd name="connsiteY195" fmla="*/ 3834447 h 6857999"/>
              <a:gd name="connsiteX196" fmla="*/ 2782077 w 10789097"/>
              <a:gd name="connsiteY196" fmla="*/ 3831272 h 6857999"/>
              <a:gd name="connsiteX197" fmla="*/ 2776842 w 10789097"/>
              <a:gd name="connsiteY197" fmla="*/ 3827780 h 6857999"/>
              <a:gd name="connsiteX198" fmla="*/ 2771956 w 10789097"/>
              <a:gd name="connsiteY198" fmla="*/ 3823970 h 6857999"/>
              <a:gd name="connsiteX199" fmla="*/ 2767071 w 10789097"/>
              <a:gd name="connsiteY199" fmla="*/ 3819842 h 6857999"/>
              <a:gd name="connsiteX200" fmla="*/ 2762534 w 10789097"/>
              <a:gd name="connsiteY200" fmla="*/ 3815397 h 6857999"/>
              <a:gd name="connsiteX201" fmla="*/ 2666564 w 10789097"/>
              <a:gd name="connsiteY201" fmla="*/ 3720147 h 6857999"/>
              <a:gd name="connsiteX202" fmla="*/ 2559078 w 10789097"/>
              <a:gd name="connsiteY202" fmla="*/ 3612515 h 6857999"/>
              <a:gd name="connsiteX203" fmla="*/ 2554541 w 10789097"/>
              <a:gd name="connsiteY203" fmla="*/ 3608070 h 6857999"/>
              <a:gd name="connsiteX204" fmla="*/ 2549655 w 10789097"/>
              <a:gd name="connsiteY204" fmla="*/ 3604260 h 6857999"/>
              <a:gd name="connsiteX205" fmla="*/ 2544770 w 10789097"/>
              <a:gd name="connsiteY205" fmla="*/ 3600132 h 6857999"/>
              <a:gd name="connsiteX206" fmla="*/ 2539535 w 10789097"/>
              <a:gd name="connsiteY206" fmla="*/ 3596640 h 6857999"/>
              <a:gd name="connsiteX207" fmla="*/ 2534300 w 10789097"/>
              <a:gd name="connsiteY207" fmla="*/ 3593465 h 6857999"/>
              <a:gd name="connsiteX208" fmla="*/ 2529066 w 10789097"/>
              <a:gd name="connsiteY208" fmla="*/ 3590290 h 6857999"/>
              <a:gd name="connsiteX209" fmla="*/ 2523482 w 10789097"/>
              <a:gd name="connsiteY209" fmla="*/ 3587750 h 6857999"/>
              <a:gd name="connsiteX210" fmla="*/ 2517898 w 10789097"/>
              <a:gd name="connsiteY210" fmla="*/ 3585210 h 6857999"/>
              <a:gd name="connsiteX211" fmla="*/ 2512314 w 10789097"/>
              <a:gd name="connsiteY211" fmla="*/ 3583305 h 6857999"/>
              <a:gd name="connsiteX212" fmla="*/ 2506731 w 10789097"/>
              <a:gd name="connsiteY212" fmla="*/ 3581082 h 6857999"/>
              <a:gd name="connsiteX213" fmla="*/ 2500798 w 10789097"/>
              <a:gd name="connsiteY213" fmla="*/ 3579812 h 6857999"/>
              <a:gd name="connsiteX214" fmla="*/ 2494865 w 10789097"/>
              <a:gd name="connsiteY214" fmla="*/ 3578225 h 6857999"/>
              <a:gd name="connsiteX215" fmla="*/ 2488933 w 10789097"/>
              <a:gd name="connsiteY215" fmla="*/ 3577272 h 6857999"/>
              <a:gd name="connsiteX216" fmla="*/ 2483000 w 10789097"/>
              <a:gd name="connsiteY216" fmla="*/ 3576637 h 6857999"/>
              <a:gd name="connsiteX217" fmla="*/ 2476718 w 10789097"/>
              <a:gd name="connsiteY217" fmla="*/ 3576320 h 6857999"/>
              <a:gd name="connsiteX218" fmla="*/ 2470786 w 10789097"/>
              <a:gd name="connsiteY218" fmla="*/ 3576320 h 6857999"/>
              <a:gd name="connsiteX219" fmla="*/ 2464853 w 10789097"/>
              <a:gd name="connsiteY219" fmla="*/ 3576320 h 6857999"/>
              <a:gd name="connsiteX220" fmla="*/ 2458920 w 10789097"/>
              <a:gd name="connsiteY220" fmla="*/ 3576637 h 6857999"/>
              <a:gd name="connsiteX221" fmla="*/ 2452988 w 10789097"/>
              <a:gd name="connsiteY221" fmla="*/ 3577272 h 6857999"/>
              <a:gd name="connsiteX222" fmla="*/ 2447055 w 10789097"/>
              <a:gd name="connsiteY222" fmla="*/ 3578225 h 6857999"/>
              <a:gd name="connsiteX223" fmla="*/ 2441122 w 10789097"/>
              <a:gd name="connsiteY223" fmla="*/ 3579812 h 6857999"/>
              <a:gd name="connsiteX224" fmla="*/ 2435190 w 10789097"/>
              <a:gd name="connsiteY224" fmla="*/ 3581082 h 6857999"/>
              <a:gd name="connsiteX225" fmla="*/ 2429606 w 10789097"/>
              <a:gd name="connsiteY225" fmla="*/ 3583305 h 6857999"/>
              <a:gd name="connsiteX226" fmla="*/ 2424022 w 10789097"/>
              <a:gd name="connsiteY226" fmla="*/ 3585210 h 6857999"/>
              <a:gd name="connsiteX227" fmla="*/ 2418439 w 10789097"/>
              <a:gd name="connsiteY227" fmla="*/ 3587750 h 6857999"/>
              <a:gd name="connsiteX228" fmla="*/ 2412855 w 10789097"/>
              <a:gd name="connsiteY228" fmla="*/ 3590290 h 6857999"/>
              <a:gd name="connsiteX229" fmla="*/ 2407620 w 10789097"/>
              <a:gd name="connsiteY229" fmla="*/ 3593465 h 6857999"/>
              <a:gd name="connsiteX230" fmla="*/ 2402385 w 10789097"/>
              <a:gd name="connsiteY230" fmla="*/ 3596640 h 6857999"/>
              <a:gd name="connsiteX231" fmla="*/ 2397151 w 10789097"/>
              <a:gd name="connsiteY231" fmla="*/ 3600450 h 6857999"/>
              <a:gd name="connsiteX232" fmla="*/ 2392265 w 10789097"/>
              <a:gd name="connsiteY232" fmla="*/ 3604260 h 6857999"/>
              <a:gd name="connsiteX233" fmla="*/ 2387379 w 10789097"/>
              <a:gd name="connsiteY233" fmla="*/ 3608070 h 6857999"/>
              <a:gd name="connsiteX234" fmla="*/ 2382842 w 10789097"/>
              <a:gd name="connsiteY234" fmla="*/ 3612515 h 6857999"/>
              <a:gd name="connsiteX235" fmla="*/ 2379003 w 10789097"/>
              <a:gd name="connsiteY235" fmla="*/ 3616325 h 6857999"/>
              <a:gd name="connsiteX236" fmla="*/ 2375863 w 10789097"/>
              <a:gd name="connsiteY236" fmla="*/ 3620135 h 6857999"/>
              <a:gd name="connsiteX237" fmla="*/ 2369581 w 10789097"/>
              <a:gd name="connsiteY237" fmla="*/ 3628390 h 6857999"/>
              <a:gd name="connsiteX238" fmla="*/ 2363997 w 10789097"/>
              <a:gd name="connsiteY238" fmla="*/ 3636327 h 6857999"/>
              <a:gd name="connsiteX239" fmla="*/ 2359461 w 10789097"/>
              <a:gd name="connsiteY239" fmla="*/ 3644900 h 6857999"/>
              <a:gd name="connsiteX240" fmla="*/ 2355273 w 10789097"/>
              <a:gd name="connsiteY240" fmla="*/ 3654107 h 6857999"/>
              <a:gd name="connsiteX241" fmla="*/ 2352132 w 10789097"/>
              <a:gd name="connsiteY241" fmla="*/ 3663315 h 6857999"/>
              <a:gd name="connsiteX242" fmla="*/ 2349689 w 10789097"/>
              <a:gd name="connsiteY242" fmla="*/ 3672522 h 6857999"/>
              <a:gd name="connsiteX243" fmla="*/ 2347944 w 10789097"/>
              <a:gd name="connsiteY243" fmla="*/ 3682047 h 6857999"/>
              <a:gd name="connsiteX244" fmla="*/ 2346897 w 10789097"/>
              <a:gd name="connsiteY244" fmla="*/ 3691572 h 6857999"/>
              <a:gd name="connsiteX245" fmla="*/ 2346548 w 10789097"/>
              <a:gd name="connsiteY245" fmla="*/ 3701097 h 6857999"/>
              <a:gd name="connsiteX246" fmla="*/ 2347246 w 10789097"/>
              <a:gd name="connsiteY246" fmla="*/ 3710622 h 6857999"/>
              <a:gd name="connsiteX247" fmla="*/ 2348293 w 10789097"/>
              <a:gd name="connsiteY247" fmla="*/ 3720465 h 6857999"/>
              <a:gd name="connsiteX248" fmla="*/ 2350387 w 10789097"/>
              <a:gd name="connsiteY248" fmla="*/ 3729672 h 6857999"/>
              <a:gd name="connsiteX249" fmla="*/ 2352830 w 10789097"/>
              <a:gd name="connsiteY249" fmla="*/ 3739197 h 6857999"/>
              <a:gd name="connsiteX250" fmla="*/ 2356320 w 10789097"/>
              <a:gd name="connsiteY250" fmla="*/ 3748405 h 6857999"/>
              <a:gd name="connsiteX251" fmla="*/ 2360507 w 10789097"/>
              <a:gd name="connsiteY251" fmla="*/ 3756977 h 6857999"/>
              <a:gd name="connsiteX252" fmla="*/ 2651907 w 10789097"/>
              <a:gd name="connsiteY252" fmla="*/ 4048442 h 6857999"/>
              <a:gd name="connsiteX253" fmla="*/ 2656444 w 10789097"/>
              <a:gd name="connsiteY253" fmla="*/ 4052887 h 6857999"/>
              <a:gd name="connsiteX254" fmla="*/ 2660631 w 10789097"/>
              <a:gd name="connsiteY254" fmla="*/ 4057967 h 6857999"/>
              <a:gd name="connsiteX255" fmla="*/ 2664470 w 10789097"/>
              <a:gd name="connsiteY255" fmla="*/ 4062730 h 6857999"/>
              <a:gd name="connsiteX256" fmla="*/ 2667960 w 10789097"/>
              <a:gd name="connsiteY256" fmla="*/ 4067810 h 6857999"/>
              <a:gd name="connsiteX257" fmla="*/ 2671101 w 10789097"/>
              <a:gd name="connsiteY257" fmla="*/ 4073207 h 6857999"/>
              <a:gd name="connsiteX258" fmla="*/ 2674242 w 10789097"/>
              <a:gd name="connsiteY258" fmla="*/ 4078287 h 6857999"/>
              <a:gd name="connsiteX259" fmla="*/ 2677033 w 10789097"/>
              <a:gd name="connsiteY259" fmla="*/ 4084002 h 6857999"/>
              <a:gd name="connsiteX260" fmla="*/ 2679476 w 10789097"/>
              <a:gd name="connsiteY260" fmla="*/ 4089717 h 6857999"/>
              <a:gd name="connsiteX261" fmla="*/ 2681570 w 10789097"/>
              <a:gd name="connsiteY261" fmla="*/ 4095115 h 6857999"/>
              <a:gd name="connsiteX262" fmla="*/ 2683315 w 10789097"/>
              <a:gd name="connsiteY262" fmla="*/ 4100830 h 6857999"/>
              <a:gd name="connsiteX263" fmla="*/ 2684711 w 10789097"/>
              <a:gd name="connsiteY263" fmla="*/ 4106862 h 6857999"/>
              <a:gd name="connsiteX264" fmla="*/ 2686107 w 10789097"/>
              <a:gd name="connsiteY264" fmla="*/ 4112577 h 6857999"/>
              <a:gd name="connsiteX265" fmla="*/ 2687154 w 10789097"/>
              <a:gd name="connsiteY265" fmla="*/ 4118610 h 6857999"/>
              <a:gd name="connsiteX266" fmla="*/ 2687852 w 10789097"/>
              <a:gd name="connsiteY266" fmla="*/ 4124642 h 6857999"/>
              <a:gd name="connsiteX267" fmla="*/ 2688201 w 10789097"/>
              <a:gd name="connsiteY267" fmla="*/ 4130357 h 6857999"/>
              <a:gd name="connsiteX268" fmla="*/ 2688550 w 10789097"/>
              <a:gd name="connsiteY268" fmla="*/ 4136390 h 6857999"/>
              <a:gd name="connsiteX269" fmla="*/ 2688201 w 10789097"/>
              <a:gd name="connsiteY269" fmla="*/ 4142422 h 6857999"/>
              <a:gd name="connsiteX270" fmla="*/ 2687852 w 10789097"/>
              <a:gd name="connsiteY270" fmla="*/ 4148137 h 6857999"/>
              <a:gd name="connsiteX271" fmla="*/ 2687154 w 10789097"/>
              <a:gd name="connsiteY271" fmla="*/ 4154170 h 6857999"/>
              <a:gd name="connsiteX272" fmla="*/ 2686107 w 10789097"/>
              <a:gd name="connsiteY272" fmla="*/ 4160202 h 6857999"/>
              <a:gd name="connsiteX273" fmla="*/ 2684711 w 10789097"/>
              <a:gd name="connsiteY273" fmla="*/ 4165917 h 6857999"/>
              <a:gd name="connsiteX274" fmla="*/ 2683315 w 10789097"/>
              <a:gd name="connsiteY274" fmla="*/ 4171632 h 6857999"/>
              <a:gd name="connsiteX275" fmla="*/ 2681570 w 10789097"/>
              <a:gd name="connsiteY275" fmla="*/ 4177665 h 6857999"/>
              <a:gd name="connsiteX276" fmla="*/ 2679476 w 10789097"/>
              <a:gd name="connsiteY276" fmla="*/ 4183062 h 6857999"/>
              <a:gd name="connsiteX277" fmla="*/ 2677033 w 10789097"/>
              <a:gd name="connsiteY277" fmla="*/ 4188777 h 6857999"/>
              <a:gd name="connsiteX278" fmla="*/ 2674242 w 10789097"/>
              <a:gd name="connsiteY278" fmla="*/ 4194175 h 6857999"/>
              <a:gd name="connsiteX279" fmla="*/ 2671101 w 10789097"/>
              <a:gd name="connsiteY279" fmla="*/ 4199572 h 6857999"/>
              <a:gd name="connsiteX280" fmla="*/ 2667960 w 10789097"/>
              <a:gd name="connsiteY280" fmla="*/ 4204652 h 6857999"/>
              <a:gd name="connsiteX281" fmla="*/ 2664470 w 10789097"/>
              <a:gd name="connsiteY281" fmla="*/ 4210050 h 6857999"/>
              <a:gd name="connsiteX282" fmla="*/ 2660631 w 10789097"/>
              <a:gd name="connsiteY282" fmla="*/ 4214812 h 6857999"/>
              <a:gd name="connsiteX283" fmla="*/ 2656444 w 10789097"/>
              <a:gd name="connsiteY283" fmla="*/ 4219892 h 6857999"/>
              <a:gd name="connsiteX284" fmla="*/ 2651907 w 10789097"/>
              <a:gd name="connsiteY284" fmla="*/ 4224337 h 6857999"/>
              <a:gd name="connsiteX285" fmla="*/ 2647370 w 10789097"/>
              <a:gd name="connsiteY285" fmla="*/ 4228782 h 6857999"/>
              <a:gd name="connsiteX286" fmla="*/ 2642484 w 10789097"/>
              <a:gd name="connsiteY286" fmla="*/ 4232592 h 6857999"/>
              <a:gd name="connsiteX287" fmla="*/ 2637599 w 10789097"/>
              <a:gd name="connsiteY287" fmla="*/ 4236402 h 6857999"/>
              <a:gd name="connsiteX288" fmla="*/ 2632713 w 10789097"/>
              <a:gd name="connsiteY288" fmla="*/ 4239895 h 6857999"/>
              <a:gd name="connsiteX289" fmla="*/ 2627478 w 10789097"/>
              <a:gd name="connsiteY289" fmla="*/ 4243387 h 6857999"/>
              <a:gd name="connsiteX290" fmla="*/ 2622243 w 10789097"/>
              <a:gd name="connsiteY290" fmla="*/ 4246245 h 6857999"/>
              <a:gd name="connsiteX291" fmla="*/ 2616660 w 10789097"/>
              <a:gd name="connsiteY291" fmla="*/ 4249102 h 6857999"/>
              <a:gd name="connsiteX292" fmla="*/ 2611425 w 10789097"/>
              <a:gd name="connsiteY292" fmla="*/ 4251642 h 6857999"/>
              <a:gd name="connsiteX293" fmla="*/ 2605841 w 10789097"/>
              <a:gd name="connsiteY293" fmla="*/ 4253547 h 6857999"/>
              <a:gd name="connsiteX294" fmla="*/ 2599909 w 10789097"/>
              <a:gd name="connsiteY294" fmla="*/ 4255452 h 6857999"/>
              <a:gd name="connsiteX295" fmla="*/ 2594325 w 10789097"/>
              <a:gd name="connsiteY295" fmla="*/ 4257040 h 6857999"/>
              <a:gd name="connsiteX296" fmla="*/ 2588392 w 10789097"/>
              <a:gd name="connsiteY296" fmla="*/ 4258627 h 6857999"/>
              <a:gd name="connsiteX297" fmla="*/ 2582809 w 10789097"/>
              <a:gd name="connsiteY297" fmla="*/ 4259262 h 6857999"/>
              <a:gd name="connsiteX298" fmla="*/ 2576876 w 10789097"/>
              <a:gd name="connsiteY298" fmla="*/ 4260215 h 6857999"/>
              <a:gd name="connsiteX299" fmla="*/ 2570943 w 10789097"/>
              <a:gd name="connsiteY299" fmla="*/ 4260532 h 6857999"/>
              <a:gd name="connsiteX300" fmla="*/ 2565011 w 10789097"/>
              <a:gd name="connsiteY300" fmla="*/ 4260532 h 6857999"/>
              <a:gd name="connsiteX301" fmla="*/ 5169805 w 10789097"/>
              <a:gd name="connsiteY301" fmla="*/ 6857999 h 6857999"/>
              <a:gd name="connsiteX302" fmla="*/ 10789097 w 10789097"/>
              <a:gd name="connsiteY302" fmla="*/ 6857999 h 6857999"/>
              <a:gd name="connsiteX303" fmla="*/ 10789097 w 10789097"/>
              <a:gd name="connsiteY303" fmla="*/ 0 h 6857999"/>
              <a:gd name="connsiteX0" fmla="*/ 10789097 w 10789097"/>
              <a:gd name="connsiteY0" fmla="*/ 0 h 6857999"/>
              <a:gd name="connsiteX1" fmla="*/ 329787 w 10789097"/>
              <a:gd name="connsiteY1" fmla="*/ 0 h 6857999"/>
              <a:gd name="connsiteX2" fmla="*/ 240539 w 10789097"/>
              <a:gd name="connsiteY2" fmla="*/ 0 h 6857999"/>
              <a:gd name="connsiteX3" fmla="*/ 0 w 10789097"/>
              <a:gd name="connsiteY3" fmla="*/ 0 h 6857999"/>
              <a:gd name="connsiteX4" fmla="*/ 34549 w 10789097"/>
              <a:gd name="connsiteY4" fmla="*/ 34608 h 6857999"/>
              <a:gd name="connsiteX5" fmla="*/ 2681221 w 10789097"/>
              <a:gd name="connsiteY5" fmla="*/ 2678112 h 6857999"/>
              <a:gd name="connsiteX6" fmla="*/ 2685758 w 10789097"/>
              <a:gd name="connsiteY6" fmla="*/ 2682875 h 6857999"/>
              <a:gd name="connsiteX7" fmla="*/ 2689946 w 10789097"/>
              <a:gd name="connsiteY7" fmla="*/ 2687320 h 6857999"/>
              <a:gd name="connsiteX8" fmla="*/ 2693785 w 10789097"/>
              <a:gd name="connsiteY8" fmla="*/ 2692717 h 6857999"/>
              <a:gd name="connsiteX9" fmla="*/ 2697274 w 10789097"/>
              <a:gd name="connsiteY9" fmla="*/ 2697480 h 6857999"/>
              <a:gd name="connsiteX10" fmla="*/ 2700415 w 10789097"/>
              <a:gd name="connsiteY10" fmla="*/ 2702877 h 6857999"/>
              <a:gd name="connsiteX11" fmla="*/ 2703556 w 10789097"/>
              <a:gd name="connsiteY11" fmla="*/ 2708275 h 6857999"/>
              <a:gd name="connsiteX12" fmla="*/ 2706348 w 10789097"/>
              <a:gd name="connsiteY12" fmla="*/ 2713672 h 6857999"/>
              <a:gd name="connsiteX13" fmla="*/ 2708791 w 10789097"/>
              <a:gd name="connsiteY13" fmla="*/ 2719070 h 6857999"/>
              <a:gd name="connsiteX14" fmla="*/ 2710885 w 10789097"/>
              <a:gd name="connsiteY14" fmla="*/ 2725102 h 6857999"/>
              <a:gd name="connsiteX15" fmla="*/ 2712630 w 10789097"/>
              <a:gd name="connsiteY15" fmla="*/ 2730817 h 6857999"/>
              <a:gd name="connsiteX16" fmla="*/ 2714025 w 10789097"/>
              <a:gd name="connsiteY16" fmla="*/ 2736532 h 6857999"/>
              <a:gd name="connsiteX17" fmla="*/ 2715421 w 10789097"/>
              <a:gd name="connsiteY17" fmla="*/ 2742565 h 6857999"/>
              <a:gd name="connsiteX18" fmla="*/ 2716468 w 10789097"/>
              <a:gd name="connsiteY18" fmla="*/ 2748280 h 6857999"/>
              <a:gd name="connsiteX19" fmla="*/ 2717166 w 10789097"/>
              <a:gd name="connsiteY19" fmla="*/ 2753995 h 6857999"/>
              <a:gd name="connsiteX20" fmla="*/ 2717515 w 10789097"/>
              <a:gd name="connsiteY20" fmla="*/ 2760345 h 6857999"/>
              <a:gd name="connsiteX21" fmla="*/ 2717864 w 10789097"/>
              <a:gd name="connsiteY21" fmla="*/ 2766377 h 6857999"/>
              <a:gd name="connsiteX22" fmla="*/ 2717515 w 10789097"/>
              <a:gd name="connsiteY22" fmla="*/ 2772092 h 6857999"/>
              <a:gd name="connsiteX23" fmla="*/ 2717166 w 10789097"/>
              <a:gd name="connsiteY23" fmla="*/ 2778125 h 6857999"/>
              <a:gd name="connsiteX24" fmla="*/ 2716468 w 10789097"/>
              <a:gd name="connsiteY24" fmla="*/ 2784157 h 6857999"/>
              <a:gd name="connsiteX25" fmla="*/ 2715421 w 10789097"/>
              <a:gd name="connsiteY25" fmla="*/ 2790190 h 6857999"/>
              <a:gd name="connsiteX26" fmla="*/ 2714025 w 10789097"/>
              <a:gd name="connsiteY26" fmla="*/ 2795905 h 6857999"/>
              <a:gd name="connsiteX27" fmla="*/ 2712630 w 10789097"/>
              <a:gd name="connsiteY27" fmla="*/ 2801620 h 6857999"/>
              <a:gd name="connsiteX28" fmla="*/ 2710885 w 10789097"/>
              <a:gd name="connsiteY28" fmla="*/ 2807335 h 6857999"/>
              <a:gd name="connsiteX29" fmla="*/ 2708791 w 10789097"/>
              <a:gd name="connsiteY29" fmla="*/ 2813050 h 6857999"/>
              <a:gd name="connsiteX30" fmla="*/ 2706348 w 10789097"/>
              <a:gd name="connsiteY30" fmla="*/ 2818765 h 6857999"/>
              <a:gd name="connsiteX31" fmla="*/ 2703556 w 10789097"/>
              <a:gd name="connsiteY31" fmla="*/ 2824162 h 6857999"/>
              <a:gd name="connsiteX32" fmla="*/ 2700415 w 10789097"/>
              <a:gd name="connsiteY32" fmla="*/ 2829560 h 6857999"/>
              <a:gd name="connsiteX33" fmla="*/ 2697274 w 10789097"/>
              <a:gd name="connsiteY33" fmla="*/ 2834640 h 6857999"/>
              <a:gd name="connsiteX34" fmla="*/ 2693785 w 10789097"/>
              <a:gd name="connsiteY34" fmla="*/ 2840037 h 6857999"/>
              <a:gd name="connsiteX35" fmla="*/ 2689946 w 10789097"/>
              <a:gd name="connsiteY35" fmla="*/ 2844800 h 6857999"/>
              <a:gd name="connsiteX36" fmla="*/ 2685758 w 10789097"/>
              <a:gd name="connsiteY36" fmla="*/ 2849562 h 6857999"/>
              <a:gd name="connsiteX37" fmla="*/ 2681221 w 10789097"/>
              <a:gd name="connsiteY37" fmla="*/ 2854325 h 6857999"/>
              <a:gd name="connsiteX38" fmla="*/ 2676684 w 10789097"/>
              <a:gd name="connsiteY38" fmla="*/ 2858770 h 6857999"/>
              <a:gd name="connsiteX39" fmla="*/ 2671799 w 10789097"/>
              <a:gd name="connsiteY39" fmla="*/ 2862580 h 6857999"/>
              <a:gd name="connsiteX40" fmla="*/ 2666913 w 10789097"/>
              <a:gd name="connsiteY40" fmla="*/ 2866390 h 6857999"/>
              <a:gd name="connsiteX41" fmla="*/ 2661678 w 10789097"/>
              <a:gd name="connsiteY41" fmla="*/ 2870200 h 6857999"/>
              <a:gd name="connsiteX42" fmla="*/ 2656444 w 10789097"/>
              <a:gd name="connsiteY42" fmla="*/ 2873375 h 6857999"/>
              <a:gd name="connsiteX43" fmla="*/ 2651209 w 10789097"/>
              <a:gd name="connsiteY43" fmla="*/ 2876550 h 6857999"/>
              <a:gd name="connsiteX44" fmla="*/ 2645625 w 10789097"/>
              <a:gd name="connsiteY44" fmla="*/ 2879090 h 6857999"/>
              <a:gd name="connsiteX45" fmla="*/ 2640041 w 10789097"/>
              <a:gd name="connsiteY45" fmla="*/ 2881312 h 6857999"/>
              <a:gd name="connsiteX46" fmla="*/ 2634458 w 10789097"/>
              <a:gd name="connsiteY46" fmla="*/ 2883535 h 6857999"/>
              <a:gd name="connsiteX47" fmla="*/ 2628525 w 10789097"/>
              <a:gd name="connsiteY47" fmla="*/ 2885757 h 6857999"/>
              <a:gd name="connsiteX48" fmla="*/ 2622941 w 10789097"/>
              <a:gd name="connsiteY48" fmla="*/ 2887027 h 6857999"/>
              <a:gd name="connsiteX49" fmla="*/ 2617009 w 10789097"/>
              <a:gd name="connsiteY49" fmla="*/ 2888297 h 6857999"/>
              <a:gd name="connsiteX50" fmla="*/ 2611076 w 10789097"/>
              <a:gd name="connsiteY50" fmla="*/ 2889567 h 6857999"/>
              <a:gd name="connsiteX51" fmla="*/ 2605143 w 10789097"/>
              <a:gd name="connsiteY51" fmla="*/ 2890202 h 6857999"/>
              <a:gd name="connsiteX52" fmla="*/ 2599211 w 10789097"/>
              <a:gd name="connsiteY52" fmla="*/ 2890520 h 6857999"/>
              <a:gd name="connsiteX53" fmla="*/ 2593278 w 10789097"/>
              <a:gd name="connsiteY53" fmla="*/ 2890520 h 6857999"/>
              <a:gd name="connsiteX54" fmla="*/ 2587345 w 10789097"/>
              <a:gd name="connsiteY54" fmla="*/ 2890520 h 6857999"/>
              <a:gd name="connsiteX55" fmla="*/ 2581413 w 10789097"/>
              <a:gd name="connsiteY55" fmla="*/ 2890202 h 6857999"/>
              <a:gd name="connsiteX56" fmla="*/ 2575480 w 10789097"/>
              <a:gd name="connsiteY56" fmla="*/ 2889567 h 6857999"/>
              <a:gd name="connsiteX57" fmla="*/ 2569547 w 10789097"/>
              <a:gd name="connsiteY57" fmla="*/ 2888297 h 6857999"/>
              <a:gd name="connsiteX58" fmla="*/ 2563615 w 10789097"/>
              <a:gd name="connsiteY58" fmla="*/ 2887027 h 6857999"/>
              <a:gd name="connsiteX59" fmla="*/ 2557682 w 10789097"/>
              <a:gd name="connsiteY59" fmla="*/ 2885757 h 6857999"/>
              <a:gd name="connsiteX60" fmla="*/ 2552098 w 10789097"/>
              <a:gd name="connsiteY60" fmla="*/ 2883535 h 6857999"/>
              <a:gd name="connsiteX61" fmla="*/ 2546515 w 10789097"/>
              <a:gd name="connsiteY61" fmla="*/ 2881312 h 6857999"/>
              <a:gd name="connsiteX62" fmla="*/ 2540931 w 10789097"/>
              <a:gd name="connsiteY62" fmla="*/ 2879090 h 6857999"/>
              <a:gd name="connsiteX63" fmla="*/ 2535347 w 10789097"/>
              <a:gd name="connsiteY63" fmla="*/ 2876550 h 6857999"/>
              <a:gd name="connsiteX64" fmla="*/ 2530112 w 10789097"/>
              <a:gd name="connsiteY64" fmla="*/ 2873375 h 6857999"/>
              <a:gd name="connsiteX65" fmla="*/ 2524878 w 10789097"/>
              <a:gd name="connsiteY65" fmla="*/ 2870200 h 6857999"/>
              <a:gd name="connsiteX66" fmla="*/ 2519643 w 10789097"/>
              <a:gd name="connsiteY66" fmla="*/ 2866390 h 6857999"/>
              <a:gd name="connsiteX67" fmla="*/ 2514757 w 10789097"/>
              <a:gd name="connsiteY67" fmla="*/ 2862580 h 6857999"/>
              <a:gd name="connsiteX68" fmla="*/ 2509872 w 10789097"/>
              <a:gd name="connsiteY68" fmla="*/ 2858770 h 6857999"/>
              <a:gd name="connsiteX69" fmla="*/ 2505335 w 10789097"/>
              <a:gd name="connsiteY69" fmla="*/ 2854325 h 6857999"/>
              <a:gd name="connsiteX70" fmla="*/ 2390869 w 10789097"/>
              <a:gd name="connsiteY70" fmla="*/ 2740025 h 6857999"/>
              <a:gd name="connsiteX71" fmla="*/ 2385983 w 10789097"/>
              <a:gd name="connsiteY71" fmla="*/ 2735580 h 6857999"/>
              <a:gd name="connsiteX72" fmla="*/ 2381097 w 10789097"/>
              <a:gd name="connsiteY72" fmla="*/ 2731452 h 6857999"/>
              <a:gd name="connsiteX73" fmla="*/ 2376212 w 10789097"/>
              <a:gd name="connsiteY73" fmla="*/ 2727642 h 6857999"/>
              <a:gd name="connsiteX74" fmla="*/ 2371326 w 10789097"/>
              <a:gd name="connsiteY74" fmla="*/ 2724150 h 6857999"/>
              <a:gd name="connsiteX75" fmla="*/ 2366091 w 10789097"/>
              <a:gd name="connsiteY75" fmla="*/ 2720975 h 6857999"/>
              <a:gd name="connsiteX76" fmla="*/ 2360507 w 10789097"/>
              <a:gd name="connsiteY76" fmla="*/ 2717800 h 6857999"/>
              <a:gd name="connsiteX77" fmla="*/ 2355273 w 10789097"/>
              <a:gd name="connsiteY77" fmla="*/ 2715260 h 6857999"/>
              <a:gd name="connsiteX78" fmla="*/ 2349689 w 10789097"/>
              <a:gd name="connsiteY78" fmla="*/ 2713037 h 6857999"/>
              <a:gd name="connsiteX79" fmla="*/ 2343757 w 10789097"/>
              <a:gd name="connsiteY79" fmla="*/ 2710497 h 6857999"/>
              <a:gd name="connsiteX80" fmla="*/ 2338173 w 10789097"/>
              <a:gd name="connsiteY80" fmla="*/ 2708592 h 6857999"/>
              <a:gd name="connsiteX81" fmla="*/ 2332240 w 10789097"/>
              <a:gd name="connsiteY81" fmla="*/ 2707322 h 6857999"/>
              <a:gd name="connsiteX82" fmla="*/ 2326307 w 10789097"/>
              <a:gd name="connsiteY82" fmla="*/ 2706052 h 6857999"/>
              <a:gd name="connsiteX83" fmla="*/ 2320724 w 10789097"/>
              <a:gd name="connsiteY83" fmla="*/ 2704782 h 6857999"/>
              <a:gd name="connsiteX84" fmla="*/ 2314442 w 10789097"/>
              <a:gd name="connsiteY84" fmla="*/ 2704147 h 6857999"/>
              <a:gd name="connsiteX85" fmla="*/ 2308509 w 10789097"/>
              <a:gd name="connsiteY85" fmla="*/ 2703830 h 6857999"/>
              <a:gd name="connsiteX86" fmla="*/ 2302577 w 10789097"/>
              <a:gd name="connsiteY86" fmla="*/ 2703512 h 6857999"/>
              <a:gd name="connsiteX87" fmla="*/ 2296644 w 10789097"/>
              <a:gd name="connsiteY87" fmla="*/ 2703830 h 6857999"/>
              <a:gd name="connsiteX88" fmla="*/ 2290711 w 10789097"/>
              <a:gd name="connsiteY88" fmla="*/ 2704147 h 6857999"/>
              <a:gd name="connsiteX89" fmla="*/ 2284779 w 10789097"/>
              <a:gd name="connsiteY89" fmla="*/ 2704782 h 6857999"/>
              <a:gd name="connsiteX90" fmla="*/ 2278846 w 10789097"/>
              <a:gd name="connsiteY90" fmla="*/ 2706052 h 6857999"/>
              <a:gd name="connsiteX91" fmla="*/ 2272913 w 10789097"/>
              <a:gd name="connsiteY91" fmla="*/ 2707322 h 6857999"/>
              <a:gd name="connsiteX92" fmla="*/ 2267330 w 10789097"/>
              <a:gd name="connsiteY92" fmla="*/ 2708592 h 6857999"/>
              <a:gd name="connsiteX93" fmla="*/ 2261397 w 10789097"/>
              <a:gd name="connsiteY93" fmla="*/ 2710497 h 6857999"/>
              <a:gd name="connsiteX94" fmla="*/ 2255813 w 10789097"/>
              <a:gd name="connsiteY94" fmla="*/ 2713037 h 6857999"/>
              <a:gd name="connsiteX95" fmla="*/ 2250229 w 10789097"/>
              <a:gd name="connsiteY95" fmla="*/ 2715260 h 6857999"/>
              <a:gd name="connsiteX96" fmla="*/ 2244646 w 10789097"/>
              <a:gd name="connsiteY96" fmla="*/ 2717800 h 6857999"/>
              <a:gd name="connsiteX97" fmla="*/ 2239411 w 10789097"/>
              <a:gd name="connsiteY97" fmla="*/ 2720975 h 6857999"/>
              <a:gd name="connsiteX98" fmla="*/ 2234177 w 10789097"/>
              <a:gd name="connsiteY98" fmla="*/ 2724150 h 6857999"/>
              <a:gd name="connsiteX99" fmla="*/ 2228942 w 10789097"/>
              <a:gd name="connsiteY99" fmla="*/ 2727642 h 6857999"/>
              <a:gd name="connsiteX100" fmla="*/ 2224056 w 10789097"/>
              <a:gd name="connsiteY100" fmla="*/ 2731452 h 6857999"/>
              <a:gd name="connsiteX101" fmla="*/ 2219170 w 10789097"/>
              <a:gd name="connsiteY101" fmla="*/ 2735580 h 6857999"/>
              <a:gd name="connsiteX102" fmla="*/ 2214633 w 10789097"/>
              <a:gd name="connsiteY102" fmla="*/ 2740025 h 6857999"/>
              <a:gd name="connsiteX103" fmla="*/ 2210097 w 10789097"/>
              <a:gd name="connsiteY103" fmla="*/ 2744787 h 6857999"/>
              <a:gd name="connsiteX104" fmla="*/ 2206258 w 10789097"/>
              <a:gd name="connsiteY104" fmla="*/ 2749550 h 6857999"/>
              <a:gd name="connsiteX105" fmla="*/ 2202070 w 10789097"/>
              <a:gd name="connsiteY105" fmla="*/ 2754312 h 6857999"/>
              <a:gd name="connsiteX106" fmla="*/ 2198581 w 10789097"/>
              <a:gd name="connsiteY106" fmla="*/ 2759710 h 6857999"/>
              <a:gd name="connsiteX107" fmla="*/ 2195091 w 10789097"/>
              <a:gd name="connsiteY107" fmla="*/ 2764790 h 6857999"/>
              <a:gd name="connsiteX108" fmla="*/ 2191950 w 10789097"/>
              <a:gd name="connsiteY108" fmla="*/ 2770187 h 6857999"/>
              <a:gd name="connsiteX109" fmla="*/ 2189507 w 10789097"/>
              <a:gd name="connsiteY109" fmla="*/ 2775585 h 6857999"/>
              <a:gd name="connsiteX110" fmla="*/ 2187064 w 10789097"/>
              <a:gd name="connsiteY110" fmla="*/ 2781300 h 6857999"/>
              <a:gd name="connsiteX111" fmla="*/ 2184621 w 10789097"/>
              <a:gd name="connsiteY111" fmla="*/ 2787015 h 6857999"/>
              <a:gd name="connsiteX112" fmla="*/ 2182876 w 10789097"/>
              <a:gd name="connsiteY112" fmla="*/ 2792730 h 6857999"/>
              <a:gd name="connsiteX113" fmla="*/ 2181480 w 10789097"/>
              <a:gd name="connsiteY113" fmla="*/ 2798445 h 6857999"/>
              <a:gd name="connsiteX114" fmla="*/ 2180085 w 10789097"/>
              <a:gd name="connsiteY114" fmla="*/ 2804477 h 6857999"/>
              <a:gd name="connsiteX115" fmla="*/ 2179037 w 10789097"/>
              <a:gd name="connsiteY115" fmla="*/ 2810192 h 6857999"/>
              <a:gd name="connsiteX116" fmla="*/ 2178339 w 10789097"/>
              <a:gd name="connsiteY116" fmla="*/ 2816225 h 6857999"/>
              <a:gd name="connsiteX117" fmla="*/ 2177991 w 10789097"/>
              <a:gd name="connsiteY117" fmla="*/ 2822257 h 6857999"/>
              <a:gd name="connsiteX118" fmla="*/ 2177641 w 10789097"/>
              <a:gd name="connsiteY118" fmla="*/ 2827972 h 6857999"/>
              <a:gd name="connsiteX119" fmla="*/ 2177991 w 10789097"/>
              <a:gd name="connsiteY119" fmla="*/ 2834005 h 6857999"/>
              <a:gd name="connsiteX120" fmla="*/ 2178339 w 10789097"/>
              <a:gd name="connsiteY120" fmla="*/ 2840037 h 6857999"/>
              <a:gd name="connsiteX121" fmla="*/ 2179037 w 10789097"/>
              <a:gd name="connsiteY121" fmla="*/ 2845752 h 6857999"/>
              <a:gd name="connsiteX122" fmla="*/ 2180085 w 10789097"/>
              <a:gd name="connsiteY122" fmla="*/ 2851785 h 6857999"/>
              <a:gd name="connsiteX123" fmla="*/ 2181480 w 10789097"/>
              <a:gd name="connsiteY123" fmla="*/ 2857817 h 6857999"/>
              <a:gd name="connsiteX124" fmla="*/ 2182876 w 10789097"/>
              <a:gd name="connsiteY124" fmla="*/ 2863532 h 6857999"/>
              <a:gd name="connsiteX125" fmla="*/ 2184621 w 10789097"/>
              <a:gd name="connsiteY125" fmla="*/ 2869247 h 6857999"/>
              <a:gd name="connsiteX126" fmla="*/ 2187064 w 10789097"/>
              <a:gd name="connsiteY126" fmla="*/ 2875280 h 6857999"/>
              <a:gd name="connsiteX127" fmla="*/ 2189507 w 10789097"/>
              <a:gd name="connsiteY127" fmla="*/ 2880677 h 6857999"/>
              <a:gd name="connsiteX128" fmla="*/ 2191950 w 10789097"/>
              <a:gd name="connsiteY128" fmla="*/ 2886075 h 6857999"/>
              <a:gd name="connsiteX129" fmla="*/ 2195091 w 10789097"/>
              <a:gd name="connsiteY129" fmla="*/ 2891472 h 6857999"/>
              <a:gd name="connsiteX130" fmla="*/ 2198581 w 10789097"/>
              <a:gd name="connsiteY130" fmla="*/ 2896870 h 6857999"/>
              <a:gd name="connsiteX131" fmla="*/ 2202070 w 10789097"/>
              <a:gd name="connsiteY131" fmla="*/ 2901632 h 6857999"/>
              <a:gd name="connsiteX132" fmla="*/ 2206258 w 10789097"/>
              <a:gd name="connsiteY132" fmla="*/ 2906712 h 6857999"/>
              <a:gd name="connsiteX133" fmla="*/ 2210097 w 10789097"/>
              <a:gd name="connsiteY133" fmla="*/ 2911475 h 6857999"/>
              <a:gd name="connsiteX134" fmla="*/ 2214633 w 10789097"/>
              <a:gd name="connsiteY134" fmla="*/ 2916237 h 6857999"/>
              <a:gd name="connsiteX135" fmla="*/ 2938420 w 10789097"/>
              <a:gd name="connsiteY135" fmla="*/ 3639502 h 6857999"/>
              <a:gd name="connsiteX136" fmla="*/ 2942957 w 10789097"/>
              <a:gd name="connsiteY136" fmla="*/ 3643947 h 6857999"/>
              <a:gd name="connsiteX137" fmla="*/ 2947145 w 10789097"/>
              <a:gd name="connsiteY137" fmla="*/ 3648710 h 6857999"/>
              <a:gd name="connsiteX138" fmla="*/ 2950984 w 10789097"/>
              <a:gd name="connsiteY138" fmla="*/ 3653790 h 6857999"/>
              <a:gd name="connsiteX139" fmla="*/ 2954473 w 10789097"/>
              <a:gd name="connsiteY139" fmla="*/ 3658870 h 6857999"/>
              <a:gd name="connsiteX140" fmla="*/ 2957614 w 10789097"/>
              <a:gd name="connsiteY140" fmla="*/ 3664267 h 6857999"/>
              <a:gd name="connsiteX141" fmla="*/ 2960755 w 10789097"/>
              <a:gd name="connsiteY141" fmla="*/ 3669347 h 6857999"/>
              <a:gd name="connsiteX142" fmla="*/ 2963547 w 10789097"/>
              <a:gd name="connsiteY142" fmla="*/ 3675062 h 6857999"/>
              <a:gd name="connsiteX143" fmla="*/ 2965641 w 10789097"/>
              <a:gd name="connsiteY143" fmla="*/ 3680460 h 6857999"/>
              <a:gd name="connsiteX144" fmla="*/ 2968084 w 10789097"/>
              <a:gd name="connsiteY144" fmla="*/ 3686175 h 6857999"/>
              <a:gd name="connsiteX145" fmla="*/ 2969829 w 10789097"/>
              <a:gd name="connsiteY145" fmla="*/ 3691890 h 6857999"/>
              <a:gd name="connsiteX146" fmla="*/ 2971224 w 10789097"/>
              <a:gd name="connsiteY146" fmla="*/ 3697605 h 6857999"/>
              <a:gd name="connsiteX147" fmla="*/ 2972620 w 10789097"/>
              <a:gd name="connsiteY147" fmla="*/ 3703637 h 6857999"/>
              <a:gd name="connsiteX148" fmla="*/ 2973667 w 10789097"/>
              <a:gd name="connsiteY148" fmla="*/ 3709670 h 6857999"/>
              <a:gd name="connsiteX149" fmla="*/ 2974365 w 10789097"/>
              <a:gd name="connsiteY149" fmla="*/ 3715385 h 6857999"/>
              <a:gd name="connsiteX150" fmla="*/ 2974714 w 10789097"/>
              <a:gd name="connsiteY150" fmla="*/ 3721417 h 6857999"/>
              <a:gd name="connsiteX151" fmla="*/ 2975063 w 10789097"/>
              <a:gd name="connsiteY151" fmla="*/ 3727450 h 6857999"/>
              <a:gd name="connsiteX152" fmla="*/ 2974714 w 10789097"/>
              <a:gd name="connsiteY152" fmla="*/ 3733165 h 6857999"/>
              <a:gd name="connsiteX153" fmla="*/ 2974365 w 10789097"/>
              <a:gd name="connsiteY153" fmla="*/ 3739197 h 6857999"/>
              <a:gd name="connsiteX154" fmla="*/ 2973667 w 10789097"/>
              <a:gd name="connsiteY154" fmla="*/ 3745230 h 6857999"/>
              <a:gd name="connsiteX155" fmla="*/ 2972620 w 10789097"/>
              <a:gd name="connsiteY155" fmla="*/ 3750945 h 6857999"/>
              <a:gd name="connsiteX156" fmla="*/ 2971224 w 10789097"/>
              <a:gd name="connsiteY156" fmla="*/ 3756977 h 6857999"/>
              <a:gd name="connsiteX157" fmla="*/ 2969829 w 10789097"/>
              <a:gd name="connsiteY157" fmla="*/ 3763010 h 6857999"/>
              <a:gd name="connsiteX158" fmla="*/ 2968084 w 10789097"/>
              <a:gd name="connsiteY158" fmla="*/ 3768407 h 6857999"/>
              <a:gd name="connsiteX159" fmla="*/ 2965641 w 10789097"/>
              <a:gd name="connsiteY159" fmla="*/ 3774122 h 6857999"/>
              <a:gd name="connsiteX160" fmla="*/ 2963547 w 10789097"/>
              <a:gd name="connsiteY160" fmla="*/ 3779837 h 6857999"/>
              <a:gd name="connsiteX161" fmla="*/ 2960755 w 10789097"/>
              <a:gd name="connsiteY161" fmla="*/ 3785235 h 6857999"/>
              <a:gd name="connsiteX162" fmla="*/ 2957614 w 10789097"/>
              <a:gd name="connsiteY162" fmla="*/ 3790632 h 6857999"/>
              <a:gd name="connsiteX163" fmla="*/ 2954473 w 10789097"/>
              <a:gd name="connsiteY163" fmla="*/ 3795712 h 6857999"/>
              <a:gd name="connsiteX164" fmla="*/ 2950984 w 10789097"/>
              <a:gd name="connsiteY164" fmla="*/ 3801110 h 6857999"/>
              <a:gd name="connsiteX165" fmla="*/ 2947145 w 10789097"/>
              <a:gd name="connsiteY165" fmla="*/ 3805872 h 6857999"/>
              <a:gd name="connsiteX166" fmla="*/ 2942957 w 10789097"/>
              <a:gd name="connsiteY166" fmla="*/ 3810635 h 6857999"/>
              <a:gd name="connsiteX167" fmla="*/ 2938420 w 10789097"/>
              <a:gd name="connsiteY167" fmla="*/ 3815397 h 6857999"/>
              <a:gd name="connsiteX168" fmla="*/ 2933884 w 10789097"/>
              <a:gd name="connsiteY168" fmla="*/ 3819842 h 6857999"/>
              <a:gd name="connsiteX169" fmla="*/ 2928998 w 10789097"/>
              <a:gd name="connsiteY169" fmla="*/ 3823970 h 6857999"/>
              <a:gd name="connsiteX170" fmla="*/ 2924112 w 10789097"/>
              <a:gd name="connsiteY170" fmla="*/ 3827780 h 6857999"/>
              <a:gd name="connsiteX171" fmla="*/ 2918877 w 10789097"/>
              <a:gd name="connsiteY171" fmla="*/ 3831272 h 6857999"/>
              <a:gd name="connsiteX172" fmla="*/ 2913643 w 10789097"/>
              <a:gd name="connsiteY172" fmla="*/ 3834447 h 6857999"/>
              <a:gd name="connsiteX173" fmla="*/ 2908408 w 10789097"/>
              <a:gd name="connsiteY173" fmla="*/ 3837622 h 6857999"/>
              <a:gd name="connsiteX174" fmla="*/ 2902824 w 10789097"/>
              <a:gd name="connsiteY174" fmla="*/ 3840480 h 6857999"/>
              <a:gd name="connsiteX175" fmla="*/ 2897240 w 10789097"/>
              <a:gd name="connsiteY175" fmla="*/ 3843020 h 6857999"/>
              <a:gd name="connsiteX176" fmla="*/ 2891657 w 10789097"/>
              <a:gd name="connsiteY176" fmla="*/ 3844925 h 6857999"/>
              <a:gd name="connsiteX177" fmla="*/ 2885724 w 10789097"/>
              <a:gd name="connsiteY177" fmla="*/ 3846830 h 6857999"/>
              <a:gd name="connsiteX178" fmla="*/ 2880140 w 10789097"/>
              <a:gd name="connsiteY178" fmla="*/ 3848417 h 6857999"/>
              <a:gd name="connsiteX179" fmla="*/ 2874208 w 10789097"/>
              <a:gd name="connsiteY179" fmla="*/ 3849370 h 6857999"/>
              <a:gd name="connsiteX180" fmla="*/ 2868275 w 10789097"/>
              <a:gd name="connsiteY180" fmla="*/ 3850640 h 6857999"/>
              <a:gd name="connsiteX181" fmla="*/ 2862342 w 10789097"/>
              <a:gd name="connsiteY181" fmla="*/ 3851275 h 6857999"/>
              <a:gd name="connsiteX182" fmla="*/ 2856410 w 10789097"/>
              <a:gd name="connsiteY182" fmla="*/ 3851592 h 6857999"/>
              <a:gd name="connsiteX183" fmla="*/ 2850477 w 10789097"/>
              <a:gd name="connsiteY183" fmla="*/ 3851910 h 6857999"/>
              <a:gd name="connsiteX184" fmla="*/ 2844544 w 10789097"/>
              <a:gd name="connsiteY184" fmla="*/ 3851592 h 6857999"/>
              <a:gd name="connsiteX185" fmla="*/ 2838612 w 10789097"/>
              <a:gd name="connsiteY185" fmla="*/ 3851275 h 6857999"/>
              <a:gd name="connsiteX186" fmla="*/ 2832679 w 10789097"/>
              <a:gd name="connsiteY186" fmla="*/ 3850640 h 6857999"/>
              <a:gd name="connsiteX187" fmla="*/ 2826746 w 10789097"/>
              <a:gd name="connsiteY187" fmla="*/ 3849370 h 6857999"/>
              <a:gd name="connsiteX188" fmla="*/ 2820814 w 10789097"/>
              <a:gd name="connsiteY188" fmla="*/ 3848417 h 6857999"/>
              <a:gd name="connsiteX189" fmla="*/ 2814881 w 10789097"/>
              <a:gd name="connsiteY189" fmla="*/ 3846830 h 6857999"/>
              <a:gd name="connsiteX190" fmla="*/ 2809297 w 10789097"/>
              <a:gd name="connsiteY190" fmla="*/ 3844925 h 6857999"/>
              <a:gd name="connsiteX191" fmla="*/ 2803714 w 10789097"/>
              <a:gd name="connsiteY191" fmla="*/ 3843020 h 6857999"/>
              <a:gd name="connsiteX192" fmla="*/ 2798130 w 10789097"/>
              <a:gd name="connsiteY192" fmla="*/ 3840480 h 6857999"/>
              <a:gd name="connsiteX193" fmla="*/ 2792546 w 10789097"/>
              <a:gd name="connsiteY193" fmla="*/ 3837622 h 6857999"/>
              <a:gd name="connsiteX194" fmla="*/ 2787311 w 10789097"/>
              <a:gd name="connsiteY194" fmla="*/ 3834447 h 6857999"/>
              <a:gd name="connsiteX195" fmla="*/ 2782077 w 10789097"/>
              <a:gd name="connsiteY195" fmla="*/ 3831272 h 6857999"/>
              <a:gd name="connsiteX196" fmla="*/ 2776842 w 10789097"/>
              <a:gd name="connsiteY196" fmla="*/ 3827780 h 6857999"/>
              <a:gd name="connsiteX197" fmla="*/ 2771956 w 10789097"/>
              <a:gd name="connsiteY197" fmla="*/ 3823970 h 6857999"/>
              <a:gd name="connsiteX198" fmla="*/ 2767071 w 10789097"/>
              <a:gd name="connsiteY198" fmla="*/ 3819842 h 6857999"/>
              <a:gd name="connsiteX199" fmla="*/ 2762534 w 10789097"/>
              <a:gd name="connsiteY199" fmla="*/ 3815397 h 6857999"/>
              <a:gd name="connsiteX200" fmla="*/ 2666564 w 10789097"/>
              <a:gd name="connsiteY200" fmla="*/ 3720147 h 6857999"/>
              <a:gd name="connsiteX201" fmla="*/ 2559078 w 10789097"/>
              <a:gd name="connsiteY201" fmla="*/ 3612515 h 6857999"/>
              <a:gd name="connsiteX202" fmla="*/ 2554541 w 10789097"/>
              <a:gd name="connsiteY202" fmla="*/ 3608070 h 6857999"/>
              <a:gd name="connsiteX203" fmla="*/ 2549655 w 10789097"/>
              <a:gd name="connsiteY203" fmla="*/ 3604260 h 6857999"/>
              <a:gd name="connsiteX204" fmla="*/ 2544770 w 10789097"/>
              <a:gd name="connsiteY204" fmla="*/ 3600132 h 6857999"/>
              <a:gd name="connsiteX205" fmla="*/ 2539535 w 10789097"/>
              <a:gd name="connsiteY205" fmla="*/ 3596640 h 6857999"/>
              <a:gd name="connsiteX206" fmla="*/ 2534300 w 10789097"/>
              <a:gd name="connsiteY206" fmla="*/ 3593465 h 6857999"/>
              <a:gd name="connsiteX207" fmla="*/ 2529066 w 10789097"/>
              <a:gd name="connsiteY207" fmla="*/ 3590290 h 6857999"/>
              <a:gd name="connsiteX208" fmla="*/ 2523482 w 10789097"/>
              <a:gd name="connsiteY208" fmla="*/ 3587750 h 6857999"/>
              <a:gd name="connsiteX209" fmla="*/ 2517898 w 10789097"/>
              <a:gd name="connsiteY209" fmla="*/ 3585210 h 6857999"/>
              <a:gd name="connsiteX210" fmla="*/ 2512314 w 10789097"/>
              <a:gd name="connsiteY210" fmla="*/ 3583305 h 6857999"/>
              <a:gd name="connsiteX211" fmla="*/ 2506731 w 10789097"/>
              <a:gd name="connsiteY211" fmla="*/ 3581082 h 6857999"/>
              <a:gd name="connsiteX212" fmla="*/ 2500798 w 10789097"/>
              <a:gd name="connsiteY212" fmla="*/ 3579812 h 6857999"/>
              <a:gd name="connsiteX213" fmla="*/ 2494865 w 10789097"/>
              <a:gd name="connsiteY213" fmla="*/ 3578225 h 6857999"/>
              <a:gd name="connsiteX214" fmla="*/ 2488933 w 10789097"/>
              <a:gd name="connsiteY214" fmla="*/ 3577272 h 6857999"/>
              <a:gd name="connsiteX215" fmla="*/ 2483000 w 10789097"/>
              <a:gd name="connsiteY215" fmla="*/ 3576637 h 6857999"/>
              <a:gd name="connsiteX216" fmla="*/ 2476718 w 10789097"/>
              <a:gd name="connsiteY216" fmla="*/ 3576320 h 6857999"/>
              <a:gd name="connsiteX217" fmla="*/ 2470786 w 10789097"/>
              <a:gd name="connsiteY217" fmla="*/ 3576320 h 6857999"/>
              <a:gd name="connsiteX218" fmla="*/ 2464853 w 10789097"/>
              <a:gd name="connsiteY218" fmla="*/ 3576320 h 6857999"/>
              <a:gd name="connsiteX219" fmla="*/ 2458920 w 10789097"/>
              <a:gd name="connsiteY219" fmla="*/ 3576637 h 6857999"/>
              <a:gd name="connsiteX220" fmla="*/ 2452988 w 10789097"/>
              <a:gd name="connsiteY220" fmla="*/ 3577272 h 6857999"/>
              <a:gd name="connsiteX221" fmla="*/ 2447055 w 10789097"/>
              <a:gd name="connsiteY221" fmla="*/ 3578225 h 6857999"/>
              <a:gd name="connsiteX222" fmla="*/ 2441122 w 10789097"/>
              <a:gd name="connsiteY222" fmla="*/ 3579812 h 6857999"/>
              <a:gd name="connsiteX223" fmla="*/ 2435190 w 10789097"/>
              <a:gd name="connsiteY223" fmla="*/ 3581082 h 6857999"/>
              <a:gd name="connsiteX224" fmla="*/ 2429606 w 10789097"/>
              <a:gd name="connsiteY224" fmla="*/ 3583305 h 6857999"/>
              <a:gd name="connsiteX225" fmla="*/ 2424022 w 10789097"/>
              <a:gd name="connsiteY225" fmla="*/ 3585210 h 6857999"/>
              <a:gd name="connsiteX226" fmla="*/ 2418439 w 10789097"/>
              <a:gd name="connsiteY226" fmla="*/ 3587750 h 6857999"/>
              <a:gd name="connsiteX227" fmla="*/ 2412855 w 10789097"/>
              <a:gd name="connsiteY227" fmla="*/ 3590290 h 6857999"/>
              <a:gd name="connsiteX228" fmla="*/ 2407620 w 10789097"/>
              <a:gd name="connsiteY228" fmla="*/ 3593465 h 6857999"/>
              <a:gd name="connsiteX229" fmla="*/ 2402385 w 10789097"/>
              <a:gd name="connsiteY229" fmla="*/ 3596640 h 6857999"/>
              <a:gd name="connsiteX230" fmla="*/ 2397151 w 10789097"/>
              <a:gd name="connsiteY230" fmla="*/ 3600450 h 6857999"/>
              <a:gd name="connsiteX231" fmla="*/ 2392265 w 10789097"/>
              <a:gd name="connsiteY231" fmla="*/ 3604260 h 6857999"/>
              <a:gd name="connsiteX232" fmla="*/ 2387379 w 10789097"/>
              <a:gd name="connsiteY232" fmla="*/ 3608070 h 6857999"/>
              <a:gd name="connsiteX233" fmla="*/ 2382842 w 10789097"/>
              <a:gd name="connsiteY233" fmla="*/ 3612515 h 6857999"/>
              <a:gd name="connsiteX234" fmla="*/ 2379003 w 10789097"/>
              <a:gd name="connsiteY234" fmla="*/ 3616325 h 6857999"/>
              <a:gd name="connsiteX235" fmla="*/ 2375863 w 10789097"/>
              <a:gd name="connsiteY235" fmla="*/ 3620135 h 6857999"/>
              <a:gd name="connsiteX236" fmla="*/ 2369581 w 10789097"/>
              <a:gd name="connsiteY236" fmla="*/ 3628390 h 6857999"/>
              <a:gd name="connsiteX237" fmla="*/ 2363997 w 10789097"/>
              <a:gd name="connsiteY237" fmla="*/ 3636327 h 6857999"/>
              <a:gd name="connsiteX238" fmla="*/ 2359461 w 10789097"/>
              <a:gd name="connsiteY238" fmla="*/ 3644900 h 6857999"/>
              <a:gd name="connsiteX239" fmla="*/ 2355273 w 10789097"/>
              <a:gd name="connsiteY239" fmla="*/ 3654107 h 6857999"/>
              <a:gd name="connsiteX240" fmla="*/ 2352132 w 10789097"/>
              <a:gd name="connsiteY240" fmla="*/ 3663315 h 6857999"/>
              <a:gd name="connsiteX241" fmla="*/ 2349689 w 10789097"/>
              <a:gd name="connsiteY241" fmla="*/ 3672522 h 6857999"/>
              <a:gd name="connsiteX242" fmla="*/ 2347944 w 10789097"/>
              <a:gd name="connsiteY242" fmla="*/ 3682047 h 6857999"/>
              <a:gd name="connsiteX243" fmla="*/ 2346897 w 10789097"/>
              <a:gd name="connsiteY243" fmla="*/ 3691572 h 6857999"/>
              <a:gd name="connsiteX244" fmla="*/ 2346548 w 10789097"/>
              <a:gd name="connsiteY244" fmla="*/ 3701097 h 6857999"/>
              <a:gd name="connsiteX245" fmla="*/ 2347246 w 10789097"/>
              <a:gd name="connsiteY245" fmla="*/ 3710622 h 6857999"/>
              <a:gd name="connsiteX246" fmla="*/ 2348293 w 10789097"/>
              <a:gd name="connsiteY246" fmla="*/ 3720465 h 6857999"/>
              <a:gd name="connsiteX247" fmla="*/ 2350387 w 10789097"/>
              <a:gd name="connsiteY247" fmla="*/ 3729672 h 6857999"/>
              <a:gd name="connsiteX248" fmla="*/ 2352830 w 10789097"/>
              <a:gd name="connsiteY248" fmla="*/ 3739197 h 6857999"/>
              <a:gd name="connsiteX249" fmla="*/ 2356320 w 10789097"/>
              <a:gd name="connsiteY249" fmla="*/ 3748405 h 6857999"/>
              <a:gd name="connsiteX250" fmla="*/ 2360507 w 10789097"/>
              <a:gd name="connsiteY250" fmla="*/ 3756977 h 6857999"/>
              <a:gd name="connsiteX251" fmla="*/ 2651907 w 10789097"/>
              <a:gd name="connsiteY251" fmla="*/ 4048442 h 6857999"/>
              <a:gd name="connsiteX252" fmla="*/ 2656444 w 10789097"/>
              <a:gd name="connsiteY252" fmla="*/ 4052887 h 6857999"/>
              <a:gd name="connsiteX253" fmla="*/ 2660631 w 10789097"/>
              <a:gd name="connsiteY253" fmla="*/ 4057967 h 6857999"/>
              <a:gd name="connsiteX254" fmla="*/ 2664470 w 10789097"/>
              <a:gd name="connsiteY254" fmla="*/ 4062730 h 6857999"/>
              <a:gd name="connsiteX255" fmla="*/ 2667960 w 10789097"/>
              <a:gd name="connsiteY255" fmla="*/ 4067810 h 6857999"/>
              <a:gd name="connsiteX256" fmla="*/ 2671101 w 10789097"/>
              <a:gd name="connsiteY256" fmla="*/ 4073207 h 6857999"/>
              <a:gd name="connsiteX257" fmla="*/ 2674242 w 10789097"/>
              <a:gd name="connsiteY257" fmla="*/ 4078287 h 6857999"/>
              <a:gd name="connsiteX258" fmla="*/ 2677033 w 10789097"/>
              <a:gd name="connsiteY258" fmla="*/ 4084002 h 6857999"/>
              <a:gd name="connsiteX259" fmla="*/ 2679476 w 10789097"/>
              <a:gd name="connsiteY259" fmla="*/ 4089717 h 6857999"/>
              <a:gd name="connsiteX260" fmla="*/ 2681570 w 10789097"/>
              <a:gd name="connsiteY260" fmla="*/ 4095115 h 6857999"/>
              <a:gd name="connsiteX261" fmla="*/ 2683315 w 10789097"/>
              <a:gd name="connsiteY261" fmla="*/ 4100830 h 6857999"/>
              <a:gd name="connsiteX262" fmla="*/ 2684711 w 10789097"/>
              <a:gd name="connsiteY262" fmla="*/ 4106862 h 6857999"/>
              <a:gd name="connsiteX263" fmla="*/ 2686107 w 10789097"/>
              <a:gd name="connsiteY263" fmla="*/ 4112577 h 6857999"/>
              <a:gd name="connsiteX264" fmla="*/ 2687154 w 10789097"/>
              <a:gd name="connsiteY264" fmla="*/ 4118610 h 6857999"/>
              <a:gd name="connsiteX265" fmla="*/ 2687852 w 10789097"/>
              <a:gd name="connsiteY265" fmla="*/ 4124642 h 6857999"/>
              <a:gd name="connsiteX266" fmla="*/ 2688201 w 10789097"/>
              <a:gd name="connsiteY266" fmla="*/ 4130357 h 6857999"/>
              <a:gd name="connsiteX267" fmla="*/ 2688550 w 10789097"/>
              <a:gd name="connsiteY267" fmla="*/ 4136390 h 6857999"/>
              <a:gd name="connsiteX268" fmla="*/ 2688201 w 10789097"/>
              <a:gd name="connsiteY268" fmla="*/ 4142422 h 6857999"/>
              <a:gd name="connsiteX269" fmla="*/ 2687852 w 10789097"/>
              <a:gd name="connsiteY269" fmla="*/ 4148137 h 6857999"/>
              <a:gd name="connsiteX270" fmla="*/ 2687154 w 10789097"/>
              <a:gd name="connsiteY270" fmla="*/ 4154170 h 6857999"/>
              <a:gd name="connsiteX271" fmla="*/ 2686107 w 10789097"/>
              <a:gd name="connsiteY271" fmla="*/ 4160202 h 6857999"/>
              <a:gd name="connsiteX272" fmla="*/ 2684711 w 10789097"/>
              <a:gd name="connsiteY272" fmla="*/ 4165917 h 6857999"/>
              <a:gd name="connsiteX273" fmla="*/ 2683315 w 10789097"/>
              <a:gd name="connsiteY273" fmla="*/ 4171632 h 6857999"/>
              <a:gd name="connsiteX274" fmla="*/ 2681570 w 10789097"/>
              <a:gd name="connsiteY274" fmla="*/ 4177665 h 6857999"/>
              <a:gd name="connsiteX275" fmla="*/ 2679476 w 10789097"/>
              <a:gd name="connsiteY275" fmla="*/ 4183062 h 6857999"/>
              <a:gd name="connsiteX276" fmla="*/ 2677033 w 10789097"/>
              <a:gd name="connsiteY276" fmla="*/ 4188777 h 6857999"/>
              <a:gd name="connsiteX277" fmla="*/ 2674242 w 10789097"/>
              <a:gd name="connsiteY277" fmla="*/ 4194175 h 6857999"/>
              <a:gd name="connsiteX278" fmla="*/ 2671101 w 10789097"/>
              <a:gd name="connsiteY278" fmla="*/ 4199572 h 6857999"/>
              <a:gd name="connsiteX279" fmla="*/ 2667960 w 10789097"/>
              <a:gd name="connsiteY279" fmla="*/ 4204652 h 6857999"/>
              <a:gd name="connsiteX280" fmla="*/ 2664470 w 10789097"/>
              <a:gd name="connsiteY280" fmla="*/ 4210050 h 6857999"/>
              <a:gd name="connsiteX281" fmla="*/ 2660631 w 10789097"/>
              <a:gd name="connsiteY281" fmla="*/ 4214812 h 6857999"/>
              <a:gd name="connsiteX282" fmla="*/ 2656444 w 10789097"/>
              <a:gd name="connsiteY282" fmla="*/ 4219892 h 6857999"/>
              <a:gd name="connsiteX283" fmla="*/ 2651907 w 10789097"/>
              <a:gd name="connsiteY283" fmla="*/ 4224337 h 6857999"/>
              <a:gd name="connsiteX284" fmla="*/ 2647370 w 10789097"/>
              <a:gd name="connsiteY284" fmla="*/ 4228782 h 6857999"/>
              <a:gd name="connsiteX285" fmla="*/ 2642484 w 10789097"/>
              <a:gd name="connsiteY285" fmla="*/ 4232592 h 6857999"/>
              <a:gd name="connsiteX286" fmla="*/ 2637599 w 10789097"/>
              <a:gd name="connsiteY286" fmla="*/ 4236402 h 6857999"/>
              <a:gd name="connsiteX287" fmla="*/ 2632713 w 10789097"/>
              <a:gd name="connsiteY287" fmla="*/ 4239895 h 6857999"/>
              <a:gd name="connsiteX288" fmla="*/ 2627478 w 10789097"/>
              <a:gd name="connsiteY288" fmla="*/ 4243387 h 6857999"/>
              <a:gd name="connsiteX289" fmla="*/ 2622243 w 10789097"/>
              <a:gd name="connsiteY289" fmla="*/ 4246245 h 6857999"/>
              <a:gd name="connsiteX290" fmla="*/ 2616660 w 10789097"/>
              <a:gd name="connsiteY290" fmla="*/ 4249102 h 6857999"/>
              <a:gd name="connsiteX291" fmla="*/ 2611425 w 10789097"/>
              <a:gd name="connsiteY291" fmla="*/ 4251642 h 6857999"/>
              <a:gd name="connsiteX292" fmla="*/ 2605841 w 10789097"/>
              <a:gd name="connsiteY292" fmla="*/ 4253547 h 6857999"/>
              <a:gd name="connsiteX293" fmla="*/ 2599909 w 10789097"/>
              <a:gd name="connsiteY293" fmla="*/ 4255452 h 6857999"/>
              <a:gd name="connsiteX294" fmla="*/ 2594325 w 10789097"/>
              <a:gd name="connsiteY294" fmla="*/ 4257040 h 6857999"/>
              <a:gd name="connsiteX295" fmla="*/ 2588392 w 10789097"/>
              <a:gd name="connsiteY295" fmla="*/ 4258627 h 6857999"/>
              <a:gd name="connsiteX296" fmla="*/ 2582809 w 10789097"/>
              <a:gd name="connsiteY296" fmla="*/ 4259262 h 6857999"/>
              <a:gd name="connsiteX297" fmla="*/ 2576876 w 10789097"/>
              <a:gd name="connsiteY297" fmla="*/ 4260215 h 6857999"/>
              <a:gd name="connsiteX298" fmla="*/ 2570943 w 10789097"/>
              <a:gd name="connsiteY298" fmla="*/ 4260532 h 6857999"/>
              <a:gd name="connsiteX299" fmla="*/ 2565011 w 10789097"/>
              <a:gd name="connsiteY299" fmla="*/ 4260532 h 6857999"/>
              <a:gd name="connsiteX300" fmla="*/ 5169805 w 10789097"/>
              <a:gd name="connsiteY300" fmla="*/ 6857999 h 6857999"/>
              <a:gd name="connsiteX301" fmla="*/ 10789097 w 10789097"/>
              <a:gd name="connsiteY301" fmla="*/ 6857999 h 6857999"/>
              <a:gd name="connsiteX302" fmla="*/ 10789097 w 10789097"/>
              <a:gd name="connsiteY302" fmla="*/ 0 h 6857999"/>
              <a:gd name="connsiteX0" fmla="*/ 10789097 w 10789097"/>
              <a:gd name="connsiteY0" fmla="*/ 0 h 6857999"/>
              <a:gd name="connsiteX1" fmla="*/ 240539 w 10789097"/>
              <a:gd name="connsiteY1" fmla="*/ 0 h 6857999"/>
              <a:gd name="connsiteX2" fmla="*/ 0 w 10789097"/>
              <a:gd name="connsiteY2" fmla="*/ 0 h 6857999"/>
              <a:gd name="connsiteX3" fmla="*/ 34549 w 10789097"/>
              <a:gd name="connsiteY3" fmla="*/ 34608 h 6857999"/>
              <a:gd name="connsiteX4" fmla="*/ 2681221 w 10789097"/>
              <a:gd name="connsiteY4" fmla="*/ 2678112 h 6857999"/>
              <a:gd name="connsiteX5" fmla="*/ 2685758 w 10789097"/>
              <a:gd name="connsiteY5" fmla="*/ 2682875 h 6857999"/>
              <a:gd name="connsiteX6" fmla="*/ 2689946 w 10789097"/>
              <a:gd name="connsiteY6" fmla="*/ 2687320 h 6857999"/>
              <a:gd name="connsiteX7" fmla="*/ 2693785 w 10789097"/>
              <a:gd name="connsiteY7" fmla="*/ 2692717 h 6857999"/>
              <a:gd name="connsiteX8" fmla="*/ 2697274 w 10789097"/>
              <a:gd name="connsiteY8" fmla="*/ 2697480 h 6857999"/>
              <a:gd name="connsiteX9" fmla="*/ 2700415 w 10789097"/>
              <a:gd name="connsiteY9" fmla="*/ 2702877 h 6857999"/>
              <a:gd name="connsiteX10" fmla="*/ 2703556 w 10789097"/>
              <a:gd name="connsiteY10" fmla="*/ 2708275 h 6857999"/>
              <a:gd name="connsiteX11" fmla="*/ 2706348 w 10789097"/>
              <a:gd name="connsiteY11" fmla="*/ 2713672 h 6857999"/>
              <a:gd name="connsiteX12" fmla="*/ 2708791 w 10789097"/>
              <a:gd name="connsiteY12" fmla="*/ 2719070 h 6857999"/>
              <a:gd name="connsiteX13" fmla="*/ 2710885 w 10789097"/>
              <a:gd name="connsiteY13" fmla="*/ 2725102 h 6857999"/>
              <a:gd name="connsiteX14" fmla="*/ 2712630 w 10789097"/>
              <a:gd name="connsiteY14" fmla="*/ 2730817 h 6857999"/>
              <a:gd name="connsiteX15" fmla="*/ 2714025 w 10789097"/>
              <a:gd name="connsiteY15" fmla="*/ 2736532 h 6857999"/>
              <a:gd name="connsiteX16" fmla="*/ 2715421 w 10789097"/>
              <a:gd name="connsiteY16" fmla="*/ 2742565 h 6857999"/>
              <a:gd name="connsiteX17" fmla="*/ 2716468 w 10789097"/>
              <a:gd name="connsiteY17" fmla="*/ 2748280 h 6857999"/>
              <a:gd name="connsiteX18" fmla="*/ 2717166 w 10789097"/>
              <a:gd name="connsiteY18" fmla="*/ 2753995 h 6857999"/>
              <a:gd name="connsiteX19" fmla="*/ 2717515 w 10789097"/>
              <a:gd name="connsiteY19" fmla="*/ 2760345 h 6857999"/>
              <a:gd name="connsiteX20" fmla="*/ 2717864 w 10789097"/>
              <a:gd name="connsiteY20" fmla="*/ 2766377 h 6857999"/>
              <a:gd name="connsiteX21" fmla="*/ 2717515 w 10789097"/>
              <a:gd name="connsiteY21" fmla="*/ 2772092 h 6857999"/>
              <a:gd name="connsiteX22" fmla="*/ 2717166 w 10789097"/>
              <a:gd name="connsiteY22" fmla="*/ 2778125 h 6857999"/>
              <a:gd name="connsiteX23" fmla="*/ 2716468 w 10789097"/>
              <a:gd name="connsiteY23" fmla="*/ 2784157 h 6857999"/>
              <a:gd name="connsiteX24" fmla="*/ 2715421 w 10789097"/>
              <a:gd name="connsiteY24" fmla="*/ 2790190 h 6857999"/>
              <a:gd name="connsiteX25" fmla="*/ 2714025 w 10789097"/>
              <a:gd name="connsiteY25" fmla="*/ 2795905 h 6857999"/>
              <a:gd name="connsiteX26" fmla="*/ 2712630 w 10789097"/>
              <a:gd name="connsiteY26" fmla="*/ 2801620 h 6857999"/>
              <a:gd name="connsiteX27" fmla="*/ 2710885 w 10789097"/>
              <a:gd name="connsiteY27" fmla="*/ 2807335 h 6857999"/>
              <a:gd name="connsiteX28" fmla="*/ 2708791 w 10789097"/>
              <a:gd name="connsiteY28" fmla="*/ 2813050 h 6857999"/>
              <a:gd name="connsiteX29" fmla="*/ 2706348 w 10789097"/>
              <a:gd name="connsiteY29" fmla="*/ 2818765 h 6857999"/>
              <a:gd name="connsiteX30" fmla="*/ 2703556 w 10789097"/>
              <a:gd name="connsiteY30" fmla="*/ 2824162 h 6857999"/>
              <a:gd name="connsiteX31" fmla="*/ 2700415 w 10789097"/>
              <a:gd name="connsiteY31" fmla="*/ 2829560 h 6857999"/>
              <a:gd name="connsiteX32" fmla="*/ 2697274 w 10789097"/>
              <a:gd name="connsiteY32" fmla="*/ 2834640 h 6857999"/>
              <a:gd name="connsiteX33" fmla="*/ 2693785 w 10789097"/>
              <a:gd name="connsiteY33" fmla="*/ 2840037 h 6857999"/>
              <a:gd name="connsiteX34" fmla="*/ 2689946 w 10789097"/>
              <a:gd name="connsiteY34" fmla="*/ 2844800 h 6857999"/>
              <a:gd name="connsiteX35" fmla="*/ 2685758 w 10789097"/>
              <a:gd name="connsiteY35" fmla="*/ 2849562 h 6857999"/>
              <a:gd name="connsiteX36" fmla="*/ 2681221 w 10789097"/>
              <a:gd name="connsiteY36" fmla="*/ 2854325 h 6857999"/>
              <a:gd name="connsiteX37" fmla="*/ 2676684 w 10789097"/>
              <a:gd name="connsiteY37" fmla="*/ 2858770 h 6857999"/>
              <a:gd name="connsiteX38" fmla="*/ 2671799 w 10789097"/>
              <a:gd name="connsiteY38" fmla="*/ 2862580 h 6857999"/>
              <a:gd name="connsiteX39" fmla="*/ 2666913 w 10789097"/>
              <a:gd name="connsiteY39" fmla="*/ 2866390 h 6857999"/>
              <a:gd name="connsiteX40" fmla="*/ 2661678 w 10789097"/>
              <a:gd name="connsiteY40" fmla="*/ 2870200 h 6857999"/>
              <a:gd name="connsiteX41" fmla="*/ 2656444 w 10789097"/>
              <a:gd name="connsiteY41" fmla="*/ 2873375 h 6857999"/>
              <a:gd name="connsiteX42" fmla="*/ 2651209 w 10789097"/>
              <a:gd name="connsiteY42" fmla="*/ 2876550 h 6857999"/>
              <a:gd name="connsiteX43" fmla="*/ 2645625 w 10789097"/>
              <a:gd name="connsiteY43" fmla="*/ 2879090 h 6857999"/>
              <a:gd name="connsiteX44" fmla="*/ 2640041 w 10789097"/>
              <a:gd name="connsiteY44" fmla="*/ 2881312 h 6857999"/>
              <a:gd name="connsiteX45" fmla="*/ 2634458 w 10789097"/>
              <a:gd name="connsiteY45" fmla="*/ 2883535 h 6857999"/>
              <a:gd name="connsiteX46" fmla="*/ 2628525 w 10789097"/>
              <a:gd name="connsiteY46" fmla="*/ 2885757 h 6857999"/>
              <a:gd name="connsiteX47" fmla="*/ 2622941 w 10789097"/>
              <a:gd name="connsiteY47" fmla="*/ 2887027 h 6857999"/>
              <a:gd name="connsiteX48" fmla="*/ 2617009 w 10789097"/>
              <a:gd name="connsiteY48" fmla="*/ 2888297 h 6857999"/>
              <a:gd name="connsiteX49" fmla="*/ 2611076 w 10789097"/>
              <a:gd name="connsiteY49" fmla="*/ 2889567 h 6857999"/>
              <a:gd name="connsiteX50" fmla="*/ 2605143 w 10789097"/>
              <a:gd name="connsiteY50" fmla="*/ 2890202 h 6857999"/>
              <a:gd name="connsiteX51" fmla="*/ 2599211 w 10789097"/>
              <a:gd name="connsiteY51" fmla="*/ 2890520 h 6857999"/>
              <a:gd name="connsiteX52" fmla="*/ 2593278 w 10789097"/>
              <a:gd name="connsiteY52" fmla="*/ 2890520 h 6857999"/>
              <a:gd name="connsiteX53" fmla="*/ 2587345 w 10789097"/>
              <a:gd name="connsiteY53" fmla="*/ 2890520 h 6857999"/>
              <a:gd name="connsiteX54" fmla="*/ 2581413 w 10789097"/>
              <a:gd name="connsiteY54" fmla="*/ 2890202 h 6857999"/>
              <a:gd name="connsiteX55" fmla="*/ 2575480 w 10789097"/>
              <a:gd name="connsiteY55" fmla="*/ 2889567 h 6857999"/>
              <a:gd name="connsiteX56" fmla="*/ 2569547 w 10789097"/>
              <a:gd name="connsiteY56" fmla="*/ 2888297 h 6857999"/>
              <a:gd name="connsiteX57" fmla="*/ 2563615 w 10789097"/>
              <a:gd name="connsiteY57" fmla="*/ 2887027 h 6857999"/>
              <a:gd name="connsiteX58" fmla="*/ 2557682 w 10789097"/>
              <a:gd name="connsiteY58" fmla="*/ 2885757 h 6857999"/>
              <a:gd name="connsiteX59" fmla="*/ 2552098 w 10789097"/>
              <a:gd name="connsiteY59" fmla="*/ 2883535 h 6857999"/>
              <a:gd name="connsiteX60" fmla="*/ 2546515 w 10789097"/>
              <a:gd name="connsiteY60" fmla="*/ 2881312 h 6857999"/>
              <a:gd name="connsiteX61" fmla="*/ 2540931 w 10789097"/>
              <a:gd name="connsiteY61" fmla="*/ 2879090 h 6857999"/>
              <a:gd name="connsiteX62" fmla="*/ 2535347 w 10789097"/>
              <a:gd name="connsiteY62" fmla="*/ 2876550 h 6857999"/>
              <a:gd name="connsiteX63" fmla="*/ 2530112 w 10789097"/>
              <a:gd name="connsiteY63" fmla="*/ 2873375 h 6857999"/>
              <a:gd name="connsiteX64" fmla="*/ 2524878 w 10789097"/>
              <a:gd name="connsiteY64" fmla="*/ 2870200 h 6857999"/>
              <a:gd name="connsiteX65" fmla="*/ 2519643 w 10789097"/>
              <a:gd name="connsiteY65" fmla="*/ 2866390 h 6857999"/>
              <a:gd name="connsiteX66" fmla="*/ 2514757 w 10789097"/>
              <a:gd name="connsiteY66" fmla="*/ 2862580 h 6857999"/>
              <a:gd name="connsiteX67" fmla="*/ 2509872 w 10789097"/>
              <a:gd name="connsiteY67" fmla="*/ 2858770 h 6857999"/>
              <a:gd name="connsiteX68" fmla="*/ 2505335 w 10789097"/>
              <a:gd name="connsiteY68" fmla="*/ 2854325 h 6857999"/>
              <a:gd name="connsiteX69" fmla="*/ 2390869 w 10789097"/>
              <a:gd name="connsiteY69" fmla="*/ 2740025 h 6857999"/>
              <a:gd name="connsiteX70" fmla="*/ 2385983 w 10789097"/>
              <a:gd name="connsiteY70" fmla="*/ 2735580 h 6857999"/>
              <a:gd name="connsiteX71" fmla="*/ 2381097 w 10789097"/>
              <a:gd name="connsiteY71" fmla="*/ 2731452 h 6857999"/>
              <a:gd name="connsiteX72" fmla="*/ 2376212 w 10789097"/>
              <a:gd name="connsiteY72" fmla="*/ 2727642 h 6857999"/>
              <a:gd name="connsiteX73" fmla="*/ 2371326 w 10789097"/>
              <a:gd name="connsiteY73" fmla="*/ 2724150 h 6857999"/>
              <a:gd name="connsiteX74" fmla="*/ 2366091 w 10789097"/>
              <a:gd name="connsiteY74" fmla="*/ 2720975 h 6857999"/>
              <a:gd name="connsiteX75" fmla="*/ 2360507 w 10789097"/>
              <a:gd name="connsiteY75" fmla="*/ 2717800 h 6857999"/>
              <a:gd name="connsiteX76" fmla="*/ 2355273 w 10789097"/>
              <a:gd name="connsiteY76" fmla="*/ 2715260 h 6857999"/>
              <a:gd name="connsiteX77" fmla="*/ 2349689 w 10789097"/>
              <a:gd name="connsiteY77" fmla="*/ 2713037 h 6857999"/>
              <a:gd name="connsiteX78" fmla="*/ 2343757 w 10789097"/>
              <a:gd name="connsiteY78" fmla="*/ 2710497 h 6857999"/>
              <a:gd name="connsiteX79" fmla="*/ 2338173 w 10789097"/>
              <a:gd name="connsiteY79" fmla="*/ 2708592 h 6857999"/>
              <a:gd name="connsiteX80" fmla="*/ 2332240 w 10789097"/>
              <a:gd name="connsiteY80" fmla="*/ 2707322 h 6857999"/>
              <a:gd name="connsiteX81" fmla="*/ 2326307 w 10789097"/>
              <a:gd name="connsiteY81" fmla="*/ 2706052 h 6857999"/>
              <a:gd name="connsiteX82" fmla="*/ 2320724 w 10789097"/>
              <a:gd name="connsiteY82" fmla="*/ 2704782 h 6857999"/>
              <a:gd name="connsiteX83" fmla="*/ 2314442 w 10789097"/>
              <a:gd name="connsiteY83" fmla="*/ 2704147 h 6857999"/>
              <a:gd name="connsiteX84" fmla="*/ 2308509 w 10789097"/>
              <a:gd name="connsiteY84" fmla="*/ 2703830 h 6857999"/>
              <a:gd name="connsiteX85" fmla="*/ 2302577 w 10789097"/>
              <a:gd name="connsiteY85" fmla="*/ 2703512 h 6857999"/>
              <a:gd name="connsiteX86" fmla="*/ 2296644 w 10789097"/>
              <a:gd name="connsiteY86" fmla="*/ 2703830 h 6857999"/>
              <a:gd name="connsiteX87" fmla="*/ 2290711 w 10789097"/>
              <a:gd name="connsiteY87" fmla="*/ 2704147 h 6857999"/>
              <a:gd name="connsiteX88" fmla="*/ 2284779 w 10789097"/>
              <a:gd name="connsiteY88" fmla="*/ 2704782 h 6857999"/>
              <a:gd name="connsiteX89" fmla="*/ 2278846 w 10789097"/>
              <a:gd name="connsiteY89" fmla="*/ 2706052 h 6857999"/>
              <a:gd name="connsiteX90" fmla="*/ 2272913 w 10789097"/>
              <a:gd name="connsiteY90" fmla="*/ 2707322 h 6857999"/>
              <a:gd name="connsiteX91" fmla="*/ 2267330 w 10789097"/>
              <a:gd name="connsiteY91" fmla="*/ 2708592 h 6857999"/>
              <a:gd name="connsiteX92" fmla="*/ 2261397 w 10789097"/>
              <a:gd name="connsiteY92" fmla="*/ 2710497 h 6857999"/>
              <a:gd name="connsiteX93" fmla="*/ 2255813 w 10789097"/>
              <a:gd name="connsiteY93" fmla="*/ 2713037 h 6857999"/>
              <a:gd name="connsiteX94" fmla="*/ 2250229 w 10789097"/>
              <a:gd name="connsiteY94" fmla="*/ 2715260 h 6857999"/>
              <a:gd name="connsiteX95" fmla="*/ 2244646 w 10789097"/>
              <a:gd name="connsiteY95" fmla="*/ 2717800 h 6857999"/>
              <a:gd name="connsiteX96" fmla="*/ 2239411 w 10789097"/>
              <a:gd name="connsiteY96" fmla="*/ 2720975 h 6857999"/>
              <a:gd name="connsiteX97" fmla="*/ 2234177 w 10789097"/>
              <a:gd name="connsiteY97" fmla="*/ 2724150 h 6857999"/>
              <a:gd name="connsiteX98" fmla="*/ 2228942 w 10789097"/>
              <a:gd name="connsiteY98" fmla="*/ 2727642 h 6857999"/>
              <a:gd name="connsiteX99" fmla="*/ 2224056 w 10789097"/>
              <a:gd name="connsiteY99" fmla="*/ 2731452 h 6857999"/>
              <a:gd name="connsiteX100" fmla="*/ 2219170 w 10789097"/>
              <a:gd name="connsiteY100" fmla="*/ 2735580 h 6857999"/>
              <a:gd name="connsiteX101" fmla="*/ 2214633 w 10789097"/>
              <a:gd name="connsiteY101" fmla="*/ 2740025 h 6857999"/>
              <a:gd name="connsiteX102" fmla="*/ 2210097 w 10789097"/>
              <a:gd name="connsiteY102" fmla="*/ 2744787 h 6857999"/>
              <a:gd name="connsiteX103" fmla="*/ 2206258 w 10789097"/>
              <a:gd name="connsiteY103" fmla="*/ 2749550 h 6857999"/>
              <a:gd name="connsiteX104" fmla="*/ 2202070 w 10789097"/>
              <a:gd name="connsiteY104" fmla="*/ 2754312 h 6857999"/>
              <a:gd name="connsiteX105" fmla="*/ 2198581 w 10789097"/>
              <a:gd name="connsiteY105" fmla="*/ 2759710 h 6857999"/>
              <a:gd name="connsiteX106" fmla="*/ 2195091 w 10789097"/>
              <a:gd name="connsiteY106" fmla="*/ 2764790 h 6857999"/>
              <a:gd name="connsiteX107" fmla="*/ 2191950 w 10789097"/>
              <a:gd name="connsiteY107" fmla="*/ 2770187 h 6857999"/>
              <a:gd name="connsiteX108" fmla="*/ 2189507 w 10789097"/>
              <a:gd name="connsiteY108" fmla="*/ 2775585 h 6857999"/>
              <a:gd name="connsiteX109" fmla="*/ 2187064 w 10789097"/>
              <a:gd name="connsiteY109" fmla="*/ 2781300 h 6857999"/>
              <a:gd name="connsiteX110" fmla="*/ 2184621 w 10789097"/>
              <a:gd name="connsiteY110" fmla="*/ 2787015 h 6857999"/>
              <a:gd name="connsiteX111" fmla="*/ 2182876 w 10789097"/>
              <a:gd name="connsiteY111" fmla="*/ 2792730 h 6857999"/>
              <a:gd name="connsiteX112" fmla="*/ 2181480 w 10789097"/>
              <a:gd name="connsiteY112" fmla="*/ 2798445 h 6857999"/>
              <a:gd name="connsiteX113" fmla="*/ 2180085 w 10789097"/>
              <a:gd name="connsiteY113" fmla="*/ 2804477 h 6857999"/>
              <a:gd name="connsiteX114" fmla="*/ 2179037 w 10789097"/>
              <a:gd name="connsiteY114" fmla="*/ 2810192 h 6857999"/>
              <a:gd name="connsiteX115" fmla="*/ 2178339 w 10789097"/>
              <a:gd name="connsiteY115" fmla="*/ 2816225 h 6857999"/>
              <a:gd name="connsiteX116" fmla="*/ 2177991 w 10789097"/>
              <a:gd name="connsiteY116" fmla="*/ 2822257 h 6857999"/>
              <a:gd name="connsiteX117" fmla="*/ 2177641 w 10789097"/>
              <a:gd name="connsiteY117" fmla="*/ 2827972 h 6857999"/>
              <a:gd name="connsiteX118" fmla="*/ 2177991 w 10789097"/>
              <a:gd name="connsiteY118" fmla="*/ 2834005 h 6857999"/>
              <a:gd name="connsiteX119" fmla="*/ 2178339 w 10789097"/>
              <a:gd name="connsiteY119" fmla="*/ 2840037 h 6857999"/>
              <a:gd name="connsiteX120" fmla="*/ 2179037 w 10789097"/>
              <a:gd name="connsiteY120" fmla="*/ 2845752 h 6857999"/>
              <a:gd name="connsiteX121" fmla="*/ 2180085 w 10789097"/>
              <a:gd name="connsiteY121" fmla="*/ 2851785 h 6857999"/>
              <a:gd name="connsiteX122" fmla="*/ 2181480 w 10789097"/>
              <a:gd name="connsiteY122" fmla="*/ 2857817 h 6857999"/>
              <a:gd name="connsiteX123" fmla="*/ 2182876 w 10789097"/>
              <a:gd name="connsiteY123" fmla="*/ 2863532 h 6857999"/>
              <a:gd name="connsiteX124" fmla="*/ 2184621 w 10789097"/>
              <a:gd name="connsiteY124" fmla="*/ 2869247 h 6857999"/>
              <a:gd name="connsiteX125" fmla="*/ 2187064 w 10789097"/>
              <a:gd name="connsiteY125" fmla="*/ 2875280 h 6857999"/>
              <a:gd name="connsiteX126" fmla="*/ 2189507 w 10789097"/>
              <a:gd name="connsiteY126" fmla="*/ 2880677 h 6857999"/>
              <a:gd name="connsiteX127" fmla="*/ 2191950 w 10789097"/>
              <a:gd name="connsiteY127" fmla="*/ 2886075 h 6857999"/>
              <a:gd name="connsiteX128" fmla="*/ 2195091 w 10789097"/>
              <a:gd name="connsiteY128" fmla="*/ 2891472 h 6857999"/>
              <a:gd name="connsiteX129" fmla="*/ 2198581 w 10789097"/>
              <a:gd name="connsiteY129" fmla="*/ 2896870 h 6857999"/>
              <a:gd name="connsiteX130" fmla="*/ 2202070 w 10789097"/>
              <a:gd name="connsiteY130" fmla="*/ 2901632 h 6857999"/>
              <a:gd name="connsiteX131" fmla="*/ 2206258 w 10789097"/>
              <a:gd name="connsiteY131" fmla="*/ 2906712 h 6857999"/>
              <a:gd name="connsiteX132" fmla="*/ 2210097 w 10789097"/>
              <a:gd name="connsiteY132" fmla="*/ 2911475 h 6857999"/>
              <a:gd name="connsiteX133" fmla="*/ 2214633 w 10789097"/>
              <a:gd name="connsiteY133" fmla="*/ 2916237 h 6857999"/>
              <a:gd name="connsiteX134" fmla="*/ 2938420 w 10789097"/>
              <a:gd name="connsiteY134" fmla="*/ 3639502 h 6857999"/>
              <a:gd name="connsiteX135" fmla="*/ 2942957 w 10789097"/>
              <a:gd name="connsiteY135" fmla="*/ 3643947 h 6857999"/>
              <a:gd name="connsiteX136" fmla="*/ 2947145 w 10789097"/>
              <a:gd name="connsiteY136" fmla="*/ 3648710 h 6857999"/>
              <a:gd name="connsiteX137" fmla="*/ 2950984 w 10789097"/>
              <a:gd name="connsiteY137" fmla="*/ 3653790 h 6857999"/>
              <a:gd name="connsiteX138" fmla="*/ 2954473 w 10789097"/>
              <a:gd name="connsiteY138" fmla="*/ 3658870 h 6857999"/>
              <a:gd name="connsiteX139" fmla="*/ 2957614 w 10789097"/>
              <a:gd name="connsiteY139" fmla="*/ 3664267 h 6857999"/>
              <a:gd name="connsiteX140" fmla="*/ 2960755 w 10789097"/>
              <a:gd name="connsiteY140" fmla="*/ 3669347 h 6857999"/>
              <a:gd name="connsiteX141" fmla="*/ 2963547 w 10789097"/>
              <a:gd name="connsiteY141" fmla="*/ 3675062 h 6857999"/>
              <a:gd name="connsiteX142" fmla="*/ 2965641 w 10789097"/>
              <a:gd name="connsiteY142" fmla="*/ 3680460 h 6857999"/>
              <a:gd name="connsiteX143" fmla="*/ 2968084 w 10789097"/>
              <a:gd name="connsiteY143" fmla="*/ 3686175 h 6857999"/>
              <a:gd name="connsiteX144" fmla="*/ 2969829 w 10789097"/>
              <a:gd name="connsiteY144" fmla="*/ 3691890 h 6857999"/>
              <a:gd name="connsiteX145" fmla="*/ 2971224 w 10789097"/>
              <a:gd name="connsiteY145" fmla="*/ 3697605 h 6857999"/>
              <a:gd name="connsiteX146" fmla="*/ 2972620 w 10789097"/>
              <a:gd name="connsiteY146" fmla="*/ 3703637 h 6857999"/>
              <a:gd name="connsiteX147" fmla="*/ 2973667 w 10789097"/>
              <a:gd name="connsiteY147" fmla="*/ 3709670 h 6857999"/>
              <a:gd name="connsiteX148" fmla="*/ 2974365 w 10789097"/>
              <a:gd name="connsiteY148" fmla="*/ 3715385 h 6857999"/>
              <a:gd name="connsiteX149" fmla="*/ 2974714 w 10789097"/>
              <a:gd name="connsiteY149" fmla="*/ 3721417 h 6857999"/>
              <a:gd name="connsiteX150" fmla="*/ 2975063 w 10789097"/>
              <a:gd name="connsiteY150" fmla="*/ 3727450 h 6857999"/>
              <a:gd name="connsiteX151" fmla="*/ 2974714 w 10789097"/>
              <a:gd name="connsiteY151" fmla="*/ 3733165 h 6857999"/>
              <a:gd name="connsiteX152" fmla="*/ 2974365 w 10789097"/>
              <a:gd name="connsiteY152" fmla="*/ 3739197 h 6857999"/>
              <a:gd name="connsiteX153" fmla="*/ 2973667 w 10789097"/>
              <a:gd name="connsiteY153" fmla="*/ 3745230 h 6857999"/>
              <a:gd name="connsiteX154" fmla="*/ 2972620 w 10789097"/>
              <a:gd name="connsiteY154" fmla="*/ 3750945 h 6857999"/>
              <a:gd name="connsiteX155" fmla="*/ 2971224 w 10789097"/>
              <a:gd name="connsiteY155" fmla="*/ 3756977 h 6857999"/>
              <a:gd name="connsiteX156" fmla="*/ 2969829 w 10789097"/>
              <a:gd name="connsiteY156" fmla="*/ 3763010 h 6857999"/>
              <a:gd name="connsiteX157" fmla="*/ 2968084 w 10789097"/>
              <a:gd name="connsiteY157" fmla="*/ 3768407 h 6857999"/>
              <a:gd name="connsiteX158" fmla="*/ 2965641 w 10789097"/>
              <a:gd name="connsiteY158" fmla="*/ 3774122 h 6857999"/>
              <a:gd name="connsiteX159" fmla="*/ 2963547 w 10789097"/>
              <a:gd name="connsiteY159" fmla="*/ 3779837 h 6857999"/>
              <a:gd name="connsiteX160" fmla="*/ 2960755 w 10789097"/>
              <a:gd name="connsiteY160" fmla="*/ 3785235 h 6857999"/>
              <a:gd name="connsiteX161" fmla="*/ 2957614 w 10789097"/>
              <a:gd name="connsiteY161" fmla="*/ 3790632 h 6857999"/>
              <a:gd name="connsiteX162" fmla="*/ 2954473 w 10789097"/>
              <a:gd name="connsiteY162" fmla="*/ 3795712 h 6857999"/>
              <a:gd name="connsiteX163" fmla="*/ 2950984 w 10789097"/>
              <a:gd name="connsiteY163" fmla="*/ 3801110 h 6857999"/>
              <a:gd name="connsiteX164" fmla="*/ 2947145 w 10789097"/>
              <a:gd name="connsiteY164" fmla="*/ 3805872 h 6857999"/>
              <a:gd name="connsiteX165" fmla="*/ 2942957 w 10789097"/>
              <a:gd name="connsiteY165" fmla="*/ 3810635 h 6857999"/>
              <a:gd name="connsiteX166" fmla="*/ 2938420 w 10789097"/>
              <a:gd name="connsiteY166" fmla="*/ 3815397 h 6857999"/>
              <a:gd name="connsiteX167" fmla="*/ 2933884 w 10789097"/>
              <a:gd name="connsiteY167" fmla="*/ 3819842 h 6857999"/>
              <a:gd name="connsiteX168" fmla="*/ 2928998 w 10789097"/>
              <a:gd name="connsiteY168" fmla="*/ 3823970 h 6857999"/>
              <a:gd name="connsiteX169" fmla="*/ 2924112 w 10789097"/>
              <a:gd name="connsiteY169" fmla="*/ 3827780 h 6857999"/>
              <a:gd name="connsiteX170" fmla="*/ 2918877 w 10789097"/>
              <a:gd name="connsiteY170" fmla="*/ 3831272 h 6857999"/>
              <a:gd name="connsiteX171" fmla="*/ 2913643 w 10789097"/>
              <a:gd name="connsiteY171" fmla="*/ 3834447 h 6857999"/>
              <a:gd name="connsiteX172" fmla="*/ 2908408 w 10789097"/>
              <a:gd name="connsiteY172" fmla="*/ 3837622 h 6857999"/>
              <a:gd name="connsiteX173" fmla="*/ 2902824 w 10789097"/>
              <a:gd name="connsiteY173" fmla="*/ 3840480 h 6857999"/>
              <a:gd name="connsiteX174" fmla="*/ 2897240 w 10789097"/>
              <a:gd name="connsiteY174" fmla="*/ 3843020 h 6857999"/>
              <a:gd name="connsiteX175" fmla="*/ 2891657 w 10789097"/>
              <a:gd name="connsiteY175" fmla="*/ 3844925 h 6857999"/>
              <a:gd name="connsiteX176" fmla="*/ 2885724 w 10789097"/>
              <a:gd name="connsiteY176" fmla="*/ 3846830 h 6857999"/>
              <a:gd name="connsiteX177" fmla="*/ 2880140 w 10789097"/>
              <a:gd name="connsiteY177" fmla="*/ 3848417 h 6857999"/>
              <a:gd name="connsiteX178" fmla="*/ 2874208 w 10789097"/>
              <a:gd name="connsiteY178" fmla="*/ 3849370 h 6857999"/>
              <a:gd name="connsiteX179" fmla="*/ 2868275 w 10789097"/>
              <a:gd name="connsiteY179" fmla="*/ 3850640 h 6857999"/>
              <a:gd name="connsiteX180" fmla="*/ 2862342 w 10789097"/>
              <a:gd name="connsiteY180" fmla="*/ 3851275 h 6857999"/>
              <a:gd name="connsiteX181" fmla="*/ 2856410 w 10789097"/>
              <a:gd name="connsiteY181" fmla="*/ 3851592 h 6857999"/>
              <a:gd name="connsiteX182" fmla="*/ 2850477 w 10789097"/>
              <a:gd name="connsiteY182" fmla="*/ 3851910 h 6857999"/>
              <a:gd name="connsiteX183" fmla="*/ 2844544 w 10789097"/>
              <a:gd name="connsiteY183" fmla="*/ 3851592 h 6857999"/>
              <a:gd name="connsiteX184" fmla="*/ 2838612 w 10789097"/>
              <a:gd name="connsiteY184" fmla="*/ 3851275 h 6857999"/>
              <a:gd name="connsiteX185" fmla="*/ 2832679 w 10789097"/>
              <a:gd name="connsiteY185" fmla="*/ 3850640 h 6857999"/>
              <a:gd name="connsiteX186" fmla="*/ 2826746 w 10789097"/>
              <a:gd name="connsiteY186" fmla="*/ 3849370 h 6857999"/>
              <a:gd name="connsiteX187" fmla="*/ 2820814 w 10789097"/>
              <a:gd name="connsiteY187" fmla="*/ 3848417 h 6857999"/>
              <a:gd name="connsiteX188" fmla="*/ 2814881 w 10789097"/>
              <a:gd name="connsiteY188" fmla="*/ 3846830 h 6857999"/>
              <a:gd name="connsiteX189" fmla="*/ 2809297 w 10789097"/>
              <a:gd name="connsiteY189" fmla="*/ 3844925 h 6857999"/>
              <a:gd name="connsiteX190" fmla="*/ 2803714 w 10789097"/>
              <a:gd name="connsiteY190" fmla="*/ 3843020 h 6857999"/>
              <a:gd name="connsiteX191" fmla="*/ 2798130 w 10789097"/>
              <a:gd name="connsiteY191" fmla="*/ 3840480 h 6857999"/>
              <a:gd name="connsiteX192" fmla="*/ 2792546 w 10789097"/>
              <a:gd name="connsiteY192" fmla="*/ 3837622 h 6857999"/>
              <a:gd name="connsiteX193" fmla="*/ 2787311 w 10789097"/>
              <a:gd name="connsiteY193" fmla="*/ 3834447 h 6857999"/>
              <a:gd name="connsiteX194" fmla="*/ 2782077 w 10789097"/>
              <a:gd name="connsiteY194" fmla="*/ 3831272 h 6857999"/>
              <a:gd name="connsiteX195" fmla="*/ 2776842 w 10789097"/>
              <a:gd name="connsiteY195" fmla="*/ 3827780 h 6857999"/>
              <a:gd name="connsiteX196" fmla="*/ 2771956 w 10789097"/>
              <a:gd name="connsiteY196" fmla="*/ 3823970 h 6857999"/>
              <a:gd name="connsiteX197" fmla="*/ 2767071 w 10789097"/>
              <a:gd name="connsiteY197" fmla="*/ 3819842 h 6857999"/>
              <a:gd name="connsiteX198" fmla="*/ 2762534 w 10789097"/>
              <a:gd name="connsiteY198" fmla="*/ 3815397 h 6857999"/>
              <a:gd name="connsiteX199" fmla="*/ 2666564 w 10789097"/>
              <a:gd name="connsiteY199" fmla="*/ 3720147 h 6857999"/>
              <a:gd name="connsiteX200" fmla="*/ 2559078 w 10789097"/>
              <a:gd name="connsiteY200" fmla="*/ 3612515 h 6857999"/>
              <a:gd name="connsiteX201" fmla="*/ 2554541 w 10789097"/>
              <a:gd name="connsiteY201" fmla="*/ 3608070 h 6857999"/>
              <a:gd name="connsiteX202" fmla="*/ 2549655 w 10789097"/>
              <a:gd name="connsiteY202" fmla="*/ 3604260 h 6857999"/>
              <a:gd name="connsiteX203" fmla="*/ 2544770 w 10789097"/>
              <a:gd name="connsiteY203" fmla="*/ 3600132 h 6857999"/>
              <a:gd name="connsiteX204" fmla="*/ 2539535 w 10789097"/>
              <a:gd name="connsiteY204" fmla="*/ 3596640 h 6857999"/>
              <a:gd name="connsiteX205" fmla="*/ 2534300 w 10789097"/>
              <a:gd name="connsiteY205" fmla="*/ 3593465 h 6857999"/>
              <a:gd name="connsiteX206" fmla="*/ 2529066 w 10789097"/>
              <a:gd name="connsiteY206" fmla="*/ 3590290 h 6857999"/>
              <a:gd name="connsiteX207" fmla="*/ 2523482 w 10789097"/>
              <a:gd name="connsiteY207" fmla="*/ 3587750 h 6857999"/>
              <a:gd name="connsiteX208" fmla="*/ 2517898 w 10789097"/>
              <a:gd name="connsiteY208" fmla="*/ 3585210 h 6857999"/>
              <a:gd name="connsiteX209" fmla="*/ 2512314 w 10789097"/>
              <a:gd name="connsiteY209" fmla="*/ 3583305 h 6857999"/>
              <a:gd name="connsiteX210" fmla="*/ 2506731 w 10789097"/>
              <a:gd name="connsiteY210" fmla="*/ 3581082 h 6857999"/>
              <a:gd name="connsiteX211" fmla="*/ 2500798 w 10789097"/>
              <a:gd name="connsiteY211" fmla="*/ 3579812 h 6857999"/>
              <a:gd name="connsiteX212" fmla="*/ 2494865 w 10789097"/>
              <a:gd name="connsiteY212" fmla="*/ 3578225 h 6857999"/>
              <a:gd name="connsiteX213" fmla="*/ 2488933 w 10789097"/>
              <a:gd name="connsiteY213" fmla="*/ 3577272 h 6857999"/>
              <a:gd name="connsiteX214" fmla="*/ 2483000 w 10789097"/>
              <a:gd name="connsiteY214" fmla="*/ 3576637 h 6857999"/>
              <a:gd name="connsiteX215" fmla="*/ 2476718 w 10789097"/>
              <a:gd name="connsiteY215" fmla="*/ 3576320 h 6857999"/>
              <a:gd name="connsiteX216" fmla="*/ 2470786 w 10789097"/>
              <a:gd name="connsiteY216" fmla="*/ 3576320 h 6857999"/>
              <a:gd name="connsiteX217" fmla="*/ 2464853 w 10789097"/>
              <a:gd name="connsiteY217" fmla="*/ 3576320 h 6857999"/>
              <a:gd name="connsiteX218" fmla="*/ 2458920 w 10789097"/>
              <a:gd name="connsiteY218" fmla="*/ 3576637 h 6857999"/>
              <a:gd name="connsiteX219" fmla="*/ 2452988 w 10789097"/>
              <a:gd name="connsiteY219" fmla="*/ 3577272 h 6857999"/>
              <a:gd name="connsiteX220" fmla="*/ 2447055 w 10789097"/>
              <a:gd name="connsiteY220" fmla="*/ 3578225 h 6857999"/>
              <a:gd name="connsiteX221" fmla="*/ 2441122 w 10789097"/>
              <a:gd name="connsiteY221" fmla="*/ 3579812 h 6857999"/>
              <a:gd name="connsiteX222" fmla="*/ 2435190 w 10789097"/>
              <a:gd name="connsiteY222" fmla="*/ 3581082 h 6857999"/>
              <a:gd name="connsiteX223" fmla="*/ 2429606 w 10789097"/>
              <a:gd name="connsiteY223" fmla="*/ 3583305 h 6857999"/>
              <a:gd name="connsiteX224" fmla="*/ 2424022 w 10789097"/>
              <a:gd name="connsiteY224" fmla="*/ 3585210 h 6857999"/>
              <a:gd name="connsiteX225" fmla="*/ 2418439 w 10789097"/>
              <a:gd name="connsiteY225" fmla="*/ 3587750 h 6857999"/>
              <a:gd name="connsiteX226" fmla="*/ 2412855 w 10789097"/>
              <a:gd name="connsiteY226" fmla="*/ 3590290 h 6857999"/>
              <a:gd name="connsiteX227" fmla="*/ 2407620 w 10789097"/>
              <a:gd name="connsiteY227" fmla="*/ 3593465 h 6857999"/>
              <a:gd name="connsiteX228" fmla="*/ 2402385 w 10789097"/>
              <a:gd name="connsiteY228" fmla="*/ 3596640 h 6857999"/>
              <a:gd name="connsiteX229" fmla="*/ 2397151 w 10789097"/>
              <a:gd name="connsiteY229" fmla="*/ 3600450 h 6857999"/>
              <a:gd name="connsiteX230" fmla="*/ 2392265 w 10789097"/>
              <a:gd name="connsiteY230" fmla="*/ 3604260 h 6857999"/>
              <a:gd name="connsiteX231" fmla="*/ 2387379 w 10789097"/>
              <a:gd name="connsiteY231" fmla="*/ 3608070 h 6857999"/>
              <a:gd name="connsiteX232" fmla="*/ 2382842 w 10789097"/>
              <a:gd name="connsiteY232" fmla="*/ 3612515 h 6857999"/>
              <a:gd name="connsiteX233" fmla="*/ 2379003 w 10789097"/>
              <a:gd name="connsiteY233" fmla="*/ 3616325 h 6857999"/>
              <a:gd name="connsiteX234" fmla="*/ 2375863 w 10789097"/>
              <a:gd name="connsiteY234" fmla="*/ 3620135 h 6857999"/>
              <a:gd name="connsiteX235" fmla="*/ 2369581 w 10789097"/>
              <a:gd name="connsiteY235" fmla="*/ 3628390 h 6857999"/>
              <a:gd name="connsiteX236" fmla="*/ 2363997 w 10789097"/>
              <a:gd name="connsiteY236" fmla="*/ 3636327 h 6857999"/>
              <a:gd name="connsiteX237" fmla="*/ 2359461 w 10789097"/>
              <a:gd name="connsiteY237" fmla="*/ 3644900 h 6857999"/>
              <a:gd name="connsiteX238" fmla="*/ 2355273 w 10789097"/>
              <a:gd name="connsiteY238" fmla="*/ 3654107 h 6857999"/>
              <a:gd name="connsiteX239" fmla="*/ 2352132 w 10789097"/>
              <a:gd name="connsiteY239" fmla="*/ 3663315 h 6857999"/>
              <a:gd name="connsiteX240" fmla="*/ 2349689 w 10789097"/>
              <a:gd name="connsiteY240" fmla="*/ 3672522 h 6857999"/>
              <a:gd name="connsiteX241" fmla="*/ 2347944 w 10789097"/>
              <a:gd name="connsiteY241" fmla="*/ 3682047 h 6857999"/>
              <a:gd name="connsiteX242" fmla="*/ 2346897 w 10789097"/>
              <a:gd name="connsiteY242" fmla="*/ 3691572 h 6857999"/>
              <a:gd name="connsiteX243" fmla="*/ 2346548 w 10789097"/>
              <a:gd name="connsiteY243" fmla="*/ 3701097 h 6857999"/>
              <a:gd name="connsiteX244" fmla="*/ 2347246 w 10789097"/>
              <a:gd name="connsiteY244" fmla="*/ 3710622 h 6857999"/>
              <a:gd name="connsiteX245" fmla="*/ 2348293 w 10789097"/>
              <a:gd name="connsiteY245" fmla="*/ 3720465 h 6857999"/>
              <a:gd name="connsiteX246" fmla="*/ 2350387 w 10789097"/>
              <a:gd name="connsiteY246" fmla="*/ 3729672 h 6857999"/>
              <a:gd name="connsiteX247" fmla="*/ 2352830 w 10789097"/>
              <a:gd name="connsiteY247" fmla="*/ 3739197 h 6857999"/>
              <a:gd name="connsiteX248" fmla="*/ 2356320 w 10789097"/>
              <a:gd name="connsiteY248" fmla="*/ 3748405 h 6857999"/>
              <a:gd name="connsiteX249" fmla="*/ 2360507 w 10789097"/>
              <a:gd name="connsiteY249" fmla="*/ 3756977 h 6857999"/>
              <a:gd name="connsiteX250" fmla="*/ 2651907 w 10789097"/>
              <a:gd name="connsiteY250" fmla="*/ 4048442 h 6857999"/>
              <a:gd name="connsiteX251" fmla="*/ 2656444 w 10789097"/>
              <a:gd name="connsiteY251" fmla="*/ 4052887 h 6857999"/>
              <a:gd name="connsiteX252" fmla="*/ 2660631 w 10789097"/>
              <a:gd name="connsiteY252" fmla="*/ 4057967 h 6857999"/>
              <a:gd name="connsiteX253" fmla="*/ 2664470 w 10789097"/>
              <a:gd name="connsiteY253" fmla="*/ 4062730 h 6857999"/>
              <a:gd name="connsiteX254" fmla="*/ 2667960 w 10789097"/>
              <a:gd name="connsiteY254" fmla="*/ 4067810 h 6857999"/>
              <a:gd name="connsiteX255" fmla="*/ 2671101 w 10789097"/>
              <a:gd name="connsiteY255" fmla="*/ 4073207 h 6857999"/>
              <a:gd name="connsiteX256" fmla="*/ 2674242 w 10789097"/>
              <a:gd name="connsiteY256" fmla="*/ 4078287 h 6857999"/>
              <a:gd name="connsiteX257" fmla="*/ 2677033 w 10789097"/>
              <a:gd name="connsiteY257" fmla="*/ 4084002 h 6857999"/>
              <a:gd name="connsiteX258" fmla="*/ 2679476 w 10789097"/>
              <a:gd name="connsiteY258" fmla="*/ 4089717 h 6857999"/>
              <a:gd name="connsiteX259" fmla="*/ 2681570 w 10789097"/>
              <a:gd name="connsiteY259" fmla="*/ 4095115 h 6857999"/>
              <a:gd name="connsiteX260" fmla="*/ 2683315 w 10789097"/>
              <a:gd name="connsiteY260" fmla="*/ 4100830 h 6857999"/>
              <a:gd name="connsiteX261" fmla="*/ 2684711 w 10789097"/>
              <a:gd name="connsiteY261" fmla="*/ 4106862 h 6857999"/>
              <a:gd name="connsiteX262" fmla="*/ 2686107 w 10789097"/>
              <a:gd name="connsiteY262" fmla="*/ 4112577 h 6857999"/>
              <a:gd name="connsiteX263" fmla="*/ 2687154 w 10789097"/>
              <a:gd name="connsiteY263" fmla="*/ 4118610 h 6857999"/>
              <a:gd name="connsiteX264" fmla="*/ 2687852 w 10789097"/>
              <a:gd name="connsiteY264" fmla="*/ 4124642 h 6857999"/>
              <a:gd name="connsiteX265" fmla="*/ 2688201 w 10789097"/>
              <a:gd name="connsiteY265" fmla="*/ 4130357 h 6857999"/>
              <a:gd name="connsiteX266" fmla="*/ 2688550 w 10789097"/>
              <a:gd name="connsiteY266" fmla="*/ 4136390 h 6857999"/>
              <a:gd name="connsiteX267" fmla="*/ 2688201 w 10789097"/>
              <a:gd name="connsiteY267" fmla="*/ 4142422 h 6857999"/>
              <a:gd name="connsiteX268" fmla="*/ 2687852 w 10789097"/>
              <a:gd name="connsiteY268" fmla="*/ 4148137 h 6857999"/>
              <a:gd name="connsiteX269" fmla="*/ 2687154 w 10789097"/>
              <a:gd name="connsiteY269" fmla="*/ 4154170 h 6857999"/>
              <a:gd name="connsiteX270" fmla="*/ 2686107 w 10789097"/>
              <a:gd name="connsiteY270" fmla="*/ 4160202 h 6857999"/>
              <a:gd name="connsiteX271" fmla="*/ 2684711 w 10789097"/>
              <a:gd name="connsiteY271" fmla="*/ 4165917 h 6857999"/>
              <a:gd name="connsiteX272" fmla="*/ 2683315 w 10789097"/>
              <a:gd name="connsiteY272" fmla="*/ 4171632 h 6857999"/>
              <a:gd name="connsiteX273" fmla="*/ 2681570 w 10789097"/>
              <a:gd name="connsiteY273" fmla="*/ 4177665 h 6857999"/>
              <a:gd name="connsiteX274" fmla="*/ 2679476 w 10789097"/>
              <a:gd name="connsiteY274" fmla="*/ 4183062 h 6857999"/>
              <a:gd name="connsiteX275" fmla="*/ 2677033 w 10789097"/>
              <a:gd name="connsiteY275" fmla="*/ 4188777 h 6857999"/>
              <a:gd name="connsiteX276" fmla="*/ 2674242 w 10789097"/>
              <a:gd name="connsiteY276" fmla="*/ 4194175 h 6857999"/>
              <a:gd name="connsiteX277" fmla="*/ 2671101 w 10789097"/>
              <a:gd name="connsiteY277" fmla="*/ 4199572 h 6857999"/>
              <a:gd name="connsiteX278" fmla="*/ 2667960 w 10789097"/>
              <a:gd name="connsiteY278" fmla="*/ 4204652 h 6857999"/>
              <a:gd name="connsiteX279" fmla="*/ 2664470 w 10789097"/>
              <a:gd name="connsiteY279" fmla="*/ 4210050 h 6857999"/>
              <a:gd name="connsiteX280" fmla="*/ 2660631 w 10789097"/>
              <a:gd name="connsiteY280" fmla="*/ 4214812 h 6857999"/>
              <a:gd name="connsiteX281" fmla="*/ 2656444 w 10789097"/>
              <a:gd name="connsiteY281" fmla="*/ 4219892 h 6857999"/>
              <a:gd name="connsiteX282" fmla="*/ 2651907 w 10789097"/>
              <a:gd name="connsiteY282" fmla="*/ 4224337 h 6857999"/>
              <a:gd name="connsiteX283" fmla="*/ 2647370 w 10789097"/>
              <a:gd name="connsiteY283" fmla="*/ 4228782 h 6857999"/>
              <a:gd name="connsiteX284" fmla="*/ 2642484 w 10789097"/>
              <a:gd name="connsiteY284" fmla="*/ 4232592 h 6857999"/>
              <a:gd name="connsiteX285" fmla="*/ 2637599 w 10789097"/>
              <a:gd name="connsiteY285" fmla="*/ 4236402 h 6857999"/>
              <a:gd name="connsiteX286" fmla="*/ 2632713 w 10789097"/>
              <a:gd name="connsiteY286" fmla="*/ 4239895 h 6857999"/>
              <a:gd name="connsiteX287" fmla="*/ 2627478 w 10789097"/>
              <a:gd name="connsiteY287" fmla="*/ 4243387 h 6857999"/>
              <a:gd name="connsiteX288" fmla="*/ 2622243 w 10789097"/>
              <a:gd name="connsiteY288" fmla="*/ 4246245 h 6857999"/>
              <a:gd name="connsiteX289" fmla="*/ 2616660 w 10789097"/>
              <a:gd name="connsiteY289" fmla="*/ 4249102 h 6857999"/>
              <a:gd name="connsiteX290" fmla="*/ 2611425 w 10789097"/>
              <a:gd name="connsiteY290" fmla="*/ 4251642 h 6857999"/>
              <a:gd name="connsiteX291" fmla="*/ 2605841 w 10789097"/>
              <a:gd name="connsiteY291" fmla="*/ 4253547 h 6857999"/>
              <a:gd name="connsiteX292" fmla="*/ 2599909 w 10789097"/>
              <a:gd name="connsiteY292" fmla="*/ 4255452 h 6857999"/>
              <a:gd name="connsiteX293" fmla="*/ 2594325 w 10789097"/>
              <a:gd name="connsiteY293" fmla="*/ 4257040 h 6857999"/>
              <a:gd name="connsiteX294" fmla="*/ 2588392 w 10789097"/>
              <a:gd name="connsiteY294" fmla="*/ 4258627 h 6857999"/>
              <a:gd name="connsiteX295" fmla="*/ 2582809 w 10789097"/>
              <a:gd name="connsiteY295" fmla="*/ 4259262 h 6857999"/>
              <a:gd name="connsiteX296" fmla="*/ 2576876 w 10789097"/>
              <a:gd name="connsiteY296" fmla="*/ 4260215 h 6857999"/>
              <a:gd name="connsiteX297" fmla="*/ 2570943 w 10789097"/>
              <a:gd name="connsiteY297" fmla="*/ 4260532 h 6857999"/>
              <a:gd name="connsiteX298" fmla="*/ 2565011 w 10789097"/>
              <a:gd name="connsiteY298" fmla="*/ 4260532 h 6857999"/>
              <a:gd name="connsiteX299" fmla="*/ 5169805 w 10789097"/>
              <a:gd name="connsiteY299" fmla="*/ 6857999 h 6857999"/>
              <a:gd name="connsiteX300" fmla="*/ 10789097 w 10789097"/>
              <a:gd name="connsiteY300" fmla="*/ 6857999 h 6857999"/>
              <a:gd name="connsiteX301" fmla="*/ 10789097 w 10789097"/>
              <a:gd name="connsiteY301" fmla="*/ 0 h 6857999"/>
              <a:gd name="connsiteX0" fmla="*/ 10789097 w 10789097"/>
              <a:gd name="connsiteY0" fmla="*/ 0 h 6857999"/>
              <a:gd name="connsiteX1" fmla="*/ 0 w 10789097"/>
              <a:gd name="connsiteY1" fmla="*/ 0 h 6857999"/>
              <a:gd name="connsiteX2" fmla="*/ 34549 w 10789097"/>
              <a:gd name="connsiteY2" fmla="*/ 34608 h 6857999"/>
              <a:gd name="connsiteX3" fmla="*/ 2681221 w 10789097"/>
              <a:gd name="connsiteY3" fmla="*/ 2678112 h 6857999"/>
              <a:gd name="connsiteX4" fmla="*/ 2685758 w 10789097"/>
              <a:gd name="connsiteY4" fmla="*/ 2682875 h 6857999"/>
              <a:gd name="connsiteX5" fmla="*/ 2689946 w 10789097"/>
              <a:gd name="connsiteY5" fmla="*/ 2687320 h 6857999"/>
              <a:gd name="connsiteX6" fmla="*/ 2693785 w 10789097"/>
              <a:gd name="connsiteY6" fmla="*/ 2692717 h 6857999"/>
              <a:gd name="connsiteX7" fmla="*/ 2697274 w 10789097"/>
              <a:gd name="connsiteY7" fmla="*/ 2697480 h 6857999"/>
              <a:gd name="connsiteX8" fmla="*/ 2700415 w 10789097"/>
              <a:gd name="connsiteY8" fmla="*/ 2702877 h 6857999"/>
              <a:gd name="connsiteX9" fmla="*/ 2703556 w 10789097"/>
              <a:gd name="connsiteY9" fmla="*/ 2708275 h 6857999"/>
              <a:gd name="connsiteX10" fmla="*/ 2706348 w 10789097"/>
              <a:gd name="connsiteY10" fmla="*/ 2713672 h 6857999"/>
              <a:gd name="connsiteX11" fmla="*/ 2708791 w 10789097"/>
              <a:gd name="connsiteY11" fmla="*/ 2719070 h 6857999"/>
              <a:gd name="connsiteX12" fmla="*/ 2710885 w 10789097"/>
              <a:gd name="connsiteY12" fmla="*/ 2725102 h 6857999"/>
              <a:gd name="connsiteX13" fmla="*/ 2712630 w 10789097"/>
              <a:gd name="connsiteY13" fmla="*/ 2730817 h 6857999"/>
              <a:gd name="connsiteX14" fmla="*/ 2714025 w 10789097"/>
              <a:gd name="connsiteY14" fmla="*/ 2736532 h 6857999"/>
              <a:gd name="connsiteX15" fmla="*/ 2715421 w 10789097"/>
              <a:gd name="connsiteY15" fmla="*/ 2742565 h 6857999"/>
              <a:gd name="connsiteX16" fmla="*/ 2716468 w 10789097"/>
              <a:gd name="connsiteY16" fmla="*/ 2748280 h 6857999"/>
              <a:gd name="connsiteX17" fmla="*/ 2717166 w 10789097"/>
              <a:gd name="connsiteY17" fmla="*/ 2753995 h 6857999"/>
              <a:gd name="connsiteX18" fmla="*/ 2717515 w 10789097"/>
              <a:gd name="connsiteY18" fmla="*/ 2760345 h 6857999"/>
              <a:gd name="connsiteX19" fmla="*/ 2717864 w 10789097"/>
              <a:gd name="connsiteY19" fmla="*/ 2766377 h 6857999"/>
              <a:gd name="connsiteX20" fmla="*/ 2717515 w 10789097"/>
              <a:gd name="connsiteY20" fmla="*/ 2772092 h 6857999"/>
              <a:gd name="connsiteX21" fmla="*/ 2717166 w 10789097"/>
              <a:gd name="connsiteY21" fmla="*/ 2778125 h 6857999"/>
              <a:gd name="connsiteX22" fmla="*/ 2716468 w 10789097"/>
              <a:gd name="connsiteY22" fmla="*/ 2784157 h 6857999"/>
              <a:gd name="connsiteX23" fmla="*/ 2715421 w 10789097"/>
              <a:gd name="connsiteY23" fmla="*/ 2790190 h 6857999"/>
              <a:gd name="connsiteX24" fmla="*/ 2714025 w 10789097"/>
              <a:gd name="connsiteY24" fmla="*/ 2795905 h 6857999"/>
              <a:gd name="connsiteX25" fmla="*/ 2712630 w 10789097"/>
              <a:gd name="connsiteY25" fmla="*/ 2801620 h 6857999"/>
              <a:gd name="connsiteX26" fmla="*/ 2710885 w 10789097"/>
              <a:gd name="connsiteY26" fmla="*/ 2807335 h 6857999"/>
              <a:gd name="connsiteX27" fmla="*/ 2708791 w 10789097"/>
              <a:gd name="connsiteY27" fmla="*/ 2813050 h 6857999"/>
              <a:gd name="connsiteX28" fmla="*/ 2706348 w 10789097"/>
              <a:gd name="connsiteY28" fmla="*/ 2818765 h 6857999"/>
              <a:gd name="connsiteX29" fmla="*/ 2703556 w 10789097"/>
              <a:gd name="connsiteY29" fmla="*/ 2824162 h 6857999"/>
              <a:gd name="connsiteX30" fmla="*/ 2700415 w 10789097"/>
              <a:gd name="connsiteY30" fmla="*/ 2829560 h 6857999"/>
              <a:gd name="connsiteX31" fmla="*/ 2697274 w 10789097"/>
              <a:gd name="connsiteY31" fmla="*/ 2834640 h 6857999"/>
              <a:gd name="connsiteX32" fmla="*/ 2693785 w 10789097"/>
              <a:gd name="connsiteY32" fmla="*/ 2840037 h 6857999"/>
              <a:gd name="connsiteX33" fmla="*/ 2689946 w 10789097"/>
              <a:gd name="connsiteY33" fmla="*/ 2844800 h 6857999"/>
              <a:gd name="connsiteX34" fmla="*/ 2685758 w 10789097"/>
              <a:gd name="connsiteY34" fmla="*/ 2849562 h 6857999"/>
              <a:gd name="connsiteX35" fmla="*/ 2681221 w 10789097"/>
              <a:gd name="connsiteY35" fmla="*/ 2854325 h 6857999"/>
              <a:gd name="connsiteX36" fmla="*/ 2676684 w 10789097"/>
              <a:gd name="connsiteY36" fmla="*/ 2858770 h 6857999"/>
              <a:gd name="connsiteX37" fmla="*/ 2671799 w 10789097"/>
              <a:gd name="connsiteY37" fmla="*/ 2862580 h 6857999"/>
              <a:gd name="connsiteX38" fmla="*/ 2666913 w 10789097"/>
              <a:gd name="connsiteY38" fmla="*/ 2866390 h 6857999"/>
              <a:gd name="connsiteX39" fmla="*/ 2661678 w 10789097"/>
              <a:gd name="connsiteY39" fmla="*/ 2870200 h 6857999"/>
              <a:gd name="connsiteX40" fmla="*/ 2656444 w 10789097"/>
              <a:gd name="connsiteY40" fmla="*/ 2873375 h 6857999"/>
              <a:gd name="connsiteX41" fmla="*/ 2651209 w 10789097"/>
              <a:gd name="connsiteY41" fmla="*/ 2876550 h 6857999"/>
              <a:gd name="connsiteX42" fmla="*/ 2645625 w 10789097"/>
              <a:gd name="connsiteY42" fmla="*/ 2879090 h 6857999"/>
              <a:gd name="connsiteX43" fmla="*/ 2640041 w 10789097"/>
              <a:gd name="connsiteY43" fmla="*/ 2881312 h 6857999"/>
              <a:gd name="connsiteX44" fmla="*/ 2634458 w 10789097"/>
              <a:gd name="connsiteY44" fmla="*/ 2883535 h 6857999"/>
              <a:gd name="connsiteX45" fmla="*/ 2628525 w 10789097"/>
              <a:gd name="connsiteY45" fmla="*/ 2885757 h 6857999"/>
              <a:gd name="connsiteX46" fmla="*/ 2622941 w 10789097"/>
              <a:gd name="connsiteY46" fmla="*/ 2887027 h 6857999"/>
              <a:gd name="connsiteX47" fmla="*/ 2617009 w 10789097"/>
              <a:gd name="connsiteY47" fmla="*/ 2888297 h 6857999"/>
              <a:gd name="connsiteX48" fmla="*/ 2611076 w 10789097"/>
              <a:gd name="connsiteY48" fmla="*/ 2889567 h 6857999"/>
              <a:gd name="connsiteX49" fmla="*/ 2605143 w 10789097"/>
              <a:gd name="connsiteY49" fmla="*/ 2890202 h 6857999"/>
              <a:gd name="connsiteX50" fmla="*/ 2599211 w 10789097"/>
              <a:gd name="connsiteY50" fmla="*/ 2890520 h 6857999"/>
              <a:gd name="connsiteX51" fmla="*/ 2593278 w 10789097"/>
              <a:gd name="connsiteY51" fmla="*/ 2890520 h 6857999"/>
              <a:gd name="connsiteX52" fmla="*/ 2587345 w 10789097"/>
              <a:gd name="connsiteY52" fmla="*/ 2890520 h 6857999"/>
              <a:gd name="connsiteX53" fmla="*/ 2581413 w 10789097"/>
              <a:gd name="connsiteY53" fmla="*/ 2890202 h 6857999"/>
              <a:gd name="connsiteX54" fmla="*/ 2575480 w 10789097"/>
              <a:gd name="connsiteY54" fmla="*/ 2889567 h 6857999"/>
              <a:gd name="connsiteX55" fmla="*/ 2569547 w 10789097"/>
              <a:gd name="connsiteY55" fmla="*/ 2888297 h 6857999"/>
              <a:gd name="connsiteX56" fmla="*/ 2563615 w 10789097"/>
              <a:gd name="connsiteY56" fmla="*/ 2887027 h 6857999"/>
              <a:gd name="connsiteX57" fmla="*/ 2557682 w 10789097"/>
              <a:gd name="connsiteY57" fmla="*/ 2885757 h 6857999"/>
              <a:gd name="connsiteX58" fmla="*/ 2552098 w 10789097"/>
              <a:gd name="connsiteY58" fmla="*/ 2883535 h 6857999"/>
              <a:gd name="connsiteX59" fmla="*/ 2546515 w 10789097"/>
              <a:gd name="connsiteY59" fmla="*/ 2881312 h 6857999"/>
              <a:gd name="connsiteX60" fmla="*/ 2540931 w 10789097"/>
              <a:gd name="connsiteY60" fmla="*/ 2879090 h 6857999"/>
              <a:gd name="connsiteX61" fmla="*/ 2535347 w 10789097"/>
              <a:gd name="connsiteY61" fmla="*/ 2876550 h 6857999"/>
              <a:gd name="connsiteX62" fmla="*/ 2530112 w 10789097"/>
              <a:gd name="connsiteY62" fmla="*/ 2873375 h 6857999"/>
              <a:gd name="connsiteX63" fmla="*/ 2524878 w 10789097"/>
              <a:gd name="connsiteY63" fmla="*/ 2870200 h 6857999"/>
              <a:gd name="connsiteX64" fmla="*/ 2519643 w 10789097"/>
              <a:gd name="connsiteY64" fmla="*/ 2866390 h 6857999"/>
              <a:gd name="connsiteX65" fmla="*/ 2514757 w 10789097"/>
              <a:gd name="connsiteY65" fmla="*/ 2862580 h 6857999"/>
              <a:gd name="connsiteX66" fmla="*/ 2509872 w 10789097"/>
              <a:gd name="connsiteY66" fmla="*/ 2858770 h 6857999"/>
              <a:gd name="connsiteX67" fmla="*/ 2505335 w 10789097"/>
              <a:gd name="connsiteY67" fmla="*/ 2854325 h 6857999"/>
              <a:gd name="connsiteX68" fmla="*/ 2390869 w 10789097"/>
              <a:gd name="connsiteY68" fmla="*/ 2740025 h 6857999"/>
              <a:gd name="connsiteX69" fmla="*/ 2385983 w 10789097"/>
              <a:gd name="connsiteY69" fmla="*/ 2735580 h 6857999"/>
              <a:gd name="connsiteX70" fmla="*/ 2381097 w 10789097"/>
              <a:gd name="connsiteY70" fmla="*/ 2731452 h 6857999"/>
              <a:gd name="connsiteX71" fmla="*/ 2376212 w 10789097"/>
              <a:gd name="connsiteY71" fmla="*/ 2727642 h 6857999"/>
              <a:gd name="connsiteX72" fmla="*/ 2371326 w 10789097"/>
              <a:gd name="connsiteY72" fmla="*/ 2724150 h 6857999"/>
              <a:gd name="connsiteX73" fmla="*/ 2366091 w 10789097"/>
              <a:gd name="connsiteY73" fmla="*/ 2720975 h 6857999"/>
              <a:gd name="connsiteX74" fmla="*/ 2360507 w 10789097"/>
              <a:gd name="connsiteY74" fmla="*/ 2717800 h 6857999"/>
              <a:gd name="connsiteX75" fmla="*/ 2355273 w 10789097"/>
              <a:gd name="connsiteY75" fmla="*/ 2715260 h 6857999"/>
              <a:gd name="connsiteX76" fmla="*/ 2349689 w 10789097"/>
              <a:gd name="connsiteY76" fmla="*/ 2713037 h 6857999"/>
              <a:gd name="connsiteX77" fmla="*/ 2343757 w 10789097"/>
              <a:gd name="connsiteY77" fmla="*/ 2710497 h 6857999"/>
              <a:gd name="connsiteX78" fmla="*/ 2338173 w 10789097"/>
              <a:gd name="connsiteY78" fmla="*/ 2708592 h 6857999"/>
              <a:gd name="connsiteX79" fmla="*/ 2332240 w 10789097"/>
              <a:gd name="connsiteY79" fmla="*/ 2707322 h 6857999"/>
              <a:gd name="connsiteX80" fmla="*/ 2326307 w 10789097"/>
              <a:gd name="connsiteY80" fmla="*/ 2706052 h 6857999"/>
              <a:gd name="connsiteX81" fmla="*/ 2320724 w 10789097"/>
              <a:gd name="connsiteY81" fmla="*/ 2704782 h 6857999"/>
              <a:gd name="connsiteX82" fmla="*/ 2314442 w 10789097"/>
              <a:gd name="connsiteY82" fmla="*/ 2704147 h 6857999"/>
              <a:gd name="connsiteX83" fmla="*/ 2308509 w 10789097"/>
              <a:gd name="connsiteY83" fmla="*/ 2703830 h 6857999"/>
              <a:gd name="connsiteX84" fmla="*/ 2302577 w 10789097"/>
              <a:gd name="connsiteY84" fmla="*/ 2703512 h 6857999"/>
              <a:gd name="connsiteX85" fmla="*/ 2296644 w 10789097"/>
              <a:gd name="connsiteY85" fmla="*/ 2703830 h 6857999"/>
              <a:gd name="connsiteX86" fmla="*/ 2290711 w 10789097"/>
              <a:gd name="connsiteY86" fmla="*/ 2704147 h 6857999"/>
              <a:gd name="connsiteX87" fmla="*/ 2284779 w 10789097"/>
              <a:gd name="connsiteY87" fmla="*/ 2704782 h 6857999"/>
              <a:gd name="connsiteX88" fmla="*/ 2278846 w 10789097"/>
              <a:gd name="connsiteY88" fmla="*/ 2706052 h 6857999"/>
              <a:gd name="connsiteX89" fmla="*/ 2272913 w 10789097"/>
              <a:gd name="connsiteY89" fmla="*/ 2707322 h 6857999"/>
              <a:gd name="connsiteX90" fmla="*/ 2267330 w 10789097"/>
              <a:gd name="connsiteY90" fmla="*/ 2708592 h 6857999"/>
              <a:gd name="connsiteX91" fmla="*/ 2261397 w 10789097"/>
              <a:gd name="connsiteY91" fmla="*/ 2710497 h 6857999"/>
              <a:gd name="connsiteX92" fmla="*/ 2255813 w 10789097"/>
              <a:gd name="connsiteY92" fmla="*/ 2713037 h 6857999"/>
              <a:gd name="connsiteX93" fmla="*/ 2250229 w 10789097"/>
              <a:gd name="connsiteY93" fmla="*/ 2715260 h 6857999"/>
              <a:gd name="connsiteX94" fmla="*/ 2244646 w 10789097"/>
              <a:gd name="connsiteY94" fmla="*/ 2717800 h 6857999"/>
              <a:gd name="connsiteX95" fmla="*/ 2239411 w 10789097"/>
              <a:gd name="connsiteY95" fmla="*/ 2720975 h 6857999"/>
              <a:gd name="connsiteX96" fmla="*/ 2234177 w 10789097"/>
              <a:gd name="connsiteY96" fmla="*/ 2724150 h 6857999"/>
              <a:gd name="connsiteX97" fmla="*/ 2228942 w 10789097"/>
              <a:gd name="connsiteY97" fmla="*/ 2727642 h 6857999"/>
              <a:gd name="connsiteX98" fmla="*/ 2224056 w 10789097"/>
              <a:gd name="connsiteY98" fmla="*/ 2731452 h 6857999"/>
              <a:gd name="connsiteX99" fmla="*/ 2219170 w 10789097"/>
              <a:gd name="connsiteY99" fmla="*/ 2735580 h 6857999"/>
              <a:gd name="connsiteX100" fmla="*/ 2214633 w 10789097"/>
              <a:gd name="connsiteY100" fmla="*/ 2740025 h 6857999"/>
              <a:gd name="connsiteX101" fmla="*/ 2210097 w 10789097"/>
              <a:gd name="connsiteY101" fmla="*/ 2744787 h 6857999"/>
              <a:gd name="connsiteX102" fmla="*/ 2206258 w 10789097"/>
              <a:gd name="connsiteY102" fmla="*/ 2749550 h 6857999"/>
              <a:gd name="connsiteX103" fmla="*/ 2202070 w 10789097"/>
              <a:gd name="connsiteY103" fmla="*/ 2754312 h 6857999"/>
              <a:gd name="connsiteX104" fmla="*/ 2198581 w 10789097"/>
              <a:gd name="connsiteY104" fmla="*/ 2759710 h 6857999"/>
              <a:gd name="connsiteX105" fmla="*/ 2195091 w 10789097"/>
              <a:gd name="connsiteY105" fmla="*/ 2764790 h 6857999"/>
              <a:gd name="connsiteX106" fmla="*/ 2191950 w 10789097"/>
              <a:gd name="connsiteY106" fmla="*/ 2770187 h 6857999"/>
              <a:gd name="connsiteX107" fmla="*/ 2189507 w 10789097"/>
              <a:gd name="connsiteY107" fmla="*/ 2775585 h 6857999"/>
              <a:gd name="connsiteX108" fmla="*/ 2187064 w 10789097"/>
              <a:gd name="connsiteY108" fmla="*/ 2781300 h 6857999"/>
              <a:gd name="connsiteX109" fmla="*/ 2184621 w 10789097"/>
              <a:gd name="connsiteY109" fmla="*/ 2787015 h 6857999"/>
              <a:gd name="connsiteX110" fmla="*/ 2182876 w 10789097"/>
              <a:gd name="connsiteY110" fmla="*/ 2792730 h 6857999"/>
              <a:gd name="connsiteX111" fmla="*/ 2181480 w 10789097"/>
              <a:gd name="connsiteY111" fmla="*/ 2798445 h 6857999"/>
              <a:gd name="connsiteX112" fmla="*/ 2180085 w 10789097"/>
              <a:gd name="connsiteY112" fmla="*/ 2804477 h 6857999"/>
              <a:gd name="connsiteX113" fmla="*/ 2179037 w 10789097"/>
              <a:gd name="connsiteY113" fmla="*/ 2810192 h 6857999"/>
              <a:gd name="connsiteX114" fmla="*/ 2178339 w 10789097"/>
              <a:gd name="connsiteY114" fmla="*/ 2816225 h 6857999"/>
              <a:gd name="connsiteX115" fmla="*/ 2177991 w 10789097"/>
              <a:gd name="connsiteY115" fmla="*/ 2822257 h 6857999"/>
              <a:gd name="connsiteX116" fmla="*/ 2177641 w 10789097"/>
              <a:gd name="connsiteY116" fmla="*/ 2827972 h 6857999"/>
              <a:gd name="connsiteX117" fmla="*/ 2177991 w 10789097"/>
              <a:gd name="connsiteY117" fmla="*/ 2834005 h 6857999"/>
              <a:gd name="connsiteX118" fmla="*/ 2178339 w 10789097"/>
              <a:gd name="connsiteY118" fmla="*/ 2840037 h 6857999"/>
              <a:gd name="connsiteX119" fmla="*/ 2179037 w 10789097"/>
              <a:gd name="connsiteY119" fmla="*/ 2845752 h 6857999"/>
              <a:gd name="connsiteX120" fmla="*/ 2180085 w 10789097"/>
              <a:gd name="connsiteY120" fmla="*/ 2851785 h 6857999"/>
              <a:gd name="connsiteX121" fmla="*/ 2181480 w 10789097"/>
              <a:gd name="connsiteY121" fmla="*/ 2857817 h 6857999"/>
              <a:gd name="connsiteX122" fmla="*/ 2182876 w 10789097"/>
              <a:gd name="connsiteY122" fmla="*/ 2863532 h 6857999"/>
              <a:gd name="connsiteX123" fmla="*/ 2184621 w 10789097"/>
              <a:gd name="connsiteY123" fmla="*/ 2869247 h 6857999"/>
              <a:gd name="connsiteX124" fmla="*/ 2187064 w 10789097"/>
              <a:gd name="connsiteY124" fmla="*/ 2875280 h 6857999"/>
              <a:gd name="connsiteX125" fmla="*/ 2189507 w 10789097"/>
              <a:gd name="connsiteY125" fmla="*/ 2880677 h 6857999"/>
              <a:gd name="connsiteX126" fmla="*/ 2191950 w 10789097"/>
              <a:gd name="connsiteY126" fmla="*/ 2886075 h 6857999"/>
              <a:gd name="connsiteX127" fmla="*/ 2195091 w 10789097"/>
              <a:gd name="connsiteY127" fmla="*/ 2891472 h 6857999"/>
              <a:gd name="connsiteX128" fmla="*/ 2198581 w 10789097"/>
              <a:gd name="connsiteY128" fmla="*/ 2896870 h 6857999"/>
              <a:gd name="connsiteX129" fmla="*/ 2202070 w 10789097"/>
              <a:gd name="connsiteY129" fmla="*/ 2901632 h 6857999"/>
              <a:gd name="connsiteX130" fmla="*/ 2206258 w 10789097"/>
              <a:gd name="connsiteY130" fmla="*/ 2906712 h 6857999"/>
              <a:gd name="connsiteX131" fmla="*/ 2210097 w 10789097"/>
              <a:gd name="connsiteY131" fmla="*/ 2911475 h 6857999"/>
              <a:gd name="connsiteX132" fmla="*/ 2214633 w 10789097"/>
              <a:gd name="connsiteY132" fmla="*/ 2916237 h 6857999"/>
              <a:gd name="connsiteX133" fmla="*/ 2938420 w 10789097"/>
              <a:gd name="connsiteY133" fmla="*/ 3639502 h 6857999"/>
              <a:gd name="connsiteX134" fmla="*/ 2942957 w 10789097"/>
              <a:gd name="connsiteY134" fmla="*/ 3643947 h 6857999"/>
              <a:gd name="connsiteX135" fmla="*/ 2947145 w 10789097"/>
              <a:gd name="connsiteY135" fmla="*/ 3648710 h 6857999"/>
              <a:gd name="connsiteX136" fmla="*/ 2950984 w 10789097"/>
              <a:gd name="connsiteY136" fmla="*/ 3653790 h 6857999"/>
              <a:gd name="connsiteX137" fmla="*/ 2954473 w 10789097"/>
              <a:gd name="connsiteY137" fmla="*/ 3658870 h 6857999"/>
              <a:gd name="connsiteX138" fmla="*/ 2957614 w 10789097"/>
              <a:gd name="connsiteY138" fmla="*/ 3664267 h 6857999"/>
              <a:gd name="connsiteX139" fmla="*/ 2960755 w 10789097"/>
              <a:gd name="connsiteY139" fmla="*/ 3669347 h 6857999"/>
              <a:gd name="connsiteX140" fmla="*/ 2963547 w 10789097"/>
              <a:gd name="connsiteY140" fmla="*/ 3675062 h 6857999"/>
              <a:gd name="connsiteX141" fmla="*/ 2965641 w 10789097"/>
              <a:gd name="connsiteY141" fmla="*/ 3680460 h 6857999"/>
              <a:gd name="connsiteX142" fmla="*/ 2968084 w 10789097"/>
              <a:gd name="connsiteY142" fmla="*/ 3686175 h 6857999"/>
              <a:gd name="connsiteX143" fmla="*/ 2969829 w 10789097"/>
              <a:gd name="connsiteY143" fmla="*/ 3691890 h 6857999"/>
              <a:gd name="connsiteX144" fmla="*/ 2971224 w 10789097"/>
              <a:gd name="connsiteY144" fmla="*/ 3697605 h 6857999"/>
              <a:gd name="connsiteX145" fmla="*/ 2972620 w 10789097"/>
              <a:gd name="connsiteY145" fmla="*/ 3703637 h 6857999"/>
              <a:gd name="connsiteX146" fmla="*/ 2973667 w 10789097"/>
              <a:gd name="connsiteY146" fmla="*/ 3709670 h 6857999"/>
              <a:gd name="connsiteX147" fmla="*/ 2974365 w 10789097"/>
              <a:gd name="connsiteY147" fmla="*/ 3715385 h 6857999"/>
              <a:gd name="connsiteX148" fmla="*/ 2974714 w 10789097"/>
              <a:gd name="connsiteY148" fmla="*/ 3721417 h 6857999"/>
              <a:gd name="connsiteX149" fmla="*/ 2975063 w 10789097"/>
              <a:gd name="connsiteY149" fmla="*/ 3727450 h 6857999"/>
              <a:gd name="connsiteX150" fmla="*/ 2974714 w 10789097"/>
              <a:gd name="connsiteY150" fmla="*/ 3733165 h 6857999"/>
              <a:gd name="connsiteX151" fmla="*/ 2974365 w 10789097"/>
              <a:gd name="connsiteY151" fmla="*/ 3739197 h 6857999"/>
              <a:gd name="connsiteX152" fmla="*/ 2973667 w 10789097"/>
              <a:gd name="connsiteY152" fmla="*/ 3745230 h 6857999"/>
              <a:gd name="connsiteX153" fmla="*/ 2972620 w 10789097"/>
              <a:gd name="connsiteY153" fmla="*/ 3750945 h 6857999"/>
              <a:gd name="connsiteX154" fmla="*/ 2971224 w 10789097"/>
              <a:gd name="connsiteY154" fmla="*/ 3756977 h 6857999"/>
              <a:gd name="connsiteX155" fmla="*/ 2969829 w 10789097"/>
              <a:gd name="connsiteY155" fmla="*/ 3763010 h 6857999"/>
              <a:gd name="connsiteX156" fmla="*/ 2968084 w 10789097"/>
              <a:gd name="connsiteY156" fmla="*/ 3768407 h 6857999"/>
              <a:gd name="connsiteX157" fmla="*/ 2965641 w 10789097"/>
              <a:gd name="connsiteY157" fmla="*/ 3774122 h 6857999"/>
              <a:gd name="connsiteX158" fmla="*/ 2963547 w 10789097"/>
              <a:gd name="connsiteY158" fmla="*/ 3779837 h 6857999"/>
              <a:gd name="connsiteX159" fmla="*/ 2960755 w 10789097"/>
              <a:gd name="connsiteY159" fmla="*/ 3785235 h 6857999"/>
              <a:gd name="connsiteX160" fmla="*/ 2957614 w 10789097"/>
              <a:gd name="connsiteY160" fmla="*/ 3790632 h 6857999"/>
              <a:gd name="connsiteX161" fmla="*/ 2954473 w 10789097"/>
              <a:gd name="connsiteY161" fmla="*/ 3795712 h 6857999"/>
              <a:gd name="connsiteX162" fmla="*/ 2950984 w 10789097"/>
              <a:gd name="connsiteY162" fmla="*/ 3801110 h 6857999"/>
              <a:gd name="connsiteX163" fmla="*/ 2947145 w 10789097"/>
              <a:gd name="connsiteY163" fmla="*/ 3805872 h 6857999"/>
              <a:gd name="connsiteX164" fmla="*/ 2942957 w 10789097"/>
              <a:gd name="connsiteY164" fmla="*/ 3810635 h 6857999"/>
              <a:gd name="connsiteX165" fmla="*/ 2938420 w 10789097"/>
              <a:gd name="connsiteY165" fmla="*/ 3815397 h 6857999"/>
              <a:gd name="connsiteX166" fmla="*/ 2933884 w 10789097"/>
              <a:gd name="connsiteY166" fmla="*/ 3819842 h 6857999"/>
              <a:gd name="connsiteX167" fmla="*/ 2928998 w 10789097"/>
              <a:gd name="connsiteY167" fmla="*/ 3823970 h 6857999"/>
              <a:gd name="connsiteX168" fmla="*/ 2924112 w 10789097"/>
              <a:gd name="connsiteY168" fmla="*/ 3827780 h 6857999"/>
              <a:gd name="connsiteX169" fmla="*/ 2918877 w 10789097"/>
              <a:gd name="connsiteY169" fmla="*/ 3831272 h 6857999"/>
              <a:gd name="connsiteX170" fmla="*/ 2913643 w 10789097"/>
              <a:gd name="connsiteY170" fmla="*/ 3834447 h 6857999"/>
              <a:gd name="connsiteX171" fmla="*/ 2908408 w 10789097"/>
              <a:gd name="connsiteY171" fmla="*/ 3837622 h 6857999"/>
              <a:gd name="connsiteX172" fmla="*/ 2902824 w 10789097"/>
              <a:gd name="connsiteY172" fmla="*/ 3840480 h 6857999"/>
              <a:gd name="connsiteX173" fmla="*/ 2897240 w 10789097"/>
              <a:gd name="connsiteY173" fmla="*/ 3843020 h 6857999"/>
              <a:gd name="connsiteX174" fmla="*/ 2891657 w 10789097"/>
              <a:gd name="connsiteY174" fmla="*/ 3844925 h 6857999"/>
              <a:gd name="connsiteX175" fmla="*/ 2885724 w 10789097"/>
              <a:gd name="connsiteY175" fmla="*/ 3846830 h 6857999"/>
              <a:gd name="connsiteX176" fmla="*/ 2880140 w 10789097"/>
              <a:gd name="connsiteY176" fmla="*/ 3848417 h 6857999"/>
              <a:gd name="connsiteX177" fmla="*/ 2874208 w 10789097"/>
              <a:gd name="connsiteY177" fmla="*/ 3849370 h 6857999"/>
              <a:gd name="connsiteX178" fmla="*/ 2868275 w 10789097"/>
              <a:gd name="connsiteY178" fmla="*/ 3850640 h 6857999"/>
              <a:gd name="connsiteX179" fmla="*/ 2862342 w 10789097"/>
              <a:gd name="connsiteY179" fmla="*/ 3851275 h 6857999"/>
              <a:gd name="connsiteX180" fmla="*/ 2856410 w 10789097"/>
              <a:gd name="connsiteY180" fmla="*/ 3851592 h 6857999"/>
              <a:gd name="connsiteX181" fmla="*/ 2850477 w 10789097"/>
              <a:gd name="connsiteY181" fmla="*/ 3851910 h 6857999"/>
              <a:gd name="connsiteX182" fmla="*/ 2844544 w 10789097"/>
              <a:gd name="connsiteY182" fmla="*/ 3851592 h 6857999"/>
              <a:gd name="connsiteX183" fmla="*/ 2838612 w 10789097"/>
              <a:gd name="connsiteY183" fmla="*/ 3851275 h 6857999"/>
              <a:gd name="connsiteX184" fmla="*/ 2832679 w 10789097"/>
              <a:gd name="connsiteY184" fmla="*/ 3850640 h 6857999"/>
              <a:gd name="connsiteX185" fmla="*/ 2826746 w 10789097"/>
              <a:gd name="connsiteY185" fmla="*/ 3849370 h 6857999"/>
              <a:gd name="connsiteX186" fmla="*/ 2820814 w 10789097"/>
              <a:gd name="connsiteY186" fmla="*/ 3848417 h 6857999"/>
              <a:gd name="connsiteX187" fmla="*/ 2814881 w 10789097"/>
              <a:gd name="connsiteY187" fmla="*/ 3846830 h 6857999"/>
              <a:gd name="connsiteX188" fmla="*/ 2809297 w 10789097"/>
              <a:gd name="connsiteY188" fmla="*/ 3844925 h 6857999"/>
              <a:gd name="connsiteX189" fmla="*/ 2803714 w 10789097"/>
              <a:gd name="connsiteY189" fmla="*/ 3843020 h 6857999"/>
              <a:gd name="connsiteX190" fmla="*/ 2798130 w 10789097"/>
              <a:gd name="connsiteY190" fmla="*/ 3840480 h 6857999"/>
              <a:gd name="connsiteX191" fmla="*/ 2792546 w 10789097"/>
              <a:gd name="connsiteY191" fmla="*/ 3837622 h 6857999"/>
              <a:gd name="connsiteX192" fmla="*/ 2787311 w 10789097"/>
              <a:gd name="connsiteY192" fmla="*/ 3834447 h 6857999"/>
              <a:gd name="connsiteX193" fmla="*/ 2782077 w 10789097"/>
              <a:gd name="connsiteY193" fmla="*/ 3831272 h 6857999"/>
              <a:gd name="connsiteX194" fmla="*/ 2776842 w 10789097"/>
              <a:gd name="connsiteY194" fmla="*/ 3827780 h 6857999"/>
              <a:gd name="connsiteX195" fmla="*/ 2771956 w 10789097"/>
              <a:gd name="connsiteY195" fmla="*/ 3823970 h 6857999"/>
              <a:gd name="connsiteX196" fmla="*/ 2767071 w 10789097"/>
              <a:gd name="connsiteY196" fmla="*/ 3819842 h 6857999"/>
              <a:gd name="connsiteX197" fmla="*/ 2762534 w 10789097"/>
              <a:gd name="connsiteY197" fmla="*/ 3815397 h 6857999"/>
              <a:gd name="connsiteX198" fmla="*/ 2666564 w 10789097"/>
              <a:gd name="connsiteY198" fmla="*/ 3720147 h 6857999"/>
              <a:gd name="connsiteX199" fmla="*/ 2559078 w 10789097"/>
              <a:gd name="connsiteY199" fmla="*/ 3612515 h 6857999"/>
              <a:gd name="connsiteX200" fmla="*/ 2554541 w 10789097"/>
              <a:gd name="connsiteY200" fmla="*/ 3608070 h 6857999"/>
              <a:gd name="connsiteX201" fmla="*/ 2549655 w 10789097"/>
              <a:gd name="connsiteY201" fmla="*/ 3604260 h 6857999"/>
              <a:gd name="connsiteX202" fmla="*/ 2544770 w 10789097"/>
              <a:gd name="connsiteY202" fmla="*/ 3600132 h 6857999"/>
              <a:gd name="connsiteX203" fmla="*/ 2539535 w 10789097"/>
              <a:gd name="connsiteY203" fmla="*/ 3596640 h 6857999"/>
              <a:gd name="connsiteX204" fmla="*/ 2534300 w 10789097"/>
              <a:gd name="connsiteY204" fmla="*/ 3593465 h 6857999"/>
              <a:gd name="connsiteX205" fmla="*/ 2529066 w 10789097"/>
              <a:gd name="connsiteY205" fmla="*/ 3590290 h 6857999"/>
              <a:gd name="connsiteX206" fmla="*/ 2523482 w 10789097"/>
              <a:gd name="connsiteY206" fmla="*/ 3587750 h 6857999"/>
              <a:gd name="connsiteX207" fmla="*/ 2517898 w 10789097"/>
              <a:gd name="connsiteY207" fmla="*/ 3585210 h 6857999"/>
              <a:gd name="connsiteX208" fmla="*/ 2512314 w 10789097"/>
              <a:gd name="connsiteY208" fmla="*/ 3583305 h 6857999"/>
              <a:gd name="connsiteX209" fmla="*/ 2506731 w 10789097"/>
              <a:gd name="connsiteY209" fmla="*/ 3581082 h 6857999"/>
              <a:gd name="connsiteX210" fmla="*/ 2500798 w 10789097"/>
              <a:gd name="connsiteY210" fmla="*/ 3579812 h 6857999"/>
              <a:gd name="connsiteX211" fmla="*/ 2494865 w 10789097"/>
              <a:gd name="connsiteY211" fmla="*/ 3578225 h 6857999"/>
              <a:gd name="connsiteX212" fmla="*/ 2488933 w 10789097"/>
              <a:gd name="connsiteY212" fmla="*/ 3577272 h 6857999"/>
              <a:gd name="connsiteX213" fmla="*/ 2483000 w 10789097"/>
              <a:gd name="connsiteY213" fmla="*/ 3576637 h 6857999"/>
              <a:gd name="connsiteX214" fmla="*/ 2476718 w 10789097"/>
              <a:gd name="connsiteY214" fmla="*/ 3576320 h 6857999"/>
              <a:gd name="connsiteX215" fmla="*/ 2470786 w 10789097"/>
              <a:gd name="connsiteY215" fmla="*/ 3576320 h 6857999"/>
              <a:gd name="connsiteX216" fmla="*/ 2464853 w 10789097"/>
              <a:gd name="connsiteY216" fmla="*/ 3576320 h 6857999"/>
              <a:gd name="connsiteX217" fmla="*/ 2458920 w 10789097"/>
              <a:gd name="connsiteY217" fmla="*/ 3576637 h 6857999"/>
              <a:gd name="connsiteX218" fmla="*/ 2452988 w 10789097"/>
              <a:gd name="connsiteY218" fmla="*/ 3577272 h 6857999"/>
              <a:gd name="connsiteX219" fmla="*/ 2447055 w 10789097"/>
              <a:gd name="connsiteY219" fmla="*/ 3578225 h 6857999"/>
              <a:gd name="connsiteX220" fmla="*/ 2441122 w 10789097"/>
              <a:gd name="connsiteY220" fmla="*/ 3579812 h 6857999"/>
              <a:gd name="connsiteX221" fmla="*/ 2435190 w 10789097"/>
              <a:gd name="connsiteY221" fmla="*/ 3581082 h 6857999"/>
              <a:gd name="connsiteX222" fmla="*/ 2429606 w 10789097"/>
              <a:gd name="connsiteY222" fmla="*/ 3583305 h 6857999"/>
              <a:gd name="connsiteX223" fmla="*/ 2424022 w 10789097"/>
              <a:gd name="connsiteY223" fmla="*/ 3585210 h 6857999"/>
              <a:gd name="connsiteX224" fmla="*/ 2418439 w 10789097"/>
              <a:gd name="connsiteY224" fmla="*/ 3587750 h 6857999"/>
              <a:gd name="connsiteX225" fmla="*/ 2412855 w 10789097"/>
              <a:gd name="connsiteY225" fmla="*/ 3590290 h 6857999"/>
              <a:gd name="connsiteX226" fmla="*/ 2407620 w 10789097"/>
              <a:gd name="connsiteY226" fmla="*/ 3593465 h 6857999"/>
              <a:gd name="connsiteX227" fmla="*/ 2402385 w 10789097"/>
              <a:gd name="connsiteY227" fmla="*/ 3596640 h 6857999"/>
              <a:gd name="connsiteX228" fmla="*/ 2397151 w 10789097"/>
              <a:gd name="connsiteY228" fmla="*/ 3600450 h 6857999"/>
              <a:gd name="connsiteX229" fmla="*/ 2392265 w 10789097"/>
              <a:gd name="connsiteY229" fmla="*/ 3604260 h 6857999"/>
              <a:gd name="connsiteX230" fmla="*/ 2387379 w 10789097"/>
              <a:gd name="connsiteY230" fmla="*/ 3608070 h 6857999"/>
              <a:gd name="connsiteX231" fmla="*/ 2382842 w 10789097"/>
              <a:gd name="connsiteY231" fmla="*/ 3612515 h 6857999"/>
              <a:gd name="connsiteX232" fmla="*/ 2379003 w 10789097"/>
              <a:gd name="connsiteY232" fmla="*/ 3616325 h 6857999"/>
              <a:gd name="connsiteX233" fmla="*/ 2375863 w 10789097"/>
              <a:gd name="connsiteY233" fmla="*/ 3620135 h 6857999"/>
              <a:gd name="connsiteX234" fmla="*/ 2369581 w 10789097"/>
              <a:gd name="connsiteY234" fmla="*/ 3628390 h 6857999"/>
              <a:gd name="connsiteX235" fmla="*/ 2363997 w 10789097"/>
              <a:gd name="connsiteY235" fmla="*/ 3636327 h 6857999"/>
              <a:gd name="connsiteX236" fmla="*/ 2359461 w 10789097"/>
              <a:gd name="connsiteY236" fmla="*/ 3644900 h 6857999"/>
              <a:gd name="connsiteX237" fmla="*/ 2355273 w 10789097"/>
              <a:gd name="connsiteY237" fmla="*/ 3654107 h 6857999"/>
              <a:gd name="connsiteX238" fmla="*/ 2352132 w 10789097"/>
              <a:gd name="connsiteY238" fmla="*/ 3663315 h 6857999"/>
              <a:gd name="connsiteX239" fmla="*/ 2349689 w 10789097"/>
              <a:gd name="connsiteY239" fmla="*/ 3672522 h 6857999"/>
              <a:gd name="connsiteX240" fmla="*/ 2347944 w 10789097"/>
              <a:gd name="connsiteY240" fmla="*/ 3682047 h 6857999"/>
              <a:gd name="connsiteX241" fmla="*/ 2346897 w 10789097"/>
              <a:gd name="connsiteY241" fmla="*/ 3691572 h 6857999"/>
              <a:gd name="connsiteX242" fmla="*/ 2346548 w 10789097"/>
              <a:gd name="connsiteY242" fmla="*/ 3701097 h 6857999"/>
              <a:gd name="connsiteX243" fmla="*/ 2347246 w 10789097"/>
              <a:gd name="connsiteY243" fmla="*/ 3710622 h 6857999"/>
              <a:gd name="connsiteX244" fmla="*/ 2348293 w 10789097"/>
              <a:gd name="connsiteY244" fmla="*/ 3720465 h 6857999"/>
              <a:gd name="connsiteX245" fmla="*/ 2350387 w 10789097"/>
              <a:gd name="connsiteY245" fmla="*/ 3729672 h 6857999"/>
              <a:gd name="connsiteX246" fmla="*/ 2352830 w 10789097"/>
              <a:gd name="connsiteY246" fmla="*/ 3739197 h 6857999"/>
              <a:gd name="connsiteX247" fmla="*/ 2356320 w 10789097"/>
              <a:gd name="connsiteY247" fmla="*/ 3748405 h 6857999"/>
              <a:gd name="connsiteX248" fmla="*/ 2360507 w 10789097"/>
              <a:gd name="connsiteY248" fmla="*/ 3756977 h 6857999"/>
              <a:gd name="connsiteX249" fmla="*/ 2651907 w 10789097"/>
              <a:gd name="connsiteY249" fmla="*/ 4048442 h 6857999"/>
              <a:gd name="connsiteX250" fmla="*/ 2656444 w 10789097"/>
              <a:gd name="connsiteY250" fmla="*/ 4052887 h 6857999"/>
              <a:gd name="connsiteX251" fmla="*/ 2660631 w 10789097"/>
              <a:gd name="connsiteY251" fmla="*/ 4057967 h 6857999"/>
              <a:gd name="connsiteX252" fmla="*/ 2664470 w 10789097"/>
              <a:gd name="connsiteY252" fmla="*/ 4062730 h 6857999"/>
              <a:gd name="connsiteX253" fmla="*/ 2667960 w 10789097"/>
              <a:gd name="connsiteY253" fmla="*/ 4067810 h 6857999"/>
              <a:gd name="connsiteX254" fmla="*/ 2671101 w 10789097"/>
              <a:gd name="connsiteY254" fmla="*/ 4073207 h 6857999"/>
              <a:gd name="connsiteX255" fmla="*/ 2674242 w 10789097"/>
              <a:gd name="connsiteY255" fmla="*/ 4078287 h 6857999"/>
              <a:gd name="connsiteX256" fmla="*/ 2677033 w 10789097"/>
              <a:gd name="connsiteY256" fmla="*/ 4084002 h 6857999"/>
              <a:gd name="connsiteX257" fmla="*/ 2679476 w 10789097"/>
              <a:gd name="connsiteY257" fmla="*/ 4089717 h 6857999"/>
              <a:gd name="connsiteX258" fmla="*/ 2681570 w 10789097"/>
              <a:gd name="connsiteY258" fmla="*/ 4095115 h 6857999"/>
              <a:gd name="connsiteX259" fmla="*/ 2683315 w 10789097"/>
              <a:gd name="connsiteY259" fmla="*/ 4100830 h 6857999"/>
              <a:gd name="connsiteX260" fmla="*/ 2684711 w 10789097"/>
              <a:gd name="connsiteY260" fmla="*/ 4106862 h 6857999"/>
              <a:gd name="connsiteX261" fmla="*/ 2686107 w 10789097"/>
              <a:gd name="connsiteY261" fmla="*/ 4112577 h 6857999"/>
              <a:gd name="connsiteX262" fmla="*/ 2687154 w 10789097"/>
              <a:gd name="connsiteY262" fmla="*/ 4118610 h 6857999"/>
              <a:gd name="connsiteX263" fmla="*/ 2687852 w 10789097"/>
              <a:gd name="connsiteY263" fmla="*/ 4124642 h 6857999"/>
              <a:gd name="connsiteX264" fmla="*/ 2688201 w 10789097"/>
              <a:gd name="connsiteY264" fmla="*/ 4130357 h 6857999"/>
              <a:gd name="connsiteX265" fmla="*/ 2688550 w 10789097"/>
              <a:gd name="connsiteY265" fmla="*/ 4136390 h 6857999"/>
              <a:gd name="connsiteX266" fmla="*/ 2688201 w 10789097"/>
              <a:gd name="connsiteY266" fmla="*/ 4142422 h 6857999"/>
              <a:gd name="connsiteX267" fmla="*/ 2687852 w 10789097"/>
              <a:gd name="connsiteY267" fmla="*/ 4148137 h 6857999"/>
              <a:gd name="connsiteX268" fmla="*/ 2687154 w 10789097"/>
              <a:gd name="connsiteY268" fmla="*/ 4154170 h 6857999"/>
              <a:gd name="connsiteX269" fmla="*/ 2686107 w 10789097"/>
              <a:gd name="connsiteY269" fmla="*/ 4160202 h 6857999"/>
              <a:gd name="connsiteX270" fmla="*/ 2684711 w 10789097"/>
              <a:gd name="connsiteY270" fmla="*/ 4165917 h 6857999"/>
              <a:gd name="connsiteX271" fmla="*/ 2683315 w 10789097"/>
              <a:gd name="connsiteY271" fmla="*/ 4171632 h 6857999"/>
              <a:gd name="connsiteX272" fmla="*/ 2681570 w 10789097"/>
              <a:gd name="connsiteY272" fmla="*/ 4177665 h 6857999"/>
              <a:gd name="connsiteX273" fmla="*/ 2679476 w 10789097"/>
              <a:gd name="connsiteY273" fmla="*/ 4183062 h 6857999"/>
              <a:gd name="connsiteX274" fmla="*/ 2677033 w 10789097"/>
              <a:gd name="connsiteY274" fmla="*/ 4188777 h 6857999"/>
              <a:gd name="connsiteX275" fmla="*/ 2674242 w 10789097"/>
              <a:gd name="connsiteY275" fmla="*/ 4194175 h 6857999"/>
              <a:gd name="connsiteX276" fmla="*/ 2671101 w 10789097"/>
              <a:gd name="connsiteY276" fmla="*/ 4199572 h 6857999"/>
              <a:gd name="connsiteX277" fmla="*/ 2667960 w 10789097"/>
              <a:gd name="connsiteY277" fmla="*/ 4204652 h 6857999"/>
              <a:gd name="connsiteX278" fmla="*/ 2664470 w 10789097"/>
              <a:gd name="connsiteY278" fmla="*/ 4210050 h 6857999"/>
              <a:gd name="connsiteX279" fmla="*/ 2660631 w 10789097"/>
              <a:gd name="connsiteY279" fmla="*/ 4214812 h 6857999"/>
              <a:gd name="connsiteX280" fmla="*/ 2656444 w 10789097"/>
              <a:gd name="connsiteY280" fmla="*/ 4219892 h 6857999"/>
              <a:gd name="connsiteX281" fmla="*/ 2651907 w 10789097"/>
              <a:gd name="connsiteY281" fmla="*/ 4224337 h 6857999"/>
              <a:gd name="connsiteX282" fmla="*/ 2647370 w 10789097"/>
              <a:gd name="connsiteY282" fmla="*/ 4228782 h 6857999"/>
              <a:gd name="connsiteX283" fmla="*/ 2642484 w 10789097"/>
              <a:gd name="connsiteY283" fmla="*/ 4232592 h 6857999"/>
              <a:gd name="connsiteX284" fmla="*/ 2637599 w 10789097"/>
              <a:gd name="connsiteY284" fmla="*/ 4236402 h 6857999"/>
              <a:gd name="connsiteX285" fmla="*/ 2632713 w 10789097"/>
              <a:gd name="connsiteY285" fmla="*/ 4239895 h 6857999"/>
              <a:gd name="connsiteX286" fmla="*/ 2627478 w 10789097"/>
              <a:gd name="connsiteY286" fmla="*/ 4243387 h 6857999"/>
              <a:gd name="connsiteX287" fmla="*/ 2622243 w 10789097"/>
              <a:gd name="connsiteY287" fmla="*/ 4246245 h 6857999"/>
              <a:gd name="connsiteX288" fmla="*/ 2616660 w 10789097"/>
              <a:gd name="connsiteY288" fmla="*/ 4249102 h 6857999"/>
              <a:gd name="connsiteX289" fmla="*/ 2611425 w 10789097"/>
              <a:gd name="connsiteY289" fmla="*/ 4251642 h 6857999"/>
              <a:gd name="connsiteX290" fmla="*/ 2605841 w 10789097"/>
              <a:gd name="connsiteY290" fmla="*/ 4253547 h 6857999"/>
              <a:gd name="connsiteX291" fmla="*/ 2599909 w 10789097"/>
              <a:gd name="connsiteY291" fmla="*/ 4255452 h 6857999"/>
              <a:gd name="connsiteX292" fmla="*/ 2594325 w 10789097"/>
              <a:gd name="connsiteY292" fmla="*/ 4257040 h 6857999"/>
              <a:gd name="connsiteX293" fmla="*/ 2588392 w 10789097"/>
              <a:gd name="connsiteY293" fmla="*/ 4258627 h 6857999"/>
              <a:gd name="connsiteX294" fmla="*/ 2582809 w 10789097"/>
              <a:gd name="connsiteY294" fmla="*/ 4259262 h 6857999"/>
              <a:gd name="connsiteX295" fmla="*/ 2576876 w 10789097"/>
              <a:gd name="connsiteY295" fmla="*/ 4260215 h 6857999"/>
              <a:gd name="connsiteX296" fmla="*/ 2570943 w 10789097"/>
              <a:gd name="connsiteY296" fmla="*/ 4260532 h 6857999"/>
              <a:gd name="connsiteX297" fmla="*/ 2565011 w 10789097"/>
              <a:gd name="connsiteY297" fmla="*/ 4260532 h 6857999"/>
              <a:gd name="connsiteX298" fmla="*/ 5169805 w 10789097"/>
              <a:gd name="connsiteY298" fmla="*/ 6857999 h 6857999"/>
              <a:gd name="connsiteX299" fmla="*/ 10789097 w 10789097"/>
              <a:gd name="connsiteY299" fmla="*/ 6857999 h 6857999"/>
              <a:gd name="connsiteX300" fmla="*/ 10789097 w 10789097"/>
              <a:gd name="connsiteY300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</a:cxnLst>
            <a:rect l="l" t="t" r="r" b="b"/>
            <a:pathLst>
              <a:path w="10789097" h="6857999">
                <a:moveTo>
                  <a:pt x="10789097" y="0"/>
                </a:moveTo>
                <a:lnTo>
                  <a:pt x="0" y="0"/>
                </a:lnTo>
                <a:lnTo>
                  <a:pt x="34549" y="34608"/>
                </a:lnTo>
                <a:lnTo>
                  <a:pt x="2681221" y="2678112"/>
                </a:lnTo>
                <a:lnTo>
                  <a:pt x="2685758" y="2682875"/>
                </a:lnTo>
                <a:lnTo>
                  <a:pt x="2689946" y="2687320"/>
                </a:lnTo>
                <a:lnTo>
                  <a:pt x="2693785" y="2692717"/>
                </a:lnTo>
                <a:lnTo>
                  <a:pt x="2697274" y="2697480"/>
                </a:lnTo>
                <a:lnTo>
                  <a:pt x="2700415" y="2702877"/>
                </a:lnTo>
                <a:lnTo>
                  <a:pt x="2703556" y="2708275"/>
                </a:lnTo>
                <a:lnTo>
                  <a:pt x="2706348" y="2713672"/>
                </a:lnTo>
                <a:lnTo>
                  <a:pt x="2708791" y="2719070"/>
                </a:lnTo>
                <a:lnTo>
                  <a:pt x="2710885" y="2725102"/>
                </a:lnTo>
                <a:lnTo>
                  <a:pt x="2712630" y="2730817"/>
                </a:lnTo>
                <a:lnTo>
                  <a:pt x="2714025" y="2736532"/>
                </a:lnTo>
                <a:lnTo>
                  <a:pt x="2715421" y="2742565"/>
                </a:lnTo>
                <a:lnTo>
                  <a:pt x="2716468" y="2748280"/>
                </a:lnTo>
                <a:cubicBezTo>
                  <a:pt x="2716701" y="2750185"/>
                  <a:pt x="2716933" y="2752090"/>
                  <a:pt x="2717166" y="2753995"/>
                </a:cubicBezTo>
                <a:cubicBezTo>
                  <a:pt x="2717282" y="2756112"/>
                  <a:pt x="2717399" y="2758228"/>
                  <a:pt x="2717515" y="2760345"/>
                </a:cubicBezTo>
                <a:cubicBezTo>
                  <a:pt x="2717631" y="2762356"/>
                  <a:pt x="2717748" y="2764366"/>
                  <a:pt x="2717864" y="2766377"/>
                </a:cubicBezTo>
                <a:cubicBezTo>
                  <a:pt x="2717748" y="2768282"/>
                  <a:pt x="2717631" y="2770187"/>
                  <a:pt x="2717515" y="2772092"/>
                </a:cubicBezTo>
                <a:cubicBezTo>
                  <a:pt x="2717399" y="2774103"/>
                  <a:pt x="2717282" y="2776114"/>
                  <a:pt x="2717166" y="2778125"/>
                </a:cubicBezTo>
                <a:cubicBezTo>
                  <a:pt x="2716933" y="2780136"/>
                  <a:pt x="2716701" y="2782146"/>
                  <a:pt x="2716468" y="2784157"/>
                </a:cubicBezTo>
                <a:lnTo>
                  <a:pt x="2715421" y="2790190"/>
                </a:lnTo>
                <a:lnTo>
                  <a:pt x="2714025" y="2795905"/>
                </a:lnTo>
                <a:lnTo>
                  <a:pt x="2712630" y="2801620"/>
                </a:lnTo>
                <a:lnTo>
                  <a:pt x="2710885" y="2807335"/>
                </a:lnTo>
                <a:lnTo>
                  <a:pt x="2708791" y="2813050"/>
                </a:lnTo>
                <a:lnTo>
                  <a:pt x="2706348" y="2818765"/>
                </a:lnTo>
                <a:lnTo>
                  <a:pt x="2703556" y="2824162"/>
                </a:lnTo>
                <a:lnTo>
                  <a:pt x="2700415" y="2829560"/>
                </a:lnTo>
                <a:lnTo>
                  <a:pt x="2697274" y="2834640"/>
                </a:lnTo>
                <a:lnTo>
                  <a:pt x="2693785" y="2840037"/>
                </a:lnTo>
                <a:lnTo>
                  <a:pt x="2689946" y="2844800"/>
                </a:lnTo>
                <a:lnTo>
                  <a:pt x="2685758" y="2849562"/>
                </a:lnTo>
                <a:lnTo>
                  <a:pt x="2681221" y="2854325"/>
                </a:lnTo>
                <a:lnTo>
                  <a:pt x="2676684" y="2858770"/>
                </a:lnTo>
                <a:lnTo>
                  <a:pt x="2671799" y="2862580"/>
                </a:lnTo>
                <a:lnTo>
                  <a:pt x="2666913" y="2866390"/>
                </a:lnTo>
                <a:lnTo>
                  <a:pt x="2661678" y="2870200"/>
                </a:lnTo>
                <a:lnTo>
                  <a:pt x="2656444" y="2873375"/>
                </a:lnTo>
                <a:lnTo>
                  <a:pt x="2651209" y="2876550"/>
                </a:lnTo>
                <a:lnTo>
                  <a:pt x="2645625" y="2879090"/>
                </a:lnTo>
                <a:lnTo>
                  <a:pt x="2640041" y="2881312"/>
                </a:lnTo>
                <a:lnTo>
                  <a:pt x="2634458" y="2883535"/>
                </a:lnTo>
                <a:lnTo>
                  <a:pt x="2628525" y="2885757"/>
                </a:lnTo>
                <a:lnTo>
                  <a:pt x="2622941" y="2887027"/>
                </a:lnTo>
                <a:lnTo>
                  <a:pt x="2617009" y="2888297"/>
                </a:lnTo>
                <a:lnTo>
                  <a:pt x="2611076" y="2889567"/>
                </a:lnTo>
                <a:lnTo>
                  <a:pt x="2605143" y="2890202"/>
                </a:lnTo>
                <a:lnTo>
                  <a:pt x="2599211" y="2890520"/>
                </a:lnTo>
                <a:lnTo>
                  <a:pt x="2593278" y="2890520"/>
                </a:lnTo>
                <a:lnTo>
                  <a:pt x="2587345" y="2890520"/>
                </a:lnTo>
                <a:lnTo>
                  <a:pt x="2581413" y="2890202"/>
                </a:lnTo>
                <a:lnTo>
                  <a:pt x="2575480" y="2889567"/>
                </a:lnTo>
                <a:lnTo>
                  <a:pt x="2569547" y="2888297"/>
                </a:lnTo>
                <a:lnTo>
                  <a:pt x="2563615" y="2887027"/>
                </a:lnTo>
                <a:lnTo>
                  <a:pt x="2557682" y="2885757"/>
                </a:lnTo>
                <a:lnTo>
                  <a:pt x="2552098" y="2883535"/>
                </a:lnTo>
                <a:lnTo>
                  <a:pt x="2546515" y="2881312"/>
                </a:lnTo>
                <a:lnTo>
                  <a:pt x="2540931" y="2879090"/>
                </a:lnTo>
                <a:lnTo>
                  <a:pt x="2535347" y="2876550"/>
                </a:lnTo>
                <a:lnTo>
                  <a:pt x="2530112" y="2873375"/>
                </a:lnTo>
                <a:lnTo>
                  <a:pt x="2524878" y="2870200"/>
                </a:lnTo>
                <a:lnTo>
                  <a:pt x="2519643" y="2866390"/>
                </a:lnTo>
                <a:lnTo>
                  <a:pt x="2514757" y="2862580"/>
                </a:lnTo>
                <a:lnTo>
                  <a:pt x="2509872" y="2858770"/>
                </a:lnTo>
                <a:lnTo>
                  <a:pt x="2505335" y="2854325"/>
                </a:lnTo>
                <a:lnTo>
                  <a:pt x="2390869" y="2740025"/>
                </a:lnTo>
                <a:lnTo>
                  <a:pt x="2385983" y="2735580"/>
                </a:lnTo>
                <a:lnTo>
                  <a:pt x="2381097" y="2731452"/>
                </a:lnTo>
                <a:lnTo>
                  <a:pt x="2376212" y="2727642"/>
                </a:lnTo>
                <a:lnTo>
                  <a:pt x="2371326" y="2724150"/>
                </a:lnTo>
                <a:lnTo>
                  <a:pt x="2366091" y="2720975"/>
                </a:lnTo>
                <a:lnTo>
                  <a:pt x="2360507" y="2717800"/>
                </a:lnTo>
                <a:lnTo>
                  <a:pt x="2355273" y="2715260"/>
                </a:lnTo>
                <a:lnTo>
                  <a:pt x="2349689" y="2713037"/>
                </a:lnTo>
                <a:lnTo>
                  <a:pt x="2343757" y="2710497"/>
                </a:lnTo>
                <a:lnTo>
                  <a:pt x="2338173" y="2708592"/>
                </a:lnTo>
                <a:lnTo>
                  <a:pt x="2332240" y="2707322"/>
                </a:lnTo>
                <a:lnTo>
                  <a:pt x="2326307" y="2706052"/>
                </a:lnTo>
                <a:lnTo>
                  <a:pt x="2320724" y="2704782"/>
                </a:lnTo>
                <a:lnTo>
                  <a:pt x="2314442" y="2704147"/>
                </a:lnTo>
                <a:lnTo>
                  <a:pt x="2308509" y="2703830"/>
                </a:lnTo>
                <a:lnTo>
                  <a:pt x="2302577" y="2703512"/>
                </a:lnTo>
                <a:lnTo>
                  <a:pt x="2296644" y="2703830"/>
                </a:lnTo>
                <a:lnTo>
                  <a:pt x="2290711" y="2704147"/>
                </a:lnTo>
                <a:lnTo>
                  <a:pt x="2284779" y="2704782"/>
                </a:lnTo>
                <a:lnTo>
                  <a:pt x="2278846" y="2706052"/>
                </a:lnTo>
                <a:lnTo>
                  <a:pt x="2272913" y="2707322"/>
                </a:lnTo>
                <a:lnTo>
                  <a:pt x="2267330" y="2708592"/>
                </a:lnTo>
                <a:lnTo>
                  <a:pt x="2261397" y="2710497"/>
                </a:lnTo>
                <a:lnTo>
                  <a:pt x="2255813" y="2713037"/>
                </a:lnTo>
                <a:lnTo>
                  <a:pt x="2250229" y="2715260"/>
                </a:lnTo>
                <a:lnTo>
                  <a:pt x="2244646" y="2717800"/>
                </a:lnTo>
                <a:lnTo>
                  <a:pt x="2239411" y="2720975"/>
                </a:lnTo>
                <a:lnTo>
                  <a:pt x="2234177" y="2724150"/>
                </a:lnTo>
                <a:lnTo>
                  <a:pt x="2228942" y="2727642"/>
                </a:lnTo>
                <a:lnTo>
                  <a:pt x="2224056" y="2731452"/>
                </a:lnTo>
                <a:lnTo>
                  <a:pt x="2219170" y="2735580"/>
                </a:lnTo>
                <a:lnTo>
                  <a:pt x="2214633" y="2740025"/>
                </a:lnTo>
                <a:lnTo>
                  <a:pt x="2210097" y="2744787"/>
                </a:lnTo>
                <a:lnTo>
                  <a:pt x="2206258" y="2749550"/>
                </a:lnTo>
                <a:lnTo>
                  <a:pt x="2202070" y="2754312"/>
                </a:lnTo>
                <a:lnTo>
                  <a:pt x="2198581" y="2759710"/>
                </a:lnTo>
                <a:lnTo>
                  <a:pt x="2195091" y="2764790"/>
                </a:lnTo>
                <a:lnTo>
                  <a:pt x="2191950" y="2770187"/>
                </a:lnTo>
                <a:lnTo>
                  <a:pt x="2189507" y="2775585"/>
                </a:lnTo>
                <a:lnTo>
                  <a:pt x="2187064" y="2781300"/>
                </a:lnTo>
                <a:lnTo>
                  <a:pt x="2184621" y="2787015"/>
                </a:lnTo>
                <a:lnTo>
                  <a:pt x="2182876" y="2792730"/>
                </a:lnTo>
                <a:lnTo>
                  <a:pt x="2181480" y="2798445"/>
                </a:lnTo>
                <a:lnTo>
                  <a:pt x="2180085" y="2804477"/>
                </a:lnTo>
                <a:lnTo>
                  <a:pt x="2179037" y="2810192"/>
                </a:lnTo>
                <a:cubicBezTo>
                  <a:pt x="2178804" y="2812203"/>
                  <a:pt x="2178572" y="2814214"/>
                  <a:pt x="2178339" y="2816225"/>
                </a:cubicBezTo>
                <a:lnTo>
                  <a:pt x="2177991" y="2822257"/>
                </a:lnTo>
                <a:cubicBezTo>
                  <a:pt x="2177874" y="2824162"/>
                  <a:pt x="2177758" y="2826067"/>
                  <a:pt x="2177641" y="2827972"/>
                </a:cubicBezTo>
                <a:cubicBezTo>
                  <a:pt x="2177758" y="2829983"/>
                  <a:pt x="2177874" y="2831994"/>
                  <a:pt x="2177991" y="2834005"/>
                </a:cubicBezTo>
                <a:lnTo>
                  <a:pt x="2178339" y="2840037"/>
                </a:lnTo>
                <a:cubicBezTo>
                  <a:pt x="2178572" y="2841942"/>
                  <a:pt x="2178804" y="2843847"/>
                  <a:pt x="2179037" y="2845752"/>
                </a:cubicBezTo>
                <a:lnTo>
                  <a:pt x="2180085" y="2851785"/>
                </a:lnTo>
                <a:lnTo>
                  <a:pt x="2181480" y="2857817"/>
                </a:lnTo>
                <a:lnTo>
                  <a:pt x="2182876" y="2863532"/>
                </a:lnTo>
                <a:lnTo>
                  <a:pt x="2184621" y="2869247"/>
                </a:lnTo>
                <a:lnTo>
                  <a:pt x="2187064" y="2875280"/>
                </a:lnTo>
                <a:lnTo>
                  <a:pt x="2189507" y="2880677"/>
                </a:lnTo>
                <a:lnTo>
                  <a:pt x="2191950" y="2886075"/>
                </a:lnTo>
                <a:lnTo>
                  <a:pt x="2195091" y="2891472"/>
                </a:lnTo>
                <a:lnTo>
                  <a:pt x="2198581" y="2896870"/>
                </a:lnTo>
                <a:lnTo>
                  <a:pt x="2202070" y="2901632"/>
                </a:lnTo>
                <a:lnTo>
                  <a:pt x="2206258" y="2906712"/>
                </a:lnTo>
                <a:lnTo>
                  <a:pt x="2210097" y="2911475"/>
                </a:lnTo>
                <a:lnTo>
                  <a:pt x="2214633" y="2916237"/>
                </a:lnTo>
                <a:lnTo>
                  <a:pt x="2938420" y="3639502"/>
                </a:lnTo>
                <a:lnTo>
                  <a:pt x="2942957" y="3643947"/>
                </a:lnTo>
                <a:lnTo>
                  <a:pt x="2947145" y="3648710"/>
                </a:lnTo>
                <a:lnTo>
                  <a:pt x="2950984" y="3653790"/>
                </a:lnTo>
                <a:lnTo>
                  <a:pt x="2954473" y="3658870"/>
                </a:lnTo>
                <a:lnTo>
                  <a:pt x="2957614" y="3664267"/>
                </a:lnTo>
                <a:lnTo>
                  <a:pt x="2960755" y="3669347"/>
                </a:lnTo>
                <a:lnTo>
                  <a:pt x="2963547" y="3675062"/>
                </a:lnTo>
                <a:lnTo>
                  <a:pt x="2965641" y="3680460"/>
                </a:lnTo>
                <a:lnTo>
                  <a:pt x="2968084" y="3686175"/>
                </a:lnTo>
                <a:lnTo>
                  <a:pt x="2969829" y="3691890"/>
                </a:lnTo>
                <a:lnTo>
                  <a:pt x="2971224" y="3697605"/>
                </a:lnTo>
                <a:lnTo>
                  <a:pt x="2972620" y="3703637"/>
                </a:lnTo>
                <a:lnTo>
                  <a:pt x="2973667" y="3709670"/>
                </a:lnTo>
                <a:cubicBezTo>
                  <a:pt x="2973900" y="3711575"/>
                  <a:pt x="2974132" y="3713480"/>
                  <a:pt x="2974365" y="3715385"/>
                </a:cubicBezTo>
                <a:cubicBezTo>
                  <a:pt x="2974481" y="3717396"/>
                  <a:pt x="2974598" y="3719406"/>
                  <a:pt x="2974714" y="3721417"/>
                </a:cubicBezTo>
                <a:cubicBezTo>
                  <a:pt x="2974830" y="3723428"/>
                  <a:pt x="2974947" y="3725439"/>
                  <a:pt x="2975063" y="3727450"/>
                </a:cubicBezTo>
                <a:cubicBezTo>
                  <a:pt x="2974947" y="3729355"/>
                  <a:pt x="2974830" y="3731260"/>
                  <a:pt x="2974714" y="3733165"/>
                </a:cubicBezTo>
                <a:cubicBezTo>
                  <a:pt x="2974598" y="3735176"/>
                  <a:pt x="2974481" y="3737186"/>
                  <a:pt x="2974365" y="3739197"/>
                </a:cubicBezTo>
                <a:cubicBezTo>
                  <a:pt x="2974132" y="3741208"/>
                  <a:pt x="2973900" y="3743219"/>
                  <a:pt x="2973667" y="3745230"/>
                </a:cubicBezTo>
                <a:lnTo>
                  <a:pt x="2972620" y="3750945"/>
                </a:lnTo>
                <a:lnTo>
                  <a:pt x="2971224" y="3756977"/>
                </a:lnTo>
                <a:lnTo>
                  <a:pt x="2969829" y="3763010"/>
                </a:lnTo>
                <a:lnTo>
                  <a:pt x="2968084" y="3768407"/>
                </a:lnTo>
                <a:lnTo>
                  <a:pt x="2965641" y="3774122"/>
                </a:lnTo>
                <a:lnTo>
                  <a:pt x="2963547" y="3779837"/>
                </a:lnTo>
                <a:lnTo>
                  <a:pt x="2960755" y="3785235"/>
                </a:lnTo>
                <a:lnTo>
                  <a:pt x="2957614" y="3790632"/>
                </a:lnTo>
                <a:lnTo>
                  <a:pt x="2954473" y="3795712"/>
                </a:lnTo>
                <a:lnTo>
                  <a:pt x="2950984" y="3801110"/>
                </a:lnTo>
                <a:lnTo>
                  <a:pt x="2947145" y="3805872"/>
                </a:lnTo>
                <a:lnTo>
                  <a:pt x="2942957" y="3810635"/>
                </a:lnTo>
                <a:lnTo>
                  <a:pt x="2938420" y="3815397"/>
                </a:lnTo>
                <a:lnTo>
                  <a:pt x="2933884" y="3819842"/>
                </a:lnTo>
                <a:lnTo>
                  <a:pt x="2928998" y="3823970"/>
                </a:lnTo>
                <a:lnTo>
                  <a:pt x="2924112" y="3827780"/>
                </a:lnTo>
                <a:lnTo>
                  <a:pt x="2918877" y="3831272"/>
                </a:lnTo>
                <a:lnTo>
                  <a:pt x="2913643" y="3834447"/>
                </a:lnTo>
                <a:lnTo>
                  <a:pt x="2908408" y="3837622"/>
                </a:lnTo>
                <a:lnTo>
                  <a:pt x="2902824" y="3840480"/>
                </a:lnTo>
                <a:lnTo>
                  <a:pt x="2897240" y="3843020"/>
                </a:lnTo>
                <a:lnTo>
                  <a:pt x="2891657" y="3844925"/>
                </a:lnTo>
                <a:lnTo>
                  <a:pt x="2885724" y="3846830"/>
                </a:lnTo>
                <a:lnTo>
                  <a:pt x="2880140" y="3848417"/>
                </a:lnTo>
                <a:lnTo>
                  <a:pt x="2874208" y="3849370"/>
                </a:lnTo>
                <a:lnTo>
                  <a:pt x="2868275" y="3850640"/>
                </a:lnTo>
                <a:lnTo>
                  <a:pt x="2862342" y="3851275"/>
                </a:lnTo>
                <a:lnTo>
                  <a:pt x="2856410" y="3851592"/>
                </a:lnTo>
                <a:lnTo>
                  <a:pt x="2850477" y="3851910"/>
                </a:lnTo>
                <a:lnTo>
                  <a:pt x="2844544" y="3851592"/>
                </a:lnTo>
                <a:lnTo>
                  <a:pt x="2838612" y="3851275"/>
                </a:lnTo>
                <a:lnTo>
                  <a:pt x="2832679" y="3850640"/>
                </a:lnTo>
                <a:lnTo>
                  <a:pt x="2826746" y="3849370"/>
                </a:lnTo>
                <a:lnTo>
                  <a:pt x="2820814" y="3848417"/>
                </a:lnTo>
                <a:lnTo>
                  <a:pt x="2814881" y="3846830"/>
                </a:lnTo>
                <a:lnTo>
                  <a:pt x="2809297" y="3844925"/>
                </a:lnTo>
                <a:lnTo>
                  <a:pt x="2803714" y="3843020"/>
                </a:lnTo>
                <a:lnTo>
                  <a:pt x="2798130" y="3840480"/>
                </a:lnTo>
                <a:lnTo>
                  <a:pt x="2792546" y="3837622"/>
                </a:lnTo>
                <a:lnTo>
                  <a:pt x="2787311" y="3834447"/>
                </a:lnTo>
                <a:lnTo>
                  <a:pt x="2782077" y="3831272"/>
                </a:lnTo>
                <a:lnTo>
                  <a:pt x="2776842" y="3827780"/>
                </a:lnTo>
                <a:lnTo>
                  <a:pt x="2771956" y="3823970"/>
                </a:lnTo>
                <a:lnTo>
                  <a:pt x="2767071" y="3819842"/>
                </a:lnTo>
                <a:lnTo>
                  <a:pt x="2762534" y="3815397"/>
                </a:lnTo>
                <a:lnTo>
                  <a:pt x="2666564" y="3720147"/>
                </a:lnTo>
                <a:lnTo>
                  <a:pt x="2559078" y="3612515"/>
                </a:lnTo>
                <a:lnTo>
                  <a:pt x="2554541" y="3608070"/>
                </a:lnTo>
                <a:lnTo>
                  <a:pt x="2549655" y="3604260"/>
                </a:lnTo>
                <a:lnTo>
                  <a:pt x="2544770" y="3600132"/>
                </a:lnTo>
                <a:lnTo>
                  <a:pt x="2539535" y="3596640"/>
                </a:lnTo>
                <a:lnTo>
                  <a:pt x="2534300" y="3593465"/>
                </a:lnTo>
                <a:lnTo>
                  <a:pt x="2529066" y="3590290"/>
                </a:lnTo>
                <a:lnTo>
                  <a:pt x="2523482" y="3587750"/>
                </a:lnTo>
                <a:lnTo>
                  <a:pt x="2517898" y="3585210"/>
                </a:lnTo>
                <a:lnTo>
                  <a:pt x="2512314" y="3583305"/>
                </a:lnTo>
                <a:lnTo>
                  <a:pt x="2506731" y="3581082"/>
                </a:lnTo>
                <a:lnTo>
                  <a:pt x="2500798" y="3579812"/>
                </a:lnTo>
                <a:lnTo>
                  <a:pt x="2494865" y="3578225"/>
                </a:lnTo>
                <a:lnTo>
                  <a:pt x="2488933" y="3577272"/>
                </a:lnTo>
                <a:lnTo>
                  <a:pt x="2483000" y="3576637"/>
                </a:lnTo>
                <a:lnTo>
                  <a:pt x="2476718" y="3576320"/>
                </a:lnTo>
                <a:lnTo>
                  <a:pt x="2470786" y="3576320"/>
                </a:lnTo>
                <a:lnTo>
                  <a:pt x="2464853" y="3576320"/>
                </a:lnTo>
                <a:lnTo>
                  <a:pt x="2458920" y="3576637"/>
                </a:lnTo>
                <a:lnTo>
                  <a:pt x="2452988" y="3577272"/>
                </a:lnTo>
                <a:lnTo>
                  <a:pt x="2447055" y="3578225"/>
                </a:lnTo>
                <a:lnTo>
                  <a:pt x="2441122" y="3579812"/>
                </a:lnTo>
                <a:lnTo>
                  <a:pt x="2435190" y="3581082"/>
                </a:lnTo>
                <a:lnTo>
                  <a:pt x="2429606" y="3583305"/>
                </a:lnTo>
                <a:lnTo>
                  <a:pt x="2424022" y="3585210"/>
                </a:lnTo>
                <a:lnTo>
                  <a:pt x="2418439" y="3587750"/>
                </a:lnTo>
                <a:lnTo>
                  <a:pt x="2412855" y="3590290"/>
                </a:lnTo>
                <a:lnTo>
                  <a:pt x="2407620" y="3593465"/>
                </a:lnTo>
                <a:lnTo>
                  <a:pt x="2402385" y="3596640"/>
                </a:lnTo>
                <a:lnTo>
                  <a:pt x="2397151" y="3600450"/>
                </a:lnTo>
                <a:lnTo>
                  <a:pt x="2392265" y="3604260"/>
                </a:lnTo>
                <a:lnTo>
                  <a:pt x="2387379" y="3608070"/>
                </a:lnTo>
                <a:lnTo>
                  <a:pt x="2382842" y="3612515"/>
                </a:lnTo>
                <a:lnTo>
                  <a:pt x="2379003" y="3616325"/>
                </a:lnTo>
                <a:lnTo>
                  <a:pt x="2375863" y="3620135"/>
                </a:lnTo>
                <a:lnTo>
                  <a:pt x="2369581" y="3628390"/>
                </a:lnTo>
                <a:lnTo>
                  <a:pt x="2363997" y="3636327"/>
                </a:lnTo>
                <a:lnTo>
                  <a:pt x="2359461" y="3644900"/>
                </a:lnTo>
                <a:lnTo>
                  <a:pt x="2355273" y="3654107"/>
                </a:lnTo>
                <a:lnTo>
                  <a:pt x="2352132" y="3663315"/>
                </a:lnTo>
                <a:lnTo>
                  <a:pt x="2349689" y="3672522"/>
                </a:lnTo>
                <a:lnTo>
                  <a:pt x="2347944" y="3682047"/>
                </a:lnTo>
                <a:lnTo>
                  <a:pt x="2346897" y="3691572"/>
                </a:lnTo>
                <a:cubicBezTo>
                  <a:pt x="2346781" y="3694747"/>
                  <a:pt x="2346664" y="3697922"/>
                  <a:pt x="2346548" y="3701097"/>
                </a:cubicBezTo>
                <a:cubicBezTo>
                  <a:pt x="2346781" y="3704272"/>
                  <a:pt x="2347013" y="3707447"/>
                  <a:pt x="2347246" y="3710622"/>
                </a:cubicBezTo>
                <a:lnTo>
                  <a:pt x="2348293" y="3720465"/>
                </a:lnTo>
                <a:lnTo>
                  <a:pt x="2350387" y="3729672"/>
                </a:lnTo>
                <a:lnTo>
                  <a:pt x="2352830" y="3739197"/>
                </a:lnTo>
                <a:lnTo>
                  <a:pt x="2356320" y="3748405"/>
                </a:lnTo>
                <a:lnTo>
                  <a:pt x="2360507" y="3756977"/>
                </a:lnTo>
                <a:lnTo>
                  <a:pt x="2651907" y="4048442"/>
                </a:lnTo>
                <a:lnTo>
                  <a:pt x="2656444" y="4052887"/>
                </a:lnTo>
                <a:lnTo>
                  <a:pt x="2660631" y="4057967"/>
                </a:lnTo>
                <a:lnTo>
                  <a:pt x="2664470" y="4062730"/>
                </a:lnTo>
                <a:lnTo>
                  <a:pt x="2667960" y="4067810"/>
                </a:lnTo>
                <a:lnTo>
                  <a:pt x="2671101" y="4073207"/>
                </a:lnTo>
                <a:lnTo>
                  <a:pt x="2674242" y="4078287"/>
                </a:lnTo>
                <a:lnTo>
                  <a:pt x="2677033" y="4084002"/>
                </a:lnTo>
                <a:lnTo>
                  <a:pt x="2679476" y="4089717"/>
                </a:lnTo>
                <a:lnTo>
                  <a:pt x="2681570" y="4095115"/>
                </a:lnTo>
                <a:lnTo>
                  <a:pt x="2683315" y="4100830"/>
                </a:lnTo>
                <a:lnTo>
                  <a:pt x="2684711" y="4106862"/>
                </a:lnTo>
                <a:lnTo>
                  <a:pt x="2686107" y="4112577"/>
                </a:lnTo>
                <a:lnTo>
                  <a:pt x="2687154" y="4118610"/>
                </a:lnTo>
                <a:cubicBezTo>
                  <a:pt x="2687387" y="4120621"/>
                  <a:pt x="2687619" y="4122631"/>
                  <a:pt x="2687852" y="4124642"/>
                </a:cubicBezTo>
                <a:cubicBezTo>
                  <a:pt x="2687968" y="4126547"/>
                  <a:pt x="2688085" y="4128452"/>
                  <a:pt x="2688201" y="4130357"/>
                </a:cubicBezTo>
                <a:cubicBezTo>
                  <a:pt x="2688317" y="4132368"/>
                  <a:pt x="2688434" y="4134379"/>
                  <a:pt x="2688550" y="4136390"/>
                </a:cubicBezTo>
                <a:cubicBezTo>
                  <a:pt x="2688434" y="4138401"/>
                  <a:pt x="2688317" y="4140411"/>
                  <a:pt x="2688201" y="4142422"/>
                </a:cubicBezTo>
                <a:cubicBezTo>
                  <a:pt x="2688085" y="4144327"/>
                  <a:pt x="2687968" y="4146232"/>
                  <a:pt x="2687852" y="4148137"/>
                </a:cubicBezTo>
                <a:cubicBezTo>
                  <a:pt x="2687619" y="4150148"/>
                  <a:pt x="2687387" y="4152159"/>
                  <a:pt x="2687154" y="4154170"/>
                </a:cubicBezTo>
                <a:lnTo>
                  <a:pt x="2686107" y="4160202"/>
                </a:lnTo>
                <a:lnTo>
                  <a:pt x="2684711" y="4165917"/>
                </a:lnTo>
                <a:lnTo>
                  <a:pt x="2683315" y="4171632"/>
                </a:lnTo>
                <a:lnTo>
                  <a:pt x="2681570" y="4177665"/>
                </a:lnTo>
                <a:lnTo>
                  <a:pt x="2679476" y="4183062"/>
                </a:lnTo>
                <a:lnTo>
                  <a:pt x="2677033" y="4188777"/>
                </a:lnTo>
                <a:lnTo>
                  <a:pt x="2674242" y="4194175"/>
                </a:lnTo>
                <a:lnTo>
                  <a:pt x="2671101" y="4199572"/>
                </a:lnTo>
                <a:lnTo>
                  <a:pt x="2667960" y="4204652"/>
                </a:lnTo>
                <a:lnTo>
                  <a:pt x="2664470" y="4210050"/>
                </a:lnTo>
                <a:lnTo>
                  <a:pt x="2660631" y="4214812"/>
                </a:lnTo>
                <a:lnTo>
                  <a:pt x="2656444" y="4219892"/>
                </a:lnTo>
                <a:lnTo>
                  <a:pt x="2651907" y="4224337"/>
                </a:lnTo>
                <a:lnTo>
                  <a:pt x="2647370" y="4228782"/>
                </a:lnTo>
                <a:lnTo>
                  <a:pt x="2642484" y="4232592"/>
                </a:lnTo>
                <a:lnTo>
                  <a:pt x="2637599" y="4236402"/>
                </a:lnTo>
                <a:lnTo>
                  <a:pt x="2632713" y="4239895"/>
                </a:lnTo>
                <a:lnTo>
                  <a:pt x="2627478" y="4243387"/>
                </a:lnTo>
                <a:lnTo>
                  <a:pt x="2622243" y="4246245"/>
                </a:lnTo>
                <a:lnTo>
                  <a:pt x="2616660" y="4249102"/>
                </a:lnTo>
                <a:lnTo>
                  <a:pt x="2611425" y="4251642"/>
                </a:lnTo>
                <a:lnTo>
                  <a:pt x="2605841" y="4253547"/>
                </a:lnTo>
                <a:lnTo>
                  <a:pt x="2599909" y="4255452"/>
                </a:lnTo>
                <a:lnTo>
                  <a:pt x="2594325" y="4257040"/>
                </a:lnTo>
                <a:lnTo>
                  <a:pt x="2588392" y="4258627"/>
                </a:lnTo>
                <a:lnTo>
                  <a:pt x="2582809" y="4259262"/>
                </a:lnTo>
                <a:lnTo>
                  <a:pt x="2576876" y="4260215"/>
                </a:lnTo>
                <a:lnTo>
                  <a:pt x="2570943" y="4260532"/>
                </a:lnTo>
                <a:lnTo>
                  <a:pt x="2565011" y="4260532"/>
                </a:lnTo>
                <a:lnTo>
                  <a:pt x="5169805" y="6857999"/>
                </a:lnTo>
                <a:lnTo>
                  <a:pt x="10789097" y="6857999"/>
                </a:lnTo>
                <a:lnTo>
                  <a:pt x="10789097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35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  <a:noAutofit/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19" name="Freeform 7">
            <a:extLst>
              <a:ext uri="{FF2B5EF4-FFF2-40B4-BE49-F238E27FC236}">
                <a16:creationId xmlns:a16="http://schemas.microsoft.com/office/drawing/2014/main" id="{AE62DF86-3DD2-401D-9B16-3538AAA12564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5562039" y="2"/>
            <a:ext cx="1495035" cy="1249045"/>
          </a:xfrm>
          <a:custGeom>
            <a:avLst/>
            <a:gdLst>
              <a:gd name="T0" fmla="*/ 2956 w 3061"/>
              <a:gd name="T1" fmla="*/ 2697 h 2812"/>
              <a:gd name="T2" fmla="*/ 2930 w 3061"/>
              <a:gd name="T3" fmla="*/ 2724 h 2812"/>
              <a:gd name="T4" fmla="*/ 2901 w 3061"/>
              <a:gd name="T5" fmla="*/ 2747 h 2812"/>
              <a:gd name="T6" fmla="*/ 2871 w 3061"/>
              <a:gd name="T7" fmla="*/ 2766 h 2812"/>
              <a:gd name="T8" fmla="*/ 2840 w 3061"/>
              <a:gd name="T9" fmla="*/ 2783 h 2812"/>
              <a:gd name="T10" fmla="*/ 2807 w 3061"/>
              <a:gd name="T11" fmla="*/ 2795 h 2812"/>
              <a:gd name="T12" fmla="*/ 2774 w 3061"/>
              <a:gd name="T13" fmla="*/ 2804 h 2812"/>
              <a:gd name="T14" fmla="*/ 2741 w 3061"/>
              <a:gd name="T15" fmla="*/ 2809 h 2812"/>
              <a:gd name="T16" fmla="*/ 2707 w 3061"/>
              <a:gd name="T17" fmla="*/ 2812 h 2812"/>
              <a:gd name="T18" fmla="*/ 2673 w 3061"/>
              <a:gd name="T19" fmla="*/ 2809 h 2812"/>
              <a:gd name="T20" fmla="*/ 2640 w 3061"/>
              <a:gd name="T21" fmla="*/ 2804 h 2812"/>
              <a:gd name="T22" fmla="*/ 2606 w 3061"/>
              <a:gd name="T23" fmla="*/ 2795 h 2812"/>
              <a:gd name="T24" fmla="*/ 2574 w 3061"/>
              <a:gd name="T25" fmla="*/ 2783 h 2812"/>
              <a:gd name="T26" fmla="*/ 2543 w 3061"/>
              <a:gd name="T27" fmla="*/ 2766 h 2812"/>
              <a:gd name="T28" fmla="*/ 2513 w 3061"/>
              <a:gd name="T29" fmla="*/ 2747 h 2812"/>
              <a:gd name="T30" fmla="*/ 2484 w 3061"/>
              <a:gd name="T31" fmla="*/ 2724 h 2812"/>
              <a:gd name="T32" fmla="*/ 2458 w 3061"/>
              <a:gd name="T33" fmla="*/ 2697 h 2812"/>
              <a:gd name="T34" fmla="*/ 999 w 3061"/>
              <a:gd name="T35" fmla="*/ 0 h 2812"/>
              <a:gd name="T36" fmla="*/ 2956 w 3061"/>
              <a:gd name="T37" fmla="*/ 2149 h 2812"/>
              <a:gd name="T38" fmla="*/ 2981 w 3061"/>
              <a:gd name="T39" fmla="*/ 2178 h 2812"/>
              <a:gd name="T40" fmla="*/ 3002 w 3061"/>
              <a:gd name="T41" fmla="*/ 2210 h 2812"/>
              <a:gd name="T42" fmla="*/ 3019 w 3061"/>
              <a:gd name="T43" fmla="*/ 2243 h 2812"/>
              <a:gd name="T44" fmla="*/ 3035 w 3061"/>
              <a:gd name="T45" fmla="*/ 2277 h 2812"/>
              <a:gd name="T46" fmla="*/ 3046 w 3061"/>
              <a:gd name="T47" fmla="*/ 2313 h 2812"/>
              <a:gd name="T48" fmla="*/ 3054 w 3061"/>
              <a:gd name="T49" fmla="*/ 2349 h 2812"/>
              <a:gd name="T50" fmla="*/ 3059 w 3061"/>
              <a:gd name="T51" fmla="*/ 2386 h 2812"/>
              <a:gd name="T52" fmla="*/ 3061 w 3061"/>
              <a:gd name="T53" fmla="*/ 2424 h 2812"/>
              <a:gd name="T54" fmla="*/ 3059 w 3061"/>
              <a:gd name="T55" fmla="*/ 2461 h 2812"/>
              <a:gd name="T56" fmla="*/ 3054 w 3061"/>
              <a:gd name="T57" fmla="*/ 2497 h 2812"/>
              <a:gd name="T58" fmla="*/ 3046 w 3061"/>
              <a:gd name="T59" fmla="*/ 2533 h 2812"/>
              <a:gd name="T60" fmla="*/ 3035 w 3061"/>
              <a:gd name="T61" fmla="*/ 2570 h 2812"/>
              <a:gd name="T62" fmla="*/ 3019 w 3061"/>
              <a:gd name="T63" fmla="*/ 2604 h 2812"/>
              <a:gd name="T64" fmla="*/ 3002 w 3061"/>
              <a:gd name="T65" fmla="*/ 2637 h 2812"/>
              <a:gd name="T66" fmla="*/ 2981 w 3061"/>
              <a:gd name="T67" fmla="*/ 2668 h 2812"/>
              <a:gd name="T68" fmla="*/ 2956 w 3061"/>
              <a:gd name="T69" fmla="*/ 2697 h 28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61" h="2812">
                <a:moveTo>
                  <a:pt x="2956" y="2697"/>
                </a:moveTo>
                <a:lnTo>
                  <a:pt x="2956" y="2697"/>
                </a:lnTo>
                <a:lnTo>
                  <a:pt x="2943" y="2712"/>
                </a:lnTo>
                <a:lnTo>
                  <a:pt x="2930" y="2724"/>
                </a:lnTo>
                <a:lnTo>
                  <a:pt x="2915" y="2736"/>
                </a:lnTo>
                <a:lnTo>
                  <a:pt x="2901" y="2747"/>
                </a:lnTo>
                <a:lnTo>
                  <a:pt x="2886" y="2758"/>
                </a:lnTo>
                <a:lnTo>
                  <a:pt x="2871" y="2766"/>
                </a:lnTo>
                <a:lnTo>
                  <a:pt x="2855" y="2775"/>
                </a:lnTo>
                <a:lnTo>
                  <a:pt x="2840" y="2783"/>
                </a:lnTo>
                <a:lnTo>
                  <a:pt x="2824" y="2790"/>
                </a:lnTo>
                <a:lnTo>
                  <a:pt x="2807" y="2795"/>
                </a:lnTo>
                <a:lnTo>
                  <a:pt x="2791" y="2799"/>
                </a:lnTo>
                <a:lnTo>
                  <a:pt x="2774" y="2804"/>
                </a:lnTo>
                <a:lnTo>
                  <a:pt x="2758" y="2807"/>
                </a:lnTo>
                <a:lnTo>
                  <a:pt x="2741" y="2809"/>
                </a:lnTo>
                <a:lnTo>
                  <a:pt x="2724" y="2810"/>
                </a:lnTo>
                <a:lnTo>
                  <a:pt x="2707" y="2812"/>
                </a:lnTo>
                <a:lnTo>
                  <a:pt x="2690" y="2810"/>
                </a:lnTo>
                <a:lnTo>
                  <a:pt x="2673" y="2809"/>
                </a:lnTo>
                <a:lnTo>
                  <a:pt x="2656" y="2807"/>
                </a:lnTo>
                <a:lnTo>
                  <a:pt x="2640" y="2804"/>
                </a:lnTo>
                <a:lnTo>
                  <a:pt x="2623" y="2799"/>
                </a:lnTo>
                <a:lnTo>
                  <a:pt x="2606" y="2795"/>
                </a:lnTo>
                <a:lnTo>
                  <a:pt x="2590" y="2790"/>
                </a:lnTo>
                <a:lnTo>
                  <a:pt x="2574" y="2783"/>
                </a:lnTo>
                <a:lnTo>
                  <a:pt x="2558" y="2775"/>
                </a:lnTo>
                <a:lnTo>
                  <a:pt x="2543" y="2766"/>
                </a:lnTo>
                <a:lnTo>
                  <a:pt x="2528" y="2758"/>
                </a:lnTo>
                <a:lnTo>
                  <a:pt x="2513" y="2747"/>
                </a:lnTo>
                <a:lnTo>
                  <a:pt x="2498" y="2736"/>
                </a:lnTo>
                <a:lnTo>
                  <a:pt x="2484" y="2724"/>
                </a:lnTo>
                <a:lnTo>
                  <a:pt x="2471" y="2712"/>
                </a:lnTo>
                <a:lnTo>
                  <a:pt x="2458" y="2697"/>
                </a:lnTo>
                <a:lnTo>
                  <a:pt x="0" y="0"/>
                </a:lnTo>
                <a:lnTo>
                  <a:pt x="999" y="0"/>
                </a:lnTo>
                <a:lnTo>
                  <a:pt x="2956" y="2149"/>
                </a:lnTo>
                <a:lnTo>
                  <a:pt x="2956" y="2149"/>
                </a:lnTo>
                <a:lnTo>
                  <a:pt x="2969" y="2164"/>
                </a:lnTo>
                <a:lnTo>
                  <a:pt x="2981" y="2178"/>
                </a:lnTo>
                <a:lnTo>
                  <a:pt x="2991" y="2194"/>
                </a:lnTo>
                <a:lnTo>
                  <a:pt x="3002" y="2210"/>
                </a:lnTo>
                <a:lnTo>
                  <a:pt x="3011" y="2227"/>
                </a:lnTo>
                <a:lnTo>
                  <a:pt x="3019" y="2243"/>
                </a:lnTo>
                <a:lnTo>
                  <a:pt x="3028" y="2260"/>
                </a:lnTo>
                <a:lnTo>
                  <a:pt x="3035" y="2277"/>
                </a:lnTo>
                <a:lnTo>
                  <a:pt x="3041" y="2295"/>
                </a:lnTo>
                <a:lnTo>
                  <a:pt x="3046" y="2313"/>
                </a:lnTo>
                <a:lnTo>
                  <a:pt x="3051" y="2331"/>
                </a:lnTo>
                <a:lnTo>
                  <a:pt x="3054" y="2349"/>
                </a:lnTo>
                <a:lnTo>
                  <a:pt x="3057" y="2368"/>
                </a:lnTo>
                <a:lnTo>
                  <a:pt x="3059" y="2386"/>
                </a:lnTo>
                <a:lnTo>
                  <a:pt x="3060" y="2405"/>
                </a:lnTo>
                <a:lnTo>
                  <a:pt x="3061" y="2424"/>
                </a:lnTo>
                <a:lnTo>
                  <a:pt x="3060" y="2442"/>
                </a:lnTo>
                <a:lnTo>
                  <a:pt x="3059" y="2461"/>
                </a:lnTo>
                <a:lnTo>
                  <a:pt x="3057" y="2479"/>
                </a:lnTo>
                <a:lnTo>
                  <a:pt x="3054" y="2497"/>
                </a:lnTo>
                <a:lnTo>
                  <a:pt x="3051" y="2516"/>
                </a:lnTo>
                <a:lnTo>
                  <a:pt x="3046" y="2533"/>
                </a:lnTo>
                <a:lnTo>
                  <a:pt x="3041" y="2552"/>
                </a:lnTo>
                <a:lnTo>
                  <a:pt x="3035" y="2570"/>
                </a:lnTo>
                <a:lnTo>
                  <a:pt x="3028" y="2586"/>
                </a:lnTo>
                <a:lnTo>
                  <a:pt x="3019" y="2604"/>
                </a:lnTo>
                <a:lnTo>
                  <a:pt x="3011" y="2620"/>
                </a:lnTo>
                <a:lnTo>
                  <a:pt x="3002" y="2637"/>
                </a:lnTo>
                <a:lnTo>
                  <a:pt x="2991" y="2652"/>
                </a:lnTo>
                <a:lnTo>
                  <a:pt x="2981" y="2668"/>
                </a:lnTo>
                <a:lnTo>
                  <a:pt x="2969" y="2683"/>
                </a:lnTo>
                <a:lnTo>
                  <a:pt x="2956" y="2697"/>
                </a:lnTo>
                <a:lnTo>
                  <a:pt x="2956" y="269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0" name="Freeform 9">
            <a:extLst>
              <a:ext uri="{FF2B5EF4-FFF2-40B4-BE49-F238E27FC236}">
                <a16:creationId xmlns:a16="http://schemas.microsoft.com/office/drawing/2014/main" id="{628532B8-829C-416D-A851-C1C1FFE65E94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1987638" y="2"/>
            <a:ext cx="2655885" cy="2404745"/>
          </a:xfrm>
          <a:custGeom>
            <a:avLst/>
            <a:gdLst>
              <a:gd name="T0" fmla="*/ 5330 w 5436"/>
              <a:gd name="T1" fmla="*/ 5296 h 5411"/>
              <a:gd name="T2" fmla="*/ 5303 w 5436"/>
              <a:gd name="T3" fmla="*/ 5323 h 5411"/>
              <a:gd name="T4" fmla="*/ 5274 w 5436"/>
              <a:gd name="T5" fmla="*/ 5346 h 5411"/>
              <a:gd name="T6" fmla="*/ 5244 w 5436"/>
              <a:gd name="T7" fmla="*/ 5366 h 5411"/>
              <a:gd name="T8" fmla="*/ 5212 w 5436"/>
              <a:gd name="T9" fmla="*/ 5382 h 5411"/>
              <a:gd name="T10" fmla="*/ 5179 w 5436"/>
              <a:gd name="T11" fmla="*/ 5395 h 5411"/>
              <a:gd name="T12" fmla="*/ 5145 w 5436"/>
              <a:gd name="T13" fmla="*/ 5403 h 5411"/>
              <a:gd name="T14" fmla="*/ 5111 w 5436"/>
              <a:gd name="T15" fmla="*/ 5409 h 5411"/>
              <a:gd name="T16" fmla="*/ 5077 w 5436"/>
              <a:gd name="T17" fmla="*/ 5411 h 5411"/>
              <a:gd name="T18" fmla="*/ 5043 w 5436"/>
              <a:gd name="T19" fmla="*/ 5409 h 5411"/>
              <a:gd name="T20" fmla="*/ 5009 w 5436"/>
              <a:gd name="T21" fmla="*/ 5403 h 5411"/>
              <a:gd name="T22" fmla="*/ 4975 w 5436"/>
              <a:gd name="T23" fmla="*/ 5395 h 5411"/>
              <a:gd name="T24" fmla="*/ 4942 w 5436"/>
              <a:gd name="T25" fmla="*/ 5382 h 5411"/>
              <a:gd name="T26" fmla="*/ 4911 w 5436"/>
              <a:gd name="T27" fmla="*/ 5366 h 5411"/>
              <a:gd name="T28" fmla="*/ 4880 w 5436"/>
              <a:gd name="T29" fmla="*/ 5346 h 5411"/>
              <a:gd name="T30" fmla="*/ 4851 w 5436"/>
              <a:gd name="T31" fmla="*/ 5323 h 5411"/>
              <a:gd name="T32" fmla="*/ 4824 w 5436"/>
              <a:gd name="T33" fmla="*/ 5296 h 5411"/>
              <a:gd name="T34" fmla="*/ 1013 w 5436"/>
              <a:gd name="T35" fmla="*/ 0 h 5411"/>
              <a:gd name="T36" fmla="*/ 5330 w 5436"/>
              <a:gd name="T37" fmla="*/ 4739 h 5411"/>
              <a:gd name="T38" fmla="*/ 5356 w 5436"/>
              <a:gd name="T39" fmla="*/ 4769 h 5411"/>
              <a:gd name="T40" fmla="*/ 5377 w 5436"/>
              <a:gd name="T41" fmla="*/ 4801 h 5411"/>
              <a:gd name="T42" fmla="*/ 5395 w 5436"/>
              <a:gd name="T43" fmla="*/ 4835 h 5411"/>
              <a:gd name="T44" fmla="*/ 5410 w 5436"/>
              <a:gd name="T45" fmla="*/ 4869 h 5411"/>
              <a:gd name="T46" fmla="*/ 5421 w 5436"/>
              <a:gd name="T47" fmla="*/ 4905 h 5411"/>
              <a:gd name="T48" fmla="*/ 5429 w 5436"/>
              <a:gd name="T49" fmla="*/ 4943 h 5411"/>
              <a:gd name="T50" fmla="*/ 5434 w 5436"/>
              <a:gd name="T51" fmla="*/ 4980 h 5411"/>
              <a:gd name="T52" fmla="*/ 5436 w 5436"/>
              <a:gd name="T53" fmla="*/ 5018 h 5411"/>
              <a:gd name="T54" fmla="*/ 5434 w 5436"/>
              <a:gd name="T55" fmla="*/ 5055 h 5411"/>
              <a:gd name="T56" fmla="*/ 5429 w 5436"/>
              <a:gd name="T57" fmla="*/ 5092 h 5411"/>
              <a:gd name="T58" fmla="*/ 5421 w 5436"/>
              <a:gd name="T59" fmla="*/ 5130 h 5411"/>
              <a:gd name="T60" fmla="*/ 5410 w 5436"/>
              <a:gd name="T61" fmla="*/ 5166 h 5411"/>
              <a:gd name="T62" fmla="*/ 5395 w 5436"/>
              <a:gd name="T63" fmla="*/ 5200 h 5411"/>
              <a:gd name="T64" fmla="*/ 5377 w 5436"/>
              <a:gd name="T65" fmla="*/ 5234 h 5411"/>
              <a:gd name="T66" fmla="*/ 5356 w 5436"/>
              <a:gd name="T67" fmla="*/ 5266 h 5411"/>
              <a:gd name="T68" fmla="*/ 5330 w 5436"/>
              <a:gd name="T69" fmla="*/ 5296 h 5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436" h="5411">
                <a:moveTo>
                  <a:pt x="5330" y="5296"/>
                </a:moveTo>
                <a:lnTo>
                  <a:pt x="5330" y="5296"/>
                </a:lnTo>
                <a:lnTo>
                  <a:pt x="5317" y="5310"/>
                </a:lnTo>
                <a:lnTo>
                  <a:pt x="5303" y="5323"/>
                </a:lnTo>
                <a:lnTo>
                  <a:pt x="5289" y="5335"/>
                </a:lnTo>
                <a:lnTo>
                  <a:pt x="5274" y="5346"/>
                </a:lnTo>
                <a:lnTo>
                  <a:pt x="5259" y="5356"/>
                </a:lnTo>
                <a:lnTo>
                  <a:pt x="5244" y="5366"/>
                </a:lnTo>
                <a:lnTo>
                  <a:pt x="5228" y="5375"/>
                </a:lnTo>
                <a:lnTo>
                  <a:pt x="5212" y="5382"/>
                </a:lnTo>
                <a:lnTo>
                  <a:pt x="5196" y="5389"/>
                </a:lnTo>
                <a:lnTo>
                  <a:pt x="5179" y="5395"/>
                </a:lnTo>
                <a:lnTo>
                  <a:pt x="5162" y="5400"/>
                </a:lnTo>
                <a:lnTo>
                  <a:pt x="5145" y="5403"/>
                </a:lnTo>
                <a:lnTo>
                  <a:pt x="5129" y="5407"/>
                </a:lnTo>
                <a:lnTo>
                  <a:pt x="5111" y="5409"/>
                </a:lnTo>
                <a:lnTo>
                  <a:pt x="5094" y="5410"/>
                </a:lnTo>
                <a:lnTo>
                  <a:pt x="5077" y="5411"/>
                </a:lnTo>
                <a:lnTo>
                  <a:pt x="5060" y="5410"/>
                </a:lnTo>
                <a:lnTo>
                  <a:pt x="5043" y="5409"/>
                </a:lnTo>
                <a:lnTo>
                  <a:pt x="5026" y="5407"/>
                </a:lnTo>
                <a:lnTo>
                  <a:pt x="5009" y="5403"/>
                </a:lnTo>
                <a:lnTo>
                  <a:pt x="4992" y="5400"/>
                </a:lnTo>
                <a:lnTo>
                  <a:pt x="4975" y="5395"/>
                </a:lnTo>
                <a:lnTo>
                  <a:pt x="4959" y="5389"/>
                </a:lnTo>
                <a:lnTo>
                  <a:pt x="4942" y="5382"/>
                </a:lnTo>
                <a:lnTo>
                  <a:pt x="4926" y="5375"/>
                </a:lnTo>
                <a:lnTo>
                  <a:pt x="4911" y="5366"/>
                </a:lnTo>
                <a:lnTo>
                  <a:pt x="4895" y="5356"/>
                </a:lnTo>
                <a:lnTo>
                  <a:pt x="4880" y="5346"/>
                </a:lnTo>
                <a:lnTo>
                  <a:pt x="4866" y="5335"/>
                </a:lnTo>
                <a:lnTo>
                  <a:pt x="4851" y="5323"/>
                </a:lnTo>
                <a:lnTo>
                  <a:pt x="4837" y="5310"/>
                </a:lnTo>
                <a:lnTo>
                  <a:pt x="4824" y="5296"/>
                </a:lnTo>
                <a:lnTo>
                  <a:pt x="0" y="0"/>
                </a:lnTo>
                <a:lnTo>
                  <a:pt x="1013" y="0"/>
                </a:lnTo>
                <a:lnTo>
                  <a:pt x="5330" y="4739"/>
                </a:lnTo>
                <a:lnTo>
                  <a:pt x="5330" y="4739"/>
                </a:lnTo>
                <a:lnTo>
                  <a:pt x="5343" y="4754"/>
                </a:lnTo>
                <a:lnTo>
                  <a:pt x="5356" y="4769"/>
                </a:lnTo>
                <a:lnTo>
                  <a:pt x="5367" y="4784"/>
                </a:lnTo>
                <a:lnTo>
                  <a:pt x="5377" y="4801"/>
                </a:lnTo>
                <a:lnTo>
                  <a:pt x="5386" y="4817"/>
                </a:lnTo>
                <a:lnTo>
                  <a:pt x="5395" y="4835"/>
                </a:lnTo>
                <a:lnTo>
                  <a:pt x="5403" y="4852"/>
                </a:lnTo>
                <a:lnTo>
                  <a:pt x="5410" y="4869"/>
                </a:lnTo>
                <a:lnTo>
                  <a:pt x="5416" y="4888"/>
                </a:lnTo>
                <a:lnTo>
                  <a:pt x="5421" y="4905"/>
                </a:lnTo>
                <a:lnTo>
                  <a:pt x="5426" y="4924"/>
                </a:lnTo>
                <a:lnTo>
                  <a:pt x="5429" y="4943"/>
                </a:lnTo>
                <a:lnTo>
                  <a:pt x="5432" y="4961"/>
                </a:lnTo>
                <a:lnTo>
                  <a:pt x="5434" y="4980"/>
                </a:lnTo>
                <a:lnTo>
                  <a:pt x="5436" y="4999"/>
                </a:lnTo>
                <a:lnTo>
                  <a:pt x="5436" y="5018"/>
                </a:lnTo>
                <a:lnTo>
                  <a:pt x="5436" y="5036"/>
                </a:lnTo>
                <a:lnTo>
                  <a:pt x="5434" y="5055"/>
                </a:lnTo>
                <a:lnTo>
                  <a:pt x="5432" y="5074"/>
                </a:lnTo>
                <a:lnTo>
                  <a:pt x="5429" y="5092"/>
                </a:lnTo>
                <a:lnTo>
                  <a:pt x="5426" y="5111"/>
                </a:lnTo>
                <a:lnTo>
                  <a:pt x="5421" y="5130"/>
                </a:lnTo>
                <a:lnTo>
                  <a:pt x="5416" y="5147"/>
                </a:lnTo>
                <a:lnTo>
                  <a:pt x="5410" y="5166"/>
                </a:lnTo>
                <a:lnTo>
                  <a:pt x="5403" y="5183"/>
                </a:lnTo>
                <a:lnTo>
                  <a:pt x="5395" y="5200"/>
                </a:lnTo>
                <a:lnTo>
                  <a:pt x="5386" y="5218"/>
                </a:lnTo>
                <a:lnTo>
                  <a:pt x="5377" y="5234"/>
                </a:lnTo>
                <a:lnTo>
                  <a:pt x="5367" y="5251"/>
                </a:lnTo>
                <a:lnTo>
                  <a:pt x="5356" y="5266"/>
                </a:lnTo>
                <a:lnTo>
                  <a:pt x="5343" y="5281"/>
                </a:lnTo>
                <a:lnTo>
                  <a:pt x="5330" y="5296"/>
                </a:lnTo>
                <a:lnTo>
                  <a:pt x="5330" y="529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1" name="Freeform 10">
            <a:extLst>
              <a:ext uri="{FF2B5EF4-FFF2-40B4-BE49-F238E27FC236}">
                <a16:creationId xmlns:a16="http://schemas.microsoft.com/office/drawing/2014/main" id="{BBD18221-064C-4160-B394-2D404E21A390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0670444" y="6976428"/>
            <a:ext cx="2904080" cy="2624773"/>
          </a:xfrm>
          <a:custGeom>
            <a:avLst/>
            <a:gdLst>
              <a:gd name="T0" fmla="*/ 104 w 5944"/>
              <a:gd name="T1" fmla="*/ 114 h 5907"/>
              <a:gd name="T2" fmla="*/ 131 w 5944"/>
              <a:gd name="T3" fmla="*/ 87 h 5907"/>
              <a:gd name="T4" fmla="*/ 159 w 5944"/>
              <a:gd name="T5" fmla="*/ 64 h 5907"/>
              <a:gd name="T6" fmla="*/ 189 w 5944"/>
              <a:gd name="T7" fmla="*/ 44 h 5907"/>
              <a:gd name="T8" fmla="*/ 220 w 5944"/>
              <a:gd name="T9" fmla="*/ 29 h 5907"/>
              <a:gd name="T10" fmla="*/ 253 w 5944"/>
              <a:gd name="T11" fmla="*/ 16 h 5907"/>
              <a:gd name="T12" fmla="*/ 286 w 5944"/>
              <a:gd name="T13" fmla="*/ 7 h 5907"/>
              <a:gd name="T14" fmla="*/ 319 w 5944"/>
              <a:gd name="T15" fmla="*/ 3 h 5907"/>
              <a:gd name="T16" fmla="*/ 353 w 5944"/>
              <a:gd name="T17" fmla="*/ 0 h 5907"/>
              <a:gd name="T18" fmla="*/ 387 w 5944"/>
              <a:gd name="T19" fmla="*/ 3 h 5907"/>
              <a:gd name="T20" fmla="*/ 421 w 5944"/>
              <a:gd name="T21" fmla="*/ 7 h 5907"/>
              <a:gd name="T22" fmla="*/ 454 w 5944"/>
              <a:gd name="T23" fmla="*/ 16 h 5907"/>
              <a:gd name="T24" fmla="*/ 486 w 5944"/>
              <a:gd name="T25" fmla="*/ 29 h 5907"/>
              <a:gd name="T26" fmla="*/ 517 w 5944"/>
              <a:gd name="T27" fmla="*/ 44 h 5907"/>
              <a:gd name="T28" fmla="*/ 547 w 5944"/>
              <a:gd name="T29" fmla="*/ 64 h 5907"/>
              <a:gd name="T30" fmla="*/ 576 w 5944"/>
              <a:gd name="T31" fmla="*/ 87 h 5907"/>
              <a:gd name="T32" fmla="*/ 603 w 5944"/>
              <a:gd name="T33" fmla="*/ 114 h 5907"/>
              <a:gd name="T34" fmla="*/ 4883 w 5944"/>
              <a:gd name="T35" fmla="*/ 5907 h 5907"/>
              <a:gd name="T36" fmla="*/ 104 w 5944"/>
              <a:gd name="T37" fmla="*/ 662 h 5907"/>
              <a:gd name="T38" fmla="*/ 80 w 5944"/>
              <a:gd name="T39" fmla="*/ 632 h 5907"/>
              <a:gd name="T40" fmla="*/ 59 w 5944"/>
              <a:gd name="T41" fmla="*/ 602 h 5907"/>
              <a:gd name="T42" fmla="*/ 41 w 5944"/>
              <a:gd name="T43" fmla="*/ 569 h 5907"/>
              <a:gd name="T44" fmla="*/ 26 w 5944"/>
              <a:gd name="T45" fmla="*/ 533 h 5907"/>
              <a:gd name="T46" fmla="*/ 15 w 5944"/>
              <a:gd name="T47" fmla="*/ 498 h 5907"/>
              <a:gd name="T48" fmla="*/ 7 w 5944"/>
              <a:gd name="T49" fmla="*/ 462 h 5907"/>
              <a:gd name="T50" fmla="*/ 2 w 5944"/>
              <a:gd name="T51" fmla="*/ 425 h 5907"/>
              <a:gd name="T52" fmla="*/ 0 w 5944"/>
              <a:gd name="T53" fmla="*/ 388 h 5907"/>
              <a:gd name="T54" fmla="*/ 2 w 5944"/>
              <a:gd name="T55" fmla="*/ 351 h 5907"/>
              <a:gd name="T56" fmla="*/ 7 w 5944"/>
              <a:gd name="T57" fmla="*/ 314 h 5907"/>
              <a:gd name="T58" fmla="*/ 15 w 5944"/>
              <a:gd name="T59" fmla="*/ 277 h 5907"/>
              <a:gd name="T60" fmla="*/ 26 w 5944"/>
              <a:gd name="T61" fmla="*/ 242 h 5907"/>
              <a:gd name="T62" fmla="*/ 41 w 5944"/>
              <a:gd name="T63" fmla="*/ 208 h 5907"/>
              <a:gd name="T64" fmla="*/ 59 w 5944"/>
              <a:gd name="T65" fmla="*/ 175 h 5907"/>
              <a:gd name="T66" fmla="*/ 80 w 5944"/>
              <a:gd name="T67" fmla="*/ 143 h 5907"/>
              <a:gd name="T68" fmla="*/ 104 w 5944"/>
              <a:gd name="T69" fmla="*/ 114 h 5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944" h="5907">
                <a:moveTo>
                  <a:pt x="104" y="114"/>
                </a:moveTo>
                <a:lnTo>
                  <a:pt x="104" y="114"/>
                </a:lnTo>
                <a:lnTo>
                  <a:pt x="117" y="100"/>
                </a:lnTo>
                <a:lnTo>
                  <a:pt x="131" y="87"/>
                </a:lnTo>
                <a:lnTo>
                  <a:pt x="145" y="75"/>
                </a:lnTo>
                <a:lnTo>
                  <a:pt x="159" y="64"/>
                </a:lnTo>
                <a:lnTo>
                  <a:pt x="174" y="54"/>
                </a:lnTo>
                <a:lnTo>
                  <a:pt x="189" y="44"/>
                </a:lnTo>
                <a:lnTo>
                  <a:pt x="205" y="37"/>
                </a:lnTo>
                <a:lnTo>
                  <a:pt x="220" y="29"/>
                </a:lnTo>
                <a:lnTo>
                  <a:pt x="237" y="22"/>
                </a:lnTo>
                <a:lnTo>
                  <a:pt x="253" y="16"/>
                </a:lnTo>
                <a:lnTo>
                  <a:pt x="269" y="11"/>
                </a:lnTo>
                <a:lnTo>
                  <a:pt x="286" y="7"/>
                </a:lnTo>
                <a:lnTo>
                  <a:pt x="303" y="5"/>
                </a:lnTo>
                <a:lnTo>
                  <a:pt x="319" y="3"/>
                </a:lnTo>
                <a:lnTo>
                  <a:pt x="336" y="0"/>
                </a:lnTo>
                <a:lnTo>
                  <a:pt x="353" y="0"/>
                </a:lnTo>
                <a:lnTo>
                  <a:pt x="370" y="0"/>
                </a:lnTo>
                <a:lnTo>
                  <a:pt x="387" y="3"/>
                </a:lnTo>
                <a:lnTo>
                  <a:pt x="404" y="5"/>
                </a:lnTo>
                <a:lnTo>
                  <a:pt x="421" y="7"/>
                </a:lnTo>
                <a:lnTo>
                  <a:pt x="437" y="11"/>
                </a:lnTo>
                <a:lnTo>
                  <a:pt x="454" y="16"/>
                </a:lnTo>
                <a:lnTo>
                  <a:pt x="470" y="22"/>
                </a:lnTo>
                <a:lnTo>
                  <a:pt x="486" y="29"/>
                </a:lnTo>
                <a:lnTo>
                  <a:pt x="502" y="37"/>
                </a:lnTo>
                <a:lnTo>
                  <a:pt x="517" y="44"/>
                </a:lnTo>
                <a:lnTo>
                  <a:pt x="532" y="54"/>
                </a:lnTo>
                <a:lnTo>
                  <a:pt x="547" y="64"/>
                </a:lnTo>
                <a:lnTo>
                  <a:pt x="562" y="75"/>
                </a:lnTo>
                <a:lnTo>
                  <a:pt x="576" y="87"/>
                </a:lnTo>
                <a:lnTo>
                  <a:pt x="589" y="100"/>
                </a:lnTo>
                <a:lnTo>
                  <a:pt x="603" y="114"/>
                </a:lnTo>
                <a:lnTo>
                  <a:pt x="5944" y="5907"/>
                </a:lnTo>
                <a:lnTo>
                  <a:pt x="4883" y="5907"/>
                </a:lnTo>
                <a:lnTo>
                  <a:pt x="104" y="662"/>
                </a:lnTo>
                <a:lnTo>
                  <a:pt x="104" y="662"/>
                </a:lnTo>
                <a:lnTo>
                  <a:pt x="91" y="648"/>
                </a:lnTo>
                <a:lnTo>
                  <a:pt x="80" y="632"/>
                </a:lnTo>
                <a:lnTo>
                  <a:pt x="69" y="617"/>
                </a:lnTo>
                <a:lnTo>
                  <a:pt x="59" y="602"/>
                </a:lnTo>
                <a:lnTo>
                  <a:pt x="49" y="585"/>
                </a:lnTo>
                <a:lnTo>
                  <a:pt x="41" y="569"/>
                </a:lnTo>
                <a:lnTo>
                  <a:pt x="33" y="551"/>
                </a:lnTo>
                <a:lnTo>
                  <a:pt x="26" y="533"/>
                </a:lnTo>
                <a:lnTo>
                  <a:pt x="20" y="516"/>
                </a:lnTo>
                <a:lnTo>
                  <a:pt x="15" y="498"/>
                </a:lnTo>
                <a:lnTo>
                  <a:pt x="11" y="481"/>
                </a:lnTo>
                <a:lnTo>
                  <a:pt x="7" y="462"/>
                </a:lnTo>
                <a:lnTo>
                  <a:pt x="4" y="443"/>
                </a:lnTo>
                <a:lnTo>
                  <a:pt x="2" y="425"/>
                </a:lnTo>
                <a:lnTo>
                  <a:pt x="1" y="407"/>
                </a:lnTo>
                <a:lnTo>
                  <a:pt x="0" y="388"/>
                </a:lnTo>
                <a:lnTo>
                  <a:pt x="1" y="370"/>
                </a:lnTo>
                <a:lnTo>
                  <a:pt x="2" y="351"/>
                </a:lnTo>
                <a:lnTo>
                  <a:pt x="4" y="332"/>
                </a:lnTo>
                <a:lnTo>
                  <a:pt x="7" y="314"/>
                </a:lnTo>
                <a:lnTo>
                  <a:pt x="11" y="296"/>
                </a:lnTo>
                <a:lnTo>
                  <a:pt x="15" y="277"/>
                </a:lnTo>
                <a:lnTo>
                  <a:pt x="20" y="260"/>
                </a:lnTo>
                <a:lnTo>
                  <a:pt x="26" y="242"/>
                </a:lnTo>
                <a:lnTo>
                  <a:pt x="33" y="225"/>
                </a:lnTo>
                <a:lnTo>
                  <a:pt x="41" y="208"/>
                </a:lnTo>
                <a:lnTo>
                  <a:pt x="49" y="190"/>
                </a:lnTo>
                <a:lnTo>
                  <a:pt x="59" y="175"/>
                </a:lnTo>
                <a:lnTo>
                  <a:pt x="69" y="159"/>
                </a:lnTo>
                <a:lnTo>
                  <a:pt x="80" y="143"/>
                </a:lnTo>
                <a:lnTo>
                  <a:pt x="91" y="128"/>
                </a:lnTo>
                <a:lnTo>
                  <a:pt x="104" y="114"/>
                </a:lnTo>
                <a:lnTo>
                  <a:pt x="104" y="11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2" name="Freeform 8">
            <a:extLst>
              <a:ext uri="{FF2B5EF4-FFF2-40B4-BE49-F238E27FC236}">
                <a16:creationId xmlns:a16="http://schemas.microsoft.com/office/drawing/2014/main" id="{3E281ABA-1809-4D3E-8DCD-F1BF8EB64554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5589400" y="3073720"/>
            <a:ext cx="1479401" cy="1726883"/>
          </a:xfrm>
          <a:custGeom>
            <a:avLst/>
            <a:gdLst>
              <a:gd name="T0" fmla="*/ 2925 w 3030"/>
              <a:gd name="T1" fmla="*/ 3768 h 3883"/>
              <a:gd name="T2" fmla="*/ 2912 w 3030"/>
              <a:gd name="T3" fmla="*/ 3782 h 3883"/>
              <a:gd name="T4" fmla="*/ 2884 w 3030"/>
              <a:gd name="T5" fmla="*/ 3807 h 3883"/>
              <a:gd name="T6" fmla="*/ 2854 w 3030"/>
              <a:gd name="T7" fmla="*/ 3828 h 3883"/>
              <a:gd name="T8" fmla="*/ 2823 w 3030"/>
              <a:gd name="T9" fmla="*/ 3847 h 3883"/>
              <a:gd name="T10" fmla="*/ 2791 w 3030"/>
              <a:gd name="T11" fmla="*/ 3861 h 3883"/>
              <a:gd name="T12" fmla="*/ 2757 w 3030"/>
              <a:gd name="T13" fmla="*/ 3872 h 3883"/>
              <a:gd name="T14" fmla="*/ 2723 w 3030"/>
              <a:gd name="T15" fmla="*/ 3879 h 3883"/>
              <a:gd name="T16" fmla="*/ 2689 w 3030"/>
              <a:gd name="T17" fmla="*/ 3882 h 3883"/>
              <a:gd name="T18" fmla="*/ 2655 w 3030"/>
              <a:gd name="T19" fmla="*/ 3882 h 3883"/>
              <a:gd name="T20" fmla="*/ 2621 w 3030"/>
              <a:gd name="T21" fmla="*/ 3879 h 3883"/>
              <a:gd name="T22" fmla="*/ 2587 w 3030"/>
              <a:gd name="T23" fmla="*/ 3872 h 3883"/>
              <a:gd name="T24" fmla="*/ 2554 w 3030"/>
              <a:gd name="T25" fmla="*/ 3861 h 3883"/>
              <a:gd name="T26" fmla="*/ 2521 w 3030"/>
              <a:gd name="T27" fmla="*/ 3847 h 3883"/>
              <a:gd name="T28" fmla="*/ 2490 w 3030"/>
              <a:gd name="T29" fmla="*/ 3828 h 3883"/>
              <a:gd name="T30" fmla="*/ 2461 w 3030"/>
              <a:gd name="T31" fmla="*/ 3807 h 3883"/>
              <a:gd name="T32" fmla="*/ 2432 w 3030"/>
              <a:gd name="T33" fmla="*/ 3782 h 3883"/>
              <a:gd name="T34" fmla="*/ 0 w 3030"/>
              <a:gd name="T35" fmla="*/ 1112 h 3883"/>
              <a:gd name="T36" fmla="*/ 2925 w 3030"/>
              <a:gd name="T37" fmla="*/ 3211 h 3883"/>
              <a:gd name="T38" fmla="*/ 2938 w 3030"/>
              <a:gd name="T39" fmla="*/ 3226 h 3883"/>
              <a:gd name="T40" fmla="*/ 2961 w 3030"/>
              <a:gd name="T41" fmla="*/ 3256 h 3883"/>
              <a:gd name="T42" fmla="*/ 2980 w 3030"/>
              <a:gd name="T43" fmla="*/ 3289 h 3883"/>
              <a:gd name="T44" fmla="*/ 2997 w 3030"/>
              <a:gd name="T45" fmla="*/ 3324 h 3883"/>
              <a:gd name="T46" fmla="*/ 3010 w 3030"/>
              <a:gd name="T47" fmla="*/ 3360 h 3883"/>
              <a:gd name="T48" fmla="*/ 3020 w 3030"/>
              <a:gd name="T49" fmla="*/ 3396 h 3883"/>
              <a:gd name="T50" fmla="*/ 3026 w 3030"/>
              <a:gd name="T51" fmla="*/ 3433 h 3883"/>
              <a:gd name="T52" fmla="*/ 3030 w 3030"/>
              <a:gd name="T53" fmla="*/ 3471 h 3883"/>
              <a:gd name="T54" fmla="*/ 3030 w 3030"/>
              <a:gd name="T55" fmla="*/ 3508 h 3883"/>
              <a:gd name="T56" fmla="*/ 3026 w 3030"/>
              <a:gd name="T57" fmla="*/ 3546 h 3883"/>
              <a:gd name="T58" fmla="*/ 3020 w 3030"/>
              <a:gd name="T59" fmla="*/ 3583 h 3883"/>
              <a:gd name="T60" fmla="*/ 3010 w 3030"/>
              <a:gd name="T61" fmla="*/ 3619 h 3883"/>
              <a:gd name="T62" fmla="*/ 2997 w 3030"/>
              <a:gd name="T63" fmla="*/ 3655 h 3883"/>
              <a:gd name="T64" fmla="*/ 2980 w 3030"/>
              <a:gd name="T65" fmla="*/ 3690 h 3883"/>
              <a:gd name="T66" fmla="*/ 2961 w 3030"/>
              <a:gd name="T67" fmla="*/ 3723 h 3883"/>
              <a:gd name="T68" fmla="*/ 2938 w 3030"/>
              <a:gd name="T69" fmla="*/ 3753 h 3883"/>
              <a:gd name="T70" fmla="*/ 2925 w 3030"/>
              <a:gd name="T71" fmla="*/ 3768 h 38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030" h="3883">
                <a:moveTo>
                  <a:pt x="2925" y="3768"/>
                </a:moveTo>
                <a:lnTo>
                  <a:pt x="2925" y="3768"/>
                </a:lnTo>
                <a:lnTo>
                  <a:pt x="2925" y="3768"/>
                </a:lnTo>
                <a:lnTo>
                  <a:pt x="2912" y="3782"/>
                </a:lnTo>
                <a:lnTo>
                  <a:pt x="2898" y="3795"/>
                </a:lnTo>
                <a:lnTo>
                  <a:pt x="2884" y="3807"/>
                </a:lnTo>
                <a:lnTo>
                  <a:pt x="2869" y="3818"/>
                </a:lnTo>
                <a:lnTo>
                  <a:pt x="2854" y="3828"/>
                </a:lnTo>
                <a:lnTo>
                  <a:pt x="2839" y="3838"/>
                </a:lnTo>
                <a:lnTo>
                  <a:pt x="2823" y="3847"/>
                </a:lnTo>
                <a:lnTo>
                  <a:pt x="2807" y="3854"/>
                </a:lnTo>
                <a:lnTo>
                  <a:pt x="2791" y="3861"/>
                </a:lnTo>
                <a:lnTo>
                  <a:pt x="2774" y="3867"/>
                </a:lnTo>
                <a:lnTo>
                  <a:pt x="2757" y="3872"/>
                </a:lnTo>
                <a:lnTo>
                  <a:pt x="2740" y="3875"/>
                </a:lnTo>
                <a:lnTo>
                  <a:pt x="2723" y="3879"/>
                </a:lnTo>
                <a:lnTo>
                  <a:pt x="2706" y="3881"/>
                </a:lnTo>
                <a:lnTo>
                  <a:pt x="2689" y="3882"/>
                </a:lnTo>
                <a:lnTo>
                  <a:pt x="2672" y="3883"/>
                </a:lnTo>
                <a:lnTo>
                  <a:pt x="2655" y="3882"/>
                </a:lnTo>
                <a:lnTo>
                  <a:pt x="2638" y="3881"/>
                </a:lnTo>
                <a:lnTo>
                  <a:pt x="2621" y="3879"/>
                </a:lnTo>
                <a:lnTo>
                  <a:pt x="2604" y="3875"/>
                </a:lnTo>
                <a:lnTo>
                  <a:pt x="2587" y="3872"/>
                </a:lnTo>
                <a:lnTo>
                  <a:pt x="2570" y="3867"/>
                </a:lnTo>
                <a:lnTo>
                  <a:pt x="2554" y="3861"/>
                </a:lnTo>
                <a:lnTo>
                  <a:pt x="2537" y="3854"/>
                </a:lnTo>
                <a:lnTo>
                  <a:pt x="2521" y="3847"/>
                </a:lnTo>
                <a:lnTo>
                  <a:pt x="2506" y="3838"/>
                </a:lnTo>
                <a:lnTo>
                  <a:pt x="2490" y="3828"/>
                </a:lnTo>
                <a:lnTo>
                  <a:pt x="2475" y="3818"/>
                </a:lnTo>
                <a:lnTo>
                  <a:pt x="2461" y="3807"/>
                </a:lnTo>
                <a:lnTo>
                  <a:pt x="2446" y="3795"/>
                </a:lnTo>
                <a:lnTo>
                  <a:pt x="2432" y="3782"/>
                </a:lnTo>
                <a:lnTo>
                  <a:pt x="2419" y="3768"/>
                </a:lnTo>
                <a:lnTo>
                  <a:pt x="0" y="1112"/>
                </a:lnTo>
                <a:lnTo>
                  <a:pt x="0" y="0"/>
                </a:lnTo>
                <a:lnTo>
                  <a:pt x="2925" y="3211"/>
                </a:lnTo>
                <a:lnTo>
                  <a:pt x="2925" y="3211"/>
                </a:lnTo>
                <a:lnTo>
                  <a:pt x="2938" y="3226"/>
                </a:lnTo>
                <a:lnTo>
                  <a:pt x="2950" y="3241"/>
                </a:lnTo>
                <a:lnTo>
                  <a:pt x="2961" y="3256"/>
                </a:lnTo>
                <a:lnTo>
                  <a:pt x="2971" y="3273"/>
                </a:lnTo>
                <a:lnTo>
                  <a:pt x="2980" y="3289"/>
                </a:lnTo>
                <a:lnTo>
                  <a:pt x="2989" y="3307"/>
                </a:lnTo>
                <a:lnTo>
                  <a:pt x="2997" y="3324"/>
                </a:lnTo>
                <a:lnTo>
                  <a:pt x="3004" y="3341"/>
                </a:lnTo>
                <a:lnTo>
                  <a:pt x="3010" y="3360"/>
                </a:lnTo>
                <a:lnTo>
                  <a:pt x="3015" y="3377"/>
                </a:lnTo>
                <a:lnTo>
                  <a:pt x="3020" y="3396"/>
                </a:lnTo>
                <a:lnTo>
                  <a:pt x="3023" y="3415"/>
                </a:lnTo>
                <a:lnTo>
                  <a:pt x="3026" y="3433"/>
                </a:lnTo>
                <a:lnTo>
                  <a:pt x="3028" y="3452"/>
                </a:lnTo>
                <a:lnTo>
                  <a:pt x="3030" y="3471"/>
                </a:lnTo>
                <a:lnTo>
                  <a:pt x="3030" y="3490"/>
                </a:lnTo>
                <a:lnTo>
                  <a:pt x="3030" y="3508"/>
                </a:lnTo>
                <a:lnTo>
                  <a:pt x="3028" y="3527"/>
                </a:lnTo>
                <a:lnTo>
                  <a:pt x="3026" y="3546"/>
                </a:lnTo>
                <a:lnTo>
                  <a:pt x="3023" y="3564"/>
                </a:lnTo>
                <a:lnTo>
                  <a:pt x="3020" y="3583"/>
                </a:lnTo>
                <a:lnTo>
                  <a:pt x="3015" y="3602"/>
                </a:lnTo>
                <a:lnTo>
                  <a:pt x="3010" y="3619"/>
                </a:lnTo>
                <a:lnTo>
                  <a:pt x="3004" y="3638"/>
                </a:lnTo>
                <a:lnTo>
                  <a:pt x="2997" y="3655"/>
                </a:lnTo>
                <a:lnTo>
                  <a:pt x="2989" y="3672"/>
                </a:lnTo>
                <a:lnTo>
                  <a:pt x="2980" y="3690"/>
                </a:lnTo>
                <a:lnTo>
                  <a:pt x="2971" y="3706"/>
                </a:lnTo>
                <a:lnTo>
                  <a:pt x="2961" y="3723"/>
                </a:lnTo>
                <a:lnTo>
                  <a:pt x="2950" y="3738"/>
                </a:lnTo>
                <a:lnTo>
                  <a:pt x="2938" y="3753"/>
                </a:lnTo>
                <a:lnTo>
                  <a:pt x="2925" y="3768"/>
                </a:lnTo>
                <a:lnTo>
                  <a:pt x="2925" y="37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8016" tIns="64008" rIns="128016" bIns="64008" numCol="1" anchor="t" anchorCtr="0" compatLnSpc="1">
            <a:prstTxWarp prst="textNoShape">
              <a:avLst/>
            </a:prstTxWarp>
          </a:bodyPr>
          <a:lstStyle/>
          <a:p>
            <a:pPr defTabSz="1280096" rtl="0"/>
            <a:endParaRPr lang="en-US" sz="2520" kern="1200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BD721C-2764-482F-80B9-D4006AAB6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504" y="511176"/>
            <a:ext cx="9677875" cy="18557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86095-26DC-48B9-BA7B-02E8DFBACA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504" y="2555875"/>
            <a:ext cx="9677875" cy="6091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668057-2C90-46BA-A286-D9B49AF1C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3E0AC-52E7-4010-9D37-41BE99808841}" type="slidenum">
              <a:rPr lang="en-US" smtClean="0">
                <a:solidFill>
                  <a:srgbClr val="CBCBCA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68C89AB9-4689-4928-BE61-60056166F4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9504" y="8898891"/>
            <a:ext cx="1690259" cy="511175"/>
          </a:xfrm>
        </p:spPr>
        <p:txBody>
          <a:bodyPr/>
          <a:lstStyle/>
          <a:p>
            <a:fld id="{5BBD479B-FBD8-4330-ADAC-347BFAF0ED51}" type="datetime1">
              <a:rPr lang="ru-RU" smtClean="0">
                <a:solidFill>
                  <a:srgbClr val="CBCBCA">
                    <a:lumMod val="75000"/>
                  </a:srgbClr>
                </a:solidFill>
              </a:rPr>
              <a:pPr/>
              <a:t>08.09.2023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6F296A3-464B-4D34-A303-3FBD62B75A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07558" y="8898891"/>
            <a:ext cx="5760720" cy="511175"/>
          </a:xfrm>
        </p:spPr>
        <p:txBody>
          <a:bodyPr/>
          <a:lstStyle>
            <a:lvl1pPr algn="r">
              <a:defRPr/>
            </a:lvl1pPr>
          </a:lstStyle>
          <a:p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1749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6F7E2-04F1-46F6-BC28-860498EA0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4BF316-3424-4800-B236-6546FB94A2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DAC21-2055-4F65-A708-A293F597BE71}" type="datetime1">
              <a:rPr lang="ru-RU" smtClean="0">
                <a:solidFill>
                  <a:srgbClr val="CBCBCA">
                    <a:lumMod val="75000"/>
                  </a:srgbClr>
                </a:solidFill>
              </a:rPr>
              <a:pPr/>
              <a:t>08.09.2023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2248BB-BC4E-49A2-B98C-5009DC6A7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27CA6B-FF7F-4D8F-8569-BF95071BA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3E0AC-52E7-4010-9D37-41BE99808841}" type="slidenum">
              <a:rPr lang="en-US" smtClean="0">
                <a:solidFill>
                  <a:srgbClr val="CBCBCA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CBCBC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6870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995680" y="1920240"/>
            <a:ext cx="14656410" cy="2560320"/>
          </a:xfrm>
          <a:ln>
            <a:noFill/>
          </a:ln>
        </p:spPr>
        <p:txBody>
          <a:bodyPr vert="horz" tIns="0" rIns="30479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93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995680" y="4519950"/>
            <a:ext cx="14662099" cy="2453640"/>
          </a:xfrm>
        </p:spPr>
        <p:txBody>
          <a:bodyPr lIns="0" rIns="30479"/>
          <a:lstStyle>
            <a:lvl1pPr marL="0" marR="76197" indent="0" algn="r">
              <a:buNone/>
              <a:defRPr>
                <a:solidFill>
                  <a:schemeClr val="tx1"/>
                </a:solidFill>
              </a:defRPr>
            </a:lvl1pPr>
            <a:lvl2pPr marL="761970" indent="0" algn="ctr">
              <a:buNone/>
            </a:lvl2pPr>
            <a:lvl3pPr marL="1523939" indent="0" algn="ctr">
              <a:buNone/>
            </a:lvl3pPr>
            <a:lvl4pPr marL="2285909" indent="0" algn="ctr">
              <a:buNone/>
            </a:lvl4pPr>
            <a:lvl5pPr marL="3047878" indent="0" algn="ctr">
              <a:buNone/>
            </a:lvl5pPr>
            <a:lvl6pPr marL="3809848" indent="0" algn="ctr">
              <a:buNone/>
            </a:lvl6pPr>
            <a:lvl7pPr marL="4571817" indent="0" algn="ctr">
              <a:buNone/>
            </a:lvl7pPr>
            <a:lvl8pPr marL="5333787" indent="0" algn="ctr">
              <a:buNone/>
            </a:lvl8pPr>
            <a:lvl9pPr marL="6095756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A6C472-B078-4FF0-9480-4518DD165614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E0267A-9360-4B56-B995-AA1BF3BF928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A6C472-B078-4FF0-9480-4518DD165614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E0267A-9360-4B56-B995-AA1BF3BF928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89990" y="1843431"/>
            <a:ext cx="14508480" cy="1907438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93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89990" y="3786530"/>
            <a:ext cx="14508480" cy="2113597"/>
          </a:xfrm>
        </p:spPr>
        <p:txBody>
          <a:bodyPr lIns="76197" rIns="76197" anchor="t"/>
          <a:lstStyle>
            <a:lvl1pPr marL="0" indent="0">
              <a:buNone/>
              <a:defRPr sz="3700">
                <a:solidFill>
                  <a:schemeClr val="tx1"/>
                </a:solidFill>
              </a:defRPr>
            </a:lvl1pPr>
            <a:lvl2pPr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A6C472-B078-4FF0-9480-4518DD165614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E0267A-9360-4B56-B995-AA1BF3BF928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3440" y="985723"/>
            <a:ext cx="15361920" cy="16002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53440" y="2688119"/>
            <a:ext cx="7538720" cy="6208776"/>
          </a:xfrm>
        </p:spPr>
        <p:txBody>
          <a:bodyPr/>
          <a:lstStyle>
            <a:lvl1pPr>
              <a:defRPr sz="4300"/>
            </a:lvl1pPr>
            <a:lvl2pPr>
              <a:defRPr sz="4000"/>
            </a:lvl2pPr>
            <a:lvl3pPr>
              <a:defRPr sz="3300"/>
            </a:lvl3pPr>
            <a:lvl4pPr>
              <a:defRPr sz="3000"/>
            </a:lvl4pPr>
            <a:lvl5pPr>
              <a:defRPr sz="30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676640" y="2688119"/>
            <a:ext cx="7538720" cy="6208776"/>
          </a:xfrm>
        </p:spPr>
        <p:txBody>
          <a:bodyPr/>
          <a:lstStyle>
            <a:lvl1pPr>
              <a:defRPr sz="4300"/>
            </a:lvl1pPr>
            <a:lvl2pPr>
              <a:defRPr sz="4000"/>
            </a:lvl2pPr>
            <a:lvl3pPr>
              <a:defRPr sz="3300"/>
            </a:lvl3pPr>
            <a:lvl4pPr>
              <a:defRPr sz="3000"/>
            </a:lvl4pPr>
            <a:lvl5pPr>
              <a:defRPr sz="30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A6C472-B078-4FF0-9480-4518DD165614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E0267A-9360-4B56-B995-AA1BF3BF928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2132A690-2989-434A-9BC4-267E3C1D86E6}" type="datetime1">
              <a:rPr lang="ru-RU" smtClean="0"/>
              <a:pPr>
                <a:defRPr/>
              </a:pPr>
              <a:t>08.09.2023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0605" y="137017"/>
            <a:ext cx="12324275" cy="781566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 bwMode="auto">
          <a:xfrm flipH="1">
            <a:off x="552189" y="1044474"/>
            <a:ext cx="151200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1224" y="109643"/>
            <a:ext cx="930578" cy="1106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017957" y="1380600"/>
            <a:ext cx="13032887" cy="6840000"/>
          </a:xfrm>
          <a:prstGeom prst="rect">
            <a:avLst/>
          </a:prstGeom>
        </p:spPr>
      </p:pic>
      <p:sp>
        <p:nvSpPr>
          <p:cNvPr id="13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5231144" y="8944751"/>
            <a:ext cx="1650658" cy="511174"/>
          </a:xfrm>
        </p:spPr>
        <p:txBody>
          <a:bodyPr/>
          <a:lstStyle/>
          <a:p>
            <a:pPr>
              <a:defRPr/>
            </a:pPr>
            <a:fld id="{E7264718-516D-4284-812E-2FE0C1302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44329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3440" y="985723"/>
            <a:ext cx="15361920" cy="1600200"/>
          </a:xfrm>
        </p:spPr>
        <p:txBody>
          <a:bodyPr tIns="76197" anchor="b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53440" y="2597347"/>
            <a:ext cx="7541684" cy="923093"/>
          </a:xfrm>
        </p:spPr>
        <p:txBody>
          <a:bodyPr lIns="76197" tIns="0" rIns="76197" bIns="0" anchor="ctr">
            <a:noAutofit/>
          </a:bodyPr>
          <a:lstStyle>
            <a:lvl1pPr marL="0" indent="0">
              <a:buNone/>
              <a:defRPr sz="40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3300" b="1"/>
            </a:lvl2pPr>
            <a:lvl3pPr>
              <a:buNone/>
              <a:defRPr sz="3000" b="1"/>
            </a:lvl3pPr>
            <a:lvl4pPr>
              <a:buNone/>
              <a:defRPr sz="2700" b="1"/>
            </a:lvl4pPr>
            <a:lvl5pPr>
              <a:buNone/>
              <a:defRPr sz="27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8670714" y="2603661"/>
            <a:ext cx="7544647" cy="916780"/>
          </a:xfrm>
        </p:spPr>
        <p:txBody>
          <a:bodyPr lIns="76197" tIns="0" rIns="76197" bIns="0" anchor="ctr"/>
          <a:lstStyle>
            <a:lvl1pPr marL="0" indent="0">
              <a:buNone/>
              <a:defRPr sz="40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3300" b="1"/>
            </a:lvl2pPr>
            <a:lvl3pPr>
              <a:buNone/>
              <a:defRPr sz="3000" b="1"/>
            </a:lvl3pPr>
            <a:lvl4pPr>
              <a:buNone/>
              <a:defRPr sz="2700" b="1"/>
            </a:lvl4pPr>
            <a:lvl5pPr>
              <a:buNone/>
              <a:defRPr sz="27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853440" y="3520440"/>
            <a:ext cx="7541684" cy="5384008"/>
          </a:xfrm>
        </p:spPr>
        <p:txBody>
          <a:bodyPr tIns="0"/>
          <a:lstStyle>
            <a:lvl1pPr>
              <a:defRPr sz="3700"/>
            </a:lvl1pPr>
            <a:lvl2pPr>
              <a:defRPr sz="3300"/>
            </a:lvl2pPr>
            <a:lvl3pPr>
              <a:defRPr sz="3000"/>
            </a:lvl3pPr>
            <a:lvl4pPr>
              <a:defRPr sz="2700"/>
            </a:lvl4pPr>
            <a:lvl5pPr>
              <a:defRPr sz="27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670714" y="3520440"/>
            <a:ext cx="7544647" cy="5384008"/>
          </a:xfrm>
        </p:spPr>
        <p:txBody>
          <a:bodyPr tIns="0"/>
          <a:lstStyle>
            <a:lvl1pPr>
              <a:defRPr sz="3700"/>
            </a:lvl1pPr>
            <a:lvl2pPr>
              <a:defRPr sz="3300"/>
            </a:lvl2pPr>
            <a:lvl3pPr>
              <a:defRPr sz="3000"/>
            </a:lvl3pPr>
            <a:lvl4pPr>
              <a:defRPr sz="2700"/>
            </a:lvl4pPr>
            <a:lvl5pPr>
              <a:defRPr sz="27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A6C472-B078-4FF0-9480-4518DD165614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E0267A-9360-4B56-B995-AA1BF3BF928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3440" y="985723"/>
            <a:ext cx="15504160" cy="1600200"/>
          </a:xfrm>
        </p:spPr>
        <p:txBody>
          <a:bodyPr vert="horz" tIns="76197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83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A6C472-B078-4FF0-9480-4518DD165614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E0267A-9360-4B56-B995-AA1BF3BF928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A6C472-B078-4FF0-9480-4518DD165614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E0267A-9360-4B56-B995-AA1BF3BF928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0160" y="720093"/>
            <a:ext cx="5120640" cy="162687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43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1280160" y="2346960"/>
            <a:ext cx="5120640" cy="6400800"/>
          </a:xfrm>
        </p:spPr>
        <p:txBody>
          <a:bodyPr lIns="30479" rIns="30479"/>
          <a:lstStyle>
            <a:lvl1pPr marL="0" indent="0" algn="l">
              <a:buNone/>
              <a:defRPr sz="2300"/>
            </a:lvl1pPr>
            <a:lvl2pPr indent="0" algn="l">
              <a:buNone/>
              <a:defRPr sz="2000"/>
            </a:lvl2pPr>
            <a:lvl3pPr indent="0" algn="l">
              <a:buNone/>
              <a:defRPr sz="1700"/>
            </a:lvl3pPr>
            <a:lvl4pPr indent="0" algn="l">
              <a:buNone/>
              <a:defRPr sz="1500"/>
            </a:lvl4pPr>
            <a:lvl5pPr indent="0" algn="l">
              <a:buNone/>
              <a:defRPr sz="15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6673427" y="2346960"/>
            <a:ext cx="9541933" cy="6400800"/>
          </a:xfrm>
        </p:spPr>
        <p:txBody>
          <a:bodyPr tIns="0"/>
          <a:lstStyle>
            <a:lvl1pPr>
              <a:defRPr sz="4700"/>
            </a:lvl1pPr>
            <a:lvl2pPr>
              <a:defRPr sz="4300"/>
            </a:lvl2pPr>
            <a:lvl3pPr>
              <a:defRPr sz="4000"/>
            </a:lvl3pPr>
            <a:lvl4pPr>
              <a:defRPr sz="3300"/>
            </a:lvl4pPr>
            <a:lvl5pPr>
              <a:defRPr sz="30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A6C472-B078-4FF0-9480-4518DD165614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E0267A-9360-4B56-B995-AA1BF3BF928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с одним вырезанным скругленным углом 8"/>
          <p:cNvSpPr/>
          <p:nvPr/>
        </p:nvSpPr>
        <p:spPr>
          <a:xfrm rot="420000" flipV="1">
            <a:off x="5909406" y="1551308"/>
            <a:ext cx="9814560" cy="576072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2394" tIns="76197" rIns="152394" bIns="76197"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ый треугольник 11"/>
          <p:cNvSpPr/>
          <p:nvPr/>
        </p:nvSpPr>
        <p:spPr>
          <a:xfrm rot="420000" flipV="1">
            <a:off x="14941050" y="7503677"/>
            <a:ext cx="290170" cy="217627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2394" tIns="76197" rIns="152394" bIns="76197"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37920" y="1647795"/>
            <a:ext cx="4130650" cy="2215669"/>
          </a:xfrm>
        </p:spPr>
        <p:txBody>
          <a:bodyPr vert="horz" lIns="76197" tIns="76197" rIns="76197" bIns="76197" anchor="b"/>
          <a:lstStyle>
            <a:lvl1pPr algn="l">
              <a:buNone/>
              <a:defRPr sz="3300" b="1">
                <a:solidFill>
                  <a:schemeClr val="tx2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37920" y="3960299"/>
            <a:ext cx="4124960" cy="3051048"/>
          </a:xfrm>
        </p:spPr>
        <p:txBody>
          <a:bodyPr lIns="106676" rIns="76197" bIns="76197" anchor="t"/>
          <a:lstStyle>
            <a:lvl1pPr marL="0" indent="0" algn="l">
              <a:spcBef>
                <a:spcPts val="417"/>
              </a:spcBef>
              <a:buFontTx/>
              <a:buNone/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A6C472-B078-4FF0-9480-4518DD165614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5077440" y="8898891"/>
            <a:ext cx="1137920" cy="5111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E0267A-9360-4B56-B995-AA1BF3BF928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6506814" y="1679324"/>
            <a:ext cx="8619744" cy="5504688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53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10" name="Полилиния 9"/>
          <p:cNvSpPr>
            <a:spLocks/>
          </p:cNvSpPr>
          <p:nvPr/>
        </p:nvSpPr>
        <p:spPr bwMode="auto">
          <a:xfrm flipV="1">
            <a:off x="-17780" y="8143240"/>
            <a:ext cx="17104360" cy="145796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52394" tIns="76197" rIns="152394" bIns="76197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Полилиния 10"/>
          <p:cNvSpPr>
            <a:spLocks/>
          </p:cNvSpPr>
          <p:nvPr/>
        </p:nvSpPr>
        <p:spPr bwMode="auto">
          <a:xfrm flipV="1">
            <a:off x="8178800" y="8707756"/>
            <a:ext cx="8890000" cy="89344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52394" tIns="76197" rIns="152394" bIns="76197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A6C472-B078-4FF0-9480-4518DD165614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E0267A-9360-4B56-B995-AA1BF3BF928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374880" y="1280162"/>
            <a:ext cx="3840480" cy="7296468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53440" y="1280162"/>
            <a:ext cx="11236960" cy="7296468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A6C472-B078-4FF0-9480-4518DD165614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E0267A-9360-4B56-B995-AA1BF3BF928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44_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 bwMode="auto">
          <a:xfrm>
            <a:off x="296915" y="241056"/>
            <a:ext cx="13753527" cy="781565"/>
          </a:xfrm>
        </p:spPr>
        <p:txBody>
          <a:bodyPr>
            <a:normAutofit/>
          </a:bodyPr>
          <a:lstStyle>
            <a:lvl1pPr>
              <a:defRPr sz="3000" b="1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  <p:cxnSp>
        <p:nvCxnSpPr>
          <p:cNvPr id="9" name="Прямая соединительная линия 8"/>
          <p:cNvCxnSpPr>
            <a:cxnSpLocks/>
          </p:cNvCxnSpPr>
          <p:nvPr userDrawn="1"/>
        </p:nvCxnSpPr>
        <p:spPr bwMode="auto">
          <a:xfrm flipH="1">
            <a:off x="397495" y="1044474"/>
            <a:ext cx="16344000" cy="0"/>
          </a:xfrm>
          <a:prstGeom prst="line">
            <a:avLst/>
          </a:prstGeom>
          <a:ln w="6350">
            <a:gradFill>
              <a:gsLst>
                <a:gs pos="0">
                  <a:schemeClr val="tx1"/>
                </a:gs>
                <a:gs pos="100000">
                  <a:srgbClr val="236B9E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2"/>
          <a:stretch/>
        </p:blipFill>
        <p:spPr bwMode="auto">
          <a:xfrm>
            <a:off x="16056473" y="173591"/>
            <a:ext cx="713982" cy="849029"/>
          </a:xfrm>
          <a:prstGeom prst="rect">
            <a:avLst/>
          </a:prstGeom>
          <a:noFill/>
        </p:spPr>
      </p:pic>
      <p:sp>
        <p:nvSpPr>
          <p:cNvPr id="12" name="Дата 2"/>
          <p:cNvSpPr txBox="1"/>
          <p:nvPr userDrawn="1"/>
        </p:nvSpPr>
        <p:spPr bwMode="auto">
          <a:xfrm>
            <a:off x="1173479" y="8898890"/>
            <a:ext cx="3840480" cy="5111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>
              <a:defRPr sz="17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4D3C1-FCCA-4129-B101-B5FE83575112}" type="datetime1"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8/2023</a:t>
            </a:fld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Номер слайда 5"/>
          <p:cNvSpPr txBox="1"/>
          <p:nvPr userDrawn="1"/>
        </p:nvSpPr>
        <p:spPr bwMode="auto">
          <a:xfrm>
            <a:off x="15231146" y="8944751"/>
            <a:ext cx="1650657" cy="5111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>
              <a:defRPr sz="17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264718-516D-4284-812E-2FE0C1302E6C}" type="slidenum">
              <a:rPr kumimoji="0" lang="en-GB" sz="17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7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14" name="Прямая соединительная линия 13"/>
          <p:cNvCxnSpPr>
            <a:cxnSpLocks/>
          </p:cNvCxnSpPr>
          <p:nvPr userDrawn="1"/>
        </p:nvCxnSpPr>
        <p:spPr bwMode="auto">
          <a:xfrm>
            <a:off x="11126688" y="7464897"/>
            <a:ext cx="0" cy="0"/>
          </a:xfrm>
          <a:prstGeom prst="line">
            <a:avLst/>
          </a:prstGeom>
          <a:ln w="76200">
            <a:solidFill>
              <a:srgbClr val="DCE7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b="12979"/>
          <a:stretch/>
        </p:blipFill>
        <p:spPr bwMode="auto">
          <a:xfrm>
            <a:off x="-15242" y="6882924"/>
            <a:ext cx="17084040" cy="2718276"/>
          </a:xfrm>
          <a:prstGeom prst="rect">
            <a:avLst/>
          </a:prstGeom>
        </p:spPr>
      </p:pic>
      <p:sp>
        <p:nvSpPr>
          <p:cNvPr id="19" name="Прямоугольник 18"/>
          <p:cNvSpPr/>
          <p:nvPr userDrawn="1"/>
        </p:nvSpPr>
        <p:spPr bwMode="auto">
          <a:xfrm>
            <a:off x="-15242" y="6768753"/>
            <a:ext cx="17084040" cy="2832448"/>
          </a:xfrm>
          <a:prstGeom prst="rect">
            <a:avLst/>
          </a:prstGeom>
          <a:solidFill>
            <a:schemeClr val="bg1"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457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4D3C1-FCCA-4129-B101-B5FE83575112}" type="datetime1">
              <a:rPr kumimoji="0" lang="en-US" sz="1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8/2023</a:t>
            </a:fld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457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5231146" y="8944751"/>
            <a:ext cx="1650657" cy="511174"/>
          </a:xfrm>
        </p:spPr>
        <p:txBody>
          <a:bodyPr/>
          <a:lstStyle/>
          <a:p>
            <a:pPr marL="0" marR="0" lvl="0" indent="0" algn="r" defTabSz="457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264718-516D-4284-812E-2FE0C1302E6C}" type="slidenum">
              <a:rPr kumimoji="0" lang="en-GB" sz="1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7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28915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4286778"/>
            <a:ext cx="10281884" cy="1889016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sz="7700" b="1" kern="1200" baseline="0" dirty="0">
                <a:solidFill>
                  <a:srgbClr val="404040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 err="1"/>
              <a:t>Перебивочный</a:t>
            </a:r>
            <a:r>
              <a:rPr lang="ru-RU" dirty="0"/>
              <a:t> слайд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2310927"/>
            <a:ext cx="10281884" cy="107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7700" b="1" kern="1200" dirty="0">
                <a:solidFill>
                  <a:srgbClr val="404040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pPr lvl="0"/>
            <a:r>
              <a:rPr lang="ru-RU" dirty="0"/>
              <a:t>Нумераци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925391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30_Пользовательский маке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2" name="Дата 2"/>
          <p:cNvSpPr txBox="1"/>
          <p:nvPr userDrawn="1"/>
        </p:nvSpPr>
        <p:spPr bwMode="auto">
          <a:xfrm>
            <a:off x="1173479" y="8898890"/>
            <a:ext cx="3840480" cy="5111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>
              <a:defRPr sz="17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4D3C1-FCCA-4129-B101-B5FE83575112}" type="datetime1"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8/2023</a:t>
            </a:fld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3" name="Номер слайда 5"/>
          <p:cNvSpPr txBox="1"/>
          <p:nvPr userDrawn="1"/>
        </p:nvSpPr>
        <p:spPr bwMode="auto">
          <a:xfrm>
            <a:off x="15231146" y="8944751"/>
            <a:ext cx="1650657" cy="5111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>
              <a:defRPr sz="17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264718-516D-4284-812E-2FE0C1302E6C}" type="slidenum">
              <a:rPr kumimoji="0" lang="en-GB" sz="17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7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0" y="7187286"/>
            <a:ext cx="17068800" cy="2408598"/>
          </a:xfrm>
          <a:prstGeom prst="rect">
            <a:avLst/>
          </a:prstGeom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457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5231146" y="8944751"/>
            <a:ext cx="1650657" cy="511174"/>
          </a:xfrm>
        </p:spPr>
        <p:txBody>
          <a:bodyPr/>
          <a:lstStyle/>
          <a:p>
            <a:pPr marL="0" marR="0" lvl="0" indent="0" algn="r" defTabSz="457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264718-516D-4284-812E-2FE0C1302E6C}" type="slidenum">
              <a:rPr kumimoji="0" lang="en-GB" sz="1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7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auto">
          <a:xfrm>
            <a:off x="296915" y="241056"/>
            <a:ext cx="13753527" cy="781565"/>
          </a:xfrm>
        </p:spPr>
        <p:txBody>
          <a:bodyPr>
            <a:normAutofit/>
          </a:bodyPr>
          <a:lstStyle>
            <a:lvl1pPr>
              <a:defRPr sz="3000" b="1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  <p:cxnSp>
        <p:nvCxnSpPr>
          <p:cNvPr id="9" name="Прямая соединительная линия 8"/>
          <p:cNvCxnSpPr>
            <a:cxnSpLocks/>
          </p:cNvCxnSpPr>
          <p:nvPr userDrawn="1"/>
        </p:nvCxnSpPr>
        <p:spPr bwMode="auto">
          <a:xfrm flipH="1">
            <a:off x="397495" y="1044474"/>
            <a:ext cx="16344000" cy="0"/>
          </a:xfrm>
          <a:prstGeom prst="line">
            <a:avLst/>
          </a:prstGeom>
          <a:ln w="6350">
            <a:gradFill>
              <a:gsLst>
                <a:gs pos="0">
                  <a:schemeClr val="tx1"/>
                </a:gs>
                <a:gs pos="100000">
                  <a:srgbClr val="236B9E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3"/>
          <a:stretch/>
        </p:blipFill>
        <p:spPr bwMode="auto">
          <a:xfrm>
            <a:off x="16056473" y="173591"/>
            <a:ext cx="713982" cy="849029"/>
          </a:xfrm>
          <a:prstGeom prst="rect">
            <a:avLst/>
          </a:prstGeom>
          <a:noFill/>
        </p:spPr>
      </p:pic>
      <p:sp>
        <p:nvSpPr>
          <p:cNvPr id="12" name="Дата 2"/>
          <p:cNvSpPr txBox="1"/>
          <p:nvPr userDrawn="1"/>
        </p:nvSpPr>
        <p:spPr bwMode="auto">
          <a:xfrm>
            <a:off x="1173479" y="8898890"/>
            <a:ext cx="3840480" cy="5111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>
              <a:defRPr sz="17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Номер слайда 5"/>
          <p:cNvSpPr txBox="1"/>
          <p:nvPr userDrawn="1"/>
        </p:nvSpPr>
        <p:spPr bwMode="auto">
          <a:xfrm>
            <a:off x="15231146" y="8944751"/>
            <a:ext cx="1650657" cy="5111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>
              <a:defRPr sz="17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264718-516D-4284-812E-2FE0C1302E6C}" type="slidenum">
              <a:rPr kumimoji="0" lang="en-GB" sz="17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7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14" name="Прямая соединительная линия 13"/>
          <p:cNvCxnSpPr>
            <a:cxnSpLocks/>
          </p:cNvCxnSpPr>
          <p:nvPr userDrawn="1"/>
        </p:nvCxnSpPr>
        <p:spPr bwMode="auto">
          <a:xfrm>
            <a:off x="11126688" y="7464897"/>
            <a:ext cx="0" cy="0"/>
          </a:xfrm>
          <a:prstGeom prst="line">
            <a:avLst/>
          </a:prstGeom>
          <a:ln w="76200">
            <a:solidFill>
              <a:srgbClr val="DCE7F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87203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/>
        </p:blipFill>
        <p:spPr bwMode="auto">
          <a:xfrm>
            <a:off x="11340000" y="1392378"/>
            <a:ext cx="5534316" cy="8208819"/>
          </a:xfrm>
          <a:prstGeom prst="rect">
            <a:avLst/>
          </a:prstGeom>
        </p:spPr>
      </p:pic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2F0CA3C-E64C-4021-AFD5-885F9D1CB829}" type="datetime1">
              <a:rPr lang="ru-RU" smtClean="0"/>
              <a:pPr>
                <a:defRPr/>
              </a:pPr>
              <a:t>08.09.2023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5231144" y="8944751"/>
            <a:ext cx="1650658" cy="511174"/>
          </a:xfrm>
        </p:spPr>
        <p:txBody>
          <a:bodyPr/>
          <a:lstStyle/>
          <a:p>
            <a:pPr>
              <a:defRPr/>
            </a:pPr>
            <a:fld id="{E7264718-516D-4284-812E-2FE0C1302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0605" y="137017"/>
            <a:ext cx="12324275" cy="781566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 bwMode="auto">
          <a:xfrm flipH="1">
            <a:off x="552189" y="1044474"/>
            <a:ext cx="151200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1224" y="109643"/>
            <a:ext cx="930578" cy="1106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6386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4D3C1-FCCA-4129-B101-B5FE83575112}" type="datetime1">
              <a:rPr kumimoji="0" lang="en-US" sz="17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8/2023</a:t>
            </a:fld>
            <a:endParaRPr kumimoji="0" lang="en-US" sz="1700" b="0" i="0" u="none" strike="noStrike" kern="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5231146" y="8944751"/>
            <a:ext cx="1650657" cy="511174"/>
          </a:xfrm>
        </p:spPr>
        <p:txBody>
          <a:bodyPr/>
          <a:lstStyle/>
          <a:p>
            <a:pPr marL="0" marR="0" lvl="0" indent="0" algn="r" defTabSz="4572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264718-516D-4284-812E-2FE0C1302E6C}" type="slidenum">
              <a:rPr kumimoji="0" lang="en-GB" sz="17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700" b="0" i="0" u="none" strike="noStrike" kern="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1989" y="255589"/>
            <a:ext cx="13753527" cy="781565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 bwMode="auto">
          <a:xfrm flipH="1">
            <a:off x="397497" y="1044474"/>
            <a:ext cx="1627380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1224" y="109644"/>
            <a:ext cx="720080" cy="856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84038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10F2E5-E109-439F-9756-8F16F246DF3D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0605" y="137019"/>
            <a:ext cx="12324276" cy="781565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 bwMode="auto">
          <a:xfrm flipH="1">
            <a:off x="552189" y="1044474"/>
            <a:ext cx="151200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1224" y="109644"/>
            <a:ext cx="930579" cy="1106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017370" y="1380585"/>
            <a:ext cx="13034063" cy="6840033"/>
          </a:xfrm>
          <a:prstGeom prst="rect">
            <a:avLst/>
          </a:prstGeom>
        </p:spPr>
      </p:pic>
      <p:sp>
        <p:nvSpPr>
          <p:cNvPr id="14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5231146" y="8944751"/>
            <a:ext cx="1650657" cy="511174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264718-516D-4284-812E-2FE0C1302E6C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7184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4D3C1-FCCA-4129-B101-B5FE83575112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8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5231146" y="8944751"/>
            <a:ext cx="1650657" cy="511174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264718-516D-4284-812E-2FE0C1302E6C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325489" y="264097"/>
            <a:ext cx="13753527" cy="781565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 bwMode="auto">
          <a:xfrm flipH="1">
            <a:off x="397497" y="1044474"/>
            <a:ext cx="1627380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1224" y="109644"/>
            <a:ext cx="720080" cy="856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20743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/>
        </p:blipFill>
        <p:spPr bwMode="auto">
          <a:xfrm>
            <a:off x="47756" y="1392378"/>
            <a:ext cx="5534316" cy="8208819"/>
          </a:xfrm>
          <a:prstGeom prst="rect">
            <a:avLst/>
          </a:prstGeom>
        </p:spPr>
      </p:pic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9DAB7DA-5E01-4631-8EDF-098553188B26}" type="datetime1">
              <a:rPr lang="ru-RU" smtClean="0"/>
              <a:pPr>
                <a:defRPr/>
              </a:pPr>
              <a:t>08.09.2023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5231144" y="8944751"/>
            <a:ext cx="1650658" cy="511174"/>
          </a:xfrm>
        </p:spPr>
        <p:txBody>
          <a:bodyPr/>
          <a:lstStyle/>
          <a:p>
            <a:pPr>
              <a:defRPr/>
            </a:pPr>
            <a:fld id="{E7264718-516D-4284-812E-2FE0C1302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0605" y="137017"/>
            <a:ext cx="12324275" cy="781566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 bwMode="auto">
          <a:xfrm flipH="1">
            <a:off x="552189" y="1044474"/>
            <a:ext cx="151200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1224" y="109643"/>
            <a:ext cx="930578" cy="1106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49404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0EC8C7D-01F4-4389-A905-7ADCCFF46693}" type="datetime1">
              <a:rPr lang="ru-RU" smtClean="0"/>
              <a:pPr>
                <a:defRPr/>
              </a:pPr>
              <a:t>08.09.2023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5231144" y="8944751"/>
            <a:ext cx="1650658" cy="511174"/>
          </a:xfrm>
        </p:spPr>
        <p:txBody>
          <a:bodyPr/>
          <a:lstStyle/>
          <a:p>
            <a:pPr>
              <a:defRPr/>
            </a:pPr>
            <a:fld id="{E7264718-516D-4284-812E-2FE0C1302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0605" y="137017"/>
            <a:ext cx="12324275" cy="781566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 bwMode="auto">
          <a:xfrm flipH="1">
            <a:off x="552189" y="1044474"/>
            <a:ext cx="151200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1224" y="109643"/>
            <a:ext cx="930578" cy="1106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8168" y="3616699"/>
            <a:ext cx="7912176" cy="5935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4745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BDB224E-5821-42BD-A3E5-7BF33570C982}" type="datetime1">
              <a:rPr lang="ru-RU" smtClean="0"/>
              <a:pPr>
                <a:defRPr/>
              </a:pPr>
              <a:t>08.09.2023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5231144" y="8944751"/>
            <a:ext cx="1650658" cy="511174"/>
          </a:xfrm>
        </p:spPr>
        <p:txBody>
          <a:bodyPr/>
          <a:lstStyle/>
          <a:p>
            <a:pPr>
              <a:defRPr/>
            </a:pPr>
            <a:fld id="{E7264718-516D-4284-812E-2FE0C1302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0605" y="137017"/>
            <a:ext cx="12324275" cy="781566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 bwMode="auto">
          <a:xfrm flipH="1">
            <a:off x="552189" y="1044474"/>
            <a:ext cx="151200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1224" y="109643"/>
            <a:ext cx="930578" cy="1106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985108" y="3665329"/>
            <a:ext cx="7912176" cy="5935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487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901552" y="1848272"/>
            <a:ext cx="15200129" cy="7161996"/>
          </a:xfrm>
          <a:prstGeom prst="rect">
            <a:avLst/>
          </a:prstGeom>
        </p:spPr>
      </p:pic>
      <p:sp>
        <p:nvSpPr>
          <p:cNvPr id="3" name="Прямоугольник 2"/>
          <p:cNvSpPr/>
          <p:nvPr userDrawn="1"/>
        </p:nvSpPr>
        <p:spPr>
          <a:xfrm>
            <a:off x="469504" y="1128198"/>
            <a:ext cx="9289032" cy="4349729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7985" tIns="63994" rIns="127985" bIns="63994" rtlCol="0" anchor="ctr"/>
          <a:lstStyle/>
          <a:p>
            <a:pPr algn="ctr"/>
            <a:endParaRPr lang="ru-RU" sz="224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685528" y="1128198"/>
            <a:ext cx="8436760" cy="2635171"/>
          </a:xfrm>
        </p:spPr>
        <p:txBody>
          <a:bodyPr bIns="233944" anchor="b">
            <a:normAutofit/>
          </a:bodyPr>
          <a:lstStyle>
            <a:lvl1pPr marL="574308" indent="0" algn="l">
              <a:defRPr sz="224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07574" y="1580866"/>
            <a:ext cx="11961495" cy="6091873"/>
          </a:xfrm>
          <a:prstGeom prst="rect">
            <a:avLst/>
          </a:prstGeom>
        </p:spPr>
        <p:txBody>
          <a:bodyPr vert="horz" lIns="91418" tIns="45710" rIns="91418" bIns="45710" rtlCol="0">
            <a:normAutofit/>
          </a:bodyPr>
          <a:lstStyle>
            <a:lvl1pPr marL="319963" indent="-319963" algn="l" defTabSz="1279852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959890" indent="-319963" algn="l" defTabSz="1279852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599816" indent="-319963" algn="l" defTabSz="1279852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2239742" indent="-319963" algn="l" defTabSz="1279852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879668" indent="-319963" algn="l" defTabSz="1279852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3519594" indent="-319963" algn="l" defTabSz="1279852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59520" indent="-319963" algn="l" defTabSz="1279852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799449" indent="-319963" algn="l" defTabSz="1279852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39375" indent="-319963" algn="l" defTabSz="1279852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pic>
        <p:nvPicPr>
          <p:cNvPr id="6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C2835199-5375-4D78-8F6F-26A840D61F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7585" y="680633"/>
            <a:ext cx="1963831" cy="2335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89777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rtl="0">
              <a:defRPr/>
            </a:pPr>
            <a:endParaRPr lang="ru-RU" sz="1800" kern="12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rtl="0">
              <a:defRPr/>
            </a:pPr>
            <a:fld id="{F9913011-8E63-45D3-A0A1-075BF058334B}" type="datetime1">
              <a:rPr lang="ru-RU" sz="1800" kern="1200" smtClean="0">
                <a:solidFill>
                  <a:prstClr val="black">
                    <a:tint val="75000"/>
                  </a:prstClr>
                </a:solidFill>
              </a:rPr>
              <a:pPr defTabSz="914400" rtl="0">
                <a:defRPr/>
              </a:pPr>
              <a:t>08.09.2023</a:t>
            </a:fld>
            <a:endParaRPr lang="en-US" sz="1800" kern="12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888888"/>
                </a:solidFill>
                <a:latin typeface="Arial"/>
                <a:cs typeface="Arial"/>
              </a:defRPr>
            </a:lvl1pPr>
          </a:lstStyle>
          <a:p>
            <a:pPr marL="38100" algn="l" defTabSz="914400" rtl="0">
              <a:spcBef>
                <a:spcPts val="70"/>
              </a:spcBef>
              <a:defRPr/>
            </a:pPr>
            <a:fld id="{81D60167-4931-47E6-BA6A-407CBD079E47}" type="slidenum">
              <a:rPr lang="ru-RU" kern="1200" spc="20" smtClean="0"/>
              <a:pPr marL="38100" algn="l" defTabSz="914400" rtl="0">
                <a:spcBef>
                  <a:spcPts val="70"/>
                </a:spcBef>
                <a:defRPr/>
              </a:pPr>
              <a:t>‹#›</a:t>
            </a:fld>
            <a:endParaRPr lang="ru-RU" kern="1200" spc="20" dirty="0"/>
          </a:p>
        </p:txBody>
      </p:sp>
    </p:spTree>
    <p:extLst>
      <p:ext uri="{BB962C8B-B14F-4D97-AF65-F5344CB8AC3E}">
        <p14:creationId xmlns:p14="http://schemas.microsoft.com/office/powerpoint/2010/main" val="24949913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1173479" y="511175"/>
            <a:ext cx="14721840" cy="18557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173479" y="2555874"/>
            <a:ext cx="14721840" cy="60918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1173479" y="8898890"/>
            <a:ext cx="3840480" cy="5111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2150E9B-AE28-410C-A723-74373EB01CCA}" type="datetime1">
              <a:rPr lang="ru-RU" smtClean="0"/>
              <a:pPr>
                <a:defRPr/>
              </a:pPr>
              <a:t>08.09.2023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5654039" y="8898890"/>
            <a:ext cx="5760720" cy="5111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2054839" y="8898890"/>
            <a:ext cx="3840480" cy="5111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7264718-516D-4284-812E-2FE0C1302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964" y="2223"/>
          <a:ext cx="296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3" name="oleObj" r:id="rId19" imgW="360" imgH="360" progId="">
                  <p:embed/>
                </p:oleObj>
              </mc:Choice>
              <mc:Fallback>
                <p:oleObj name="oleObj" r:id="rId19" imgW="360" imgH="360" progId="">
                  <p:embed/>
                  <p:pic>
                    <p:nvPicPr>
                      <p:cNvPr id="0" name="Picture 12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64" y="2223"/>
                        <a:ext cx="296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1" r:id="rId2"/>
    <p:sldLayoutId id="2147483672" r:id="rId3"/>
    <p:sldLayoutId id="2147483676" r:id="rId4"/>
    <p:sldLayoutId id="2147483677" r:id="rId5"/>
    <p:sldLayoutId id="2147483678" r:id="rId6"/>
    <p:sldLayoutId id="2147483679" r:id="rId7"/>
    <p:sldLayoutId id="2147483673" r:id="rId8"/>
    <p:sldLayoutId id="2147483697" r:id="rId9"/>
    <p:sldLayoutId id="2147483750" r:id="rId10"/>
    <p:sldLayoutId id="2147483753" r:id="rId11"/>
    <p:sldLayoutId id="2147483754" r:id="rId12"/>
    <p:sldLayoutId id="2147483767" r:id="rId13"/>
    <p:sldLayoutId id="2147483784" r:id="rId14"/>
    <p:sldLayoutId id="2147483787" r:id="rId15"/>
    <p:sldLayoutId id="2147483789" r:id="rId16"/>
  </p:sldLayoutIdLst>
  <p:hf hdr="0" ftr="0" dt="0"/>
  <p:txStyles>
    <p:titleStyle>
      <a:lvl1pPr algn="l" defTabSz="1280160">
        <a:lnSpc>
          <a:spcPct val="90000"/>
        </a:lnSpc>
        <a:spcBef>
          <a:spcPts val="0"/>
        </a:spcBef>
        <a:buNone/>
        <a:defRPr sz="615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>
        <a:lnSpc>
          <a:spcPct val="90000"/>
        </a:lnSpc>
        <a:spcBef>
          <a:spcPts val="1400"/>
        </a:spcBef>
        <a:buFont typeface="Arial"/>
        <a:buChar char="•"/>
        <a:defRPr sz="39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>
        <a:lnSpc>
          <a:spcPct val="90000"/>
        </a:lnSpc>
        <a:spcBef>
          <a:spcPts val="700"/>
        </a:spcBef>
        <a:buFont typeface="Arial"/>
        <a:buChar char="•"/>
        <a:defRPr sz="335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>
        <a:lnSpc>
          <a:spcPct val="90000"/>
        </a:lnSpc>
        <a:spcBef>
          <a:spcPts val="7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>
        <a:lnSpc>
          <a:spcPct val="90000"/>
        </a:lnSpc>
        <a:spcBef>
          <a:spcPts val="700"/>
        </a:spcBef>
        <a:buFont typeface="Arial"/>
        <a:buChar char="•"/>
        <a:defRPr sz="25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>
        <a:lnSpc>
          <a:spcPct val="90000"/>
        </a:lnSpc>
        <a:spcBef>
          <a:spcPts val="700"/>
        </a:spcBef>
        <a:buFont typeface="Arial"/>
        <a:buChar char="•"/>
        <a:defRPr sz="25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>
        <a:lnSpc>
          <a:spcPct val="90000"/>
        </a:lnSpc>
        <a:spcBef>
          <a:spcPts val="700"/>
        </a:spcBef>
        <a:buFont typeface="Arial"/>
        <a:buChar char="•"/>
        <a:defRPr sz="2500">
          <a:solidFill>
            <a:schemeClr val="tx1"/>
          </a:solidFill>
          <a:latin typeface="+mn-lt"/>
          <a:ea typeface="+mn-ea"/>
          <a:cs typeface="+mn-cs"/>
        </a:defRPr>
      </a:lvl6pPr>
      <a:lvl7pPr marL="4160519" indent="-320040" algn="l" defTabSz="1280160">
        <a:lnSpc>
          <a:spcPct val="90000"/>
        </a:lnSpc>
        <a:spcBef>
          <a:spcPts val="700"/>
        </a:spcBef>
        <a:buFont typeface="Arial"/>
        <a:buChar char="•"/>
        <a:defRPr sz="25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>
        <a:lnSpc>
          <a:spcPct val="90000"/>
        </a:lnSpc>
        <a:spcBef>
          <a:spcPts val="700"/>
        </a:spcBef>
        <a:buFont typeface="Arial"/>
        <a:buChar char="•"/>
        <a:defRPr sz="25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>
        <a:lnSpc>
          <a:spcPct val="90000"/>
        </a:lnSpc>
        <a:spcBef>
          <a:spcPts val="700"/>
        </a:spcBef>
        <a:buFont typeface="Arial"/>
        <a:buChar char="•"/>
        <a:defRPr sz="25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>
        <a:defRPr sz="25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>
        <a:defRPr sz="25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>
        <a:defRPr sz="25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>
        <a:defRPr sz="25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>
        <a:defRPr sz="25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>
        <a:defRPr sz="25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>
        <a:defRPr sz="25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>
        <a:defRPr sz="25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44418C-6667-46ED-871C-B51C0E184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3480" y="511176"/>
            <a:ext cx="1472184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89CDB4-289F-4351-84C7-4A60F9B07E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73480" y="2555875"/>
            <a:ext cx="1472184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471F7C-3973-4B73-A62D-BC37BBCD71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73480" y="8898891"/>
            <a:ext cx="384048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accent3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defTabSz="1280096" rtl="0"/>
            <a:fld id="{82936147-F95F-4D25-B10E-DAF6C526FADC}" type="datetime1">
              <a:rPr lang="ru-RU" kern="1200" smtClean="0">
                <a:solidFill>
                  <a:srgbClr val="CBCBCA">
                    <a:lumMod val="75000"/>
                  </a:srgbClr>
                </a:solidFill>
              </a:rPr>
              <a:pPr defTabSz="1280096" rtl="0"/>
              <a:t>08.09.2023</a:t>
            </a:fld>
            <a:endParaRPr lang="en-US" kern="1200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F81298-BAB8-4C59-8D4B-3F73F2997D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54040" y="8898891"/>
            <a:ext cx="576072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accent3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defTabSz="1280096" rtl="0"/>
            <a:endParaRPr lang="en-US" kern="1200">
              <a:solidFill>
                <a:srgbClr val="CBCBCA">
                  <a:lumMod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344370-A0FC-46D2-873F-231891F6A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054840" y="8898891"/>
            <a:ext cx="384048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accent3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defTabSz="1280096" rtl="0"/>
            <a:fld id="{1513E0AC-52E7-4010-9D37-41BE99808841}" type="slidenum">
              <a:rPr lang="en-US" kern="1200" smtClean="0">
                <a:solidFill>
                  <a:srgbClr val="CBCBCA">
                    <a:lumMod val="75000"/>
                  </a:srgbClr>
                </a:solidFill>
              </a:rPr>
              <a:pPr defTabSz="1280096" rtl="0"/>
              <a:t>‹#›</a:t>
            </a:fld>
            <a:endParaRPr lang="en-US" kern="1200">
              <a:solidFill>
                <a:srgbClr val="CBCBC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464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</p:sldLayoutIdLst>
  <p:hf hdr="0" ftr="0" dt="0"/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b="1" kern="120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-17780" y="-10002"/>
            <a:ext cx="17104360" cy="145796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52394" tIns="76197" rIns="152394" bIns="76197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8178800" y="-10001"/>
            <a:ext cx="8890000" cy="89344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52394" tIns="76197" rIns="152394" bIns="76197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853440" y="985723"/>
            <a:ext cx="15361920" cy="1600200"/>
          </a:xfrm>
          <a:prstGeom prst="rect">
            <a:avLst/>
          </a:prstGeom>
        </p:spPr>
        <p:txBody>
          <a:bodyPr vert="horz" lIns="0" tIns="76197" rIns="0" bIns="0" anchor="b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853440" y="2709672"/>
            <a:ext cx="15361920" cy="6144768"/>
          </a:xfrm>
          <a:prstGeom prst="rect">
            <a:avLst/>
          </a:prstGeom>
        </p:spPr>
        <p:txBody>
          <a:bodyPr vert="horz" lIns="152394" tIns="76197" rIns="152394" bIns="76197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853440" y="8898891"/>
            <a:ext cx="3982720" cy="51117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20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E2150E9B-AE28-410C-A723-74373EB01CCA}" type="datetime1">
              <a:rPr lang="ru-RU" smtClean="0"/>
              <a:pPr>
                <a:defRPr/>
              </a:pPr>
              <a:t>08.09.2023</a:t>
            </a:fld>
            <a:endParaRPr lang="en-US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4978400" y="8898891"/>
            <a:ext cx="6258560" cy="51117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20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14792960" y="8898891"/>
            <a:ext cx="1422400" cy="51117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20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E7264718-516D-4284-812E-2FE0C1302E6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grpSp>
        <p:nvGrpSpPr>
          <p:cNvPr id="2" name="Группа 1"/>
          <p:cNvGrpSpPr/>
          <p:nvPr/>
        </p:nvGrpSpPr>
        <p:grpSpPr>
          <a:xfrm>
            <a:off x="-35498" y="283371"/>
            <a:ext cx="17137023" cy="908914"/>
            <a:chOff x="-19045" y="216550"/>
            <a:chExt cx="9180548" cy="649224"/>
          </a:xfrm>
        </p:grpSpPr>
        <p:sp>
          <p:nvSpPr>
            <p:cNvPr id="12" name="Полилиния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Полилиния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3" r:id="rId1"/>
    <p:sldLayoutId id="2147484334" r:id="rId2"/>
    <p:sldLayoutId id="2147484335" r:id="rId3"/>
    <p:sldLayoutId id="2147484336" r:id="rId4"/>
    <p:sldLayoutId id="2147484337" r:id="rId5"/>
    <p:sldLayoutId id="2147484338" r:id="rId6"/>
    <p:sldLayoutId id="2147484339" r:id="rId7"/>
    <p:sldLayoutId id="2147484340" r:id="rId8"/>
    <p:sldLayoutId id="2147484341" r:id="rId9"/>
    <p:sldLayoutId id="2147484342" r:id="rId10"/>
    <p:sldLayoutId id="2147484343" r:id="rId11"/>
    <p:sldLayoutId id="2147484344" r:id="rId12"/>
    <p:sldLayoutId id="2147484345" r:id="rId13"/>
    <p:sldLayoutId id="2147484278" r:id="rId14"/>
    <p:sldLayoutId id="2147484279" r:id="rId15"/>
    <p:sldLayoutId id="2147484281" r:id="rId16"/>
    <p:sldLayoutId id="2147484282" r:id="rId17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83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457182" indent="-457182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1066757" indent="-411464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40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39" indent="-411464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1121" indent="-350506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33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02" indent="-350506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3300" kern="1200">
          <a:solidFill>
            <a:schemeClr val="tx1"/>
          </a:solidFill>
          <a:latin typeface="+mn-lt"/>
          <a:ea typeface="+mn-ea"/>
          <a:cs typeface="+mn-cs"/>
        </a:defRPr>
      </a:lvl5pPr>
      <a:lvl6pPr marL="2895484" indent="-350506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3000" kern="1200">
          <a:solidFill>
            <a:schemeClr val="tx1"/>
          </a:solidFill>
          <a:latin typeface="+mn-lt"/>
          <a:ea typeface="+mn-ea"/>
          <a:cs typeface="+mn-cs"/>
        </a:defRPr>
      </a:lvl6pPr>
      <a:lvl7pPr marL="3200272" indent="-304788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27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657454" indent="-304788" algn="l" rtl="0" eaLnBrk="1" latinLnBrk="0" hangingPunct="1">
        <a:spcBef>
          <a:spcPct val="20000"/>
        </a:spcBef>
        <a:buClr>
          <a:schemeClr val="tx2"/>
        </a:buClr>
        <a:buChar char="•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4114635" indent="-304788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2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76197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3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22859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304787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380984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457181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3378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609575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8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9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CustomShape 1"/>
          <p:cNvSpPr/>
          <p:nvPr/>
        </p:nvSpPr>
        <p:spPr>
          <a:xfrm>
            <a:off x="3062880" y="4718520"/>
            <a:ext cx="7271640" cy="273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ru-RU" sz="2000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Arial"/>
                <a:cs typeface="+mn-cs"/>
              </a:rPr>
              <a:t>(ФИО Министра, должность)</a:t>
            </a:r>
            <a:endParaRPr kumimoji="0" lang="ru-RU" sz="20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29" name="Рисунок 9"/>
          <p:cNvPicPr/>
          <p:nvPr/>
        </p:nvPicPr>
        <p:blipFill>
          <a:blip r:embed="rId3" cstate="print"/>
          <a:srcRect b="17935"/>
          <a:stretch/>
        </p:blipFill>
        <p:spPr>
          <a:xfrm>
            <a:off x="1442160" y="2286000"/>
            <a:ext cx="14345280" cy="6759000"/>
          </a:xfrm>
          <a:prstGeom prst="rect">
            <a:avLst/>
          </a:prstGeom>
          <a:ln>
            <a:noFill/>
          </a:ln>
        </p:spPr>
      </p:pic>
      <p:sp>
        <p:nvSpPr>
          <p:cNvPr id="230" name="CustomShape 2"/>
          <p:cNvSpPr/>
          <p:nvPr/>
        </p:nvSpPr>
        <p:spPr>
          <a:xfrm>
            <a:off x="1033560" y="1371600"/>
            <a:ext cx="9660960" cy="4150800"/>
          </a:xfrm>
          <a:prstGeom prst="rect">
            <a:avLst/>
          </a:prstGeom>
          <a:gradFill rotWithShape="0">
            <a:gsLst>
              <a:gs pos="0">
                <a:srgbClr val="002060">
                  <a:alpha val="90196"/>
                </a:srgbClr>
              </a:gs>
              <a:gs pos="100000">
                <a:srgbClr val="820050">
                  <a:alpha val="90196"/>
                </a:srgbClr>
              </a:gs>
            </a:gsLst>
            <a:lin ang="135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31" name="TextShape 3"/>
          <p:cNvSpPr txBox="1"/>
          <p:nvPr/>
        </p:nvSpPr>
        <p:spPr>
          <a:xfrm>
            <a:off x="1018800" y="2280240"/>
            <a:ext cx="9660960" cy="2667960"/>
          </a:xfrm>
          <a:prstGeom prst="rect">
            <a:avLst/>
          </a:prstGeom>
          <a:noFill/>
          <a:ln>
            <a:noFill/>
          </a:ln>
        </p:spPr>
        <p:txBody>
          <a:bodyPr bIns="23400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ru-RU" sz="4000" b="1" i="0" u="none" strike="noStrike" kern="120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+mn-cs"/>
              </a:rPr>
              <a:t>ДЕПАРТАМЕНТ ПО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ru-RU" sz="4000" b="1" i="0" u="none" strike="noStrike" kern="120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+mn-cs"/>
              </a:rPr>
              <a:t>ГРАЖДАНСКОЙ ОБОРОНЕ</a:t>
            </a:r>
            <a:r>
              <a:rPr kumimoji="0" lang="ru-RU" sz="4000" b="1" i="0" u="none" strike="noStrike" kern="1200" cap="none" spc="-1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+mn-cs"/>
              </a:rPr>
              <a:t> И ПОЖАРНОЙ БЕЗОПАСНОСТИ ЗАБАЙКАЛЬСКОГО КРАЯ</a:t>
            </a:r>
            <a:r>
              <a:rPr kumimoji="0" lang="ru-RU" sz="4000" b="1" i="0" u="none" strike="noStrike" kern="1200" cap="none" spc="-1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+mn-cs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en-US" sz="2800" b="0" i="0" u="none" strike="noStrike" kern="120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32" name="Picture 17" descr="ÐÐ°ÑÑÐ¸Ð½ÐºÐ¸ Ð¿Ð¾ Ð·Ð°Ð¿ÑÐ¾ÑÑ Ð³ÐµÑÐ± Ð·Ð°Ð±Ð°Ð¹ÐºÐ°Ð»ÑÑÐºÐ¾Ð³Ð¾ ÐºÑÐ°Ñ"/>
          <p:cNvPicPr/>
          <p:nvPr/>
        </p:nvPicPr>
        <p:blipFill>
          <a:blip r:embed="rId4" cstate="print"/>
          <a:stretch/>
        </p:blipFill>
        <p:spPr>
          <a:xfrm>
            <a:off x="12399840" y="877320"/>
            <a:ext cx="1768680" cy="2103480"/>
          </a:xfrm>
          <a:prstGeom prst="rect">
            <a:avLst/>
          </a:prstGeom>
          <a:ln>
            <a:noFill/>
          </a:ln>
        </p:spPr>
      </p:pic>
      <p:sp>
        <p:nvSpPr>
          <p:cNvPr id="233" name="TextShape 4"/>
          <p:cNvSpPr txBox="1"/>
          <p:nvPr/>
        </p:nvSpPr>
        <p:spPr>
          <a:xfrm>
            <a:off x="15231240" y="8944920"/>
            <a:ext cx="1650240" cy="51084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fld id="{3D236648-0275-4122-9457-794CA4FD4057}" type="slidenum">
              <a:rPr kumimoji="0" lang="en-GB" sz="1700" b="0" i="0" u="none" strike="noStrike" kern="1200" cap="none" spc="-1" normalizeH="0" baseline="0" noProof="0">
                <a:ln>
                  <a:noFill/>
                </a:ln>
                <a:solidFill>
                  <a:srgbClr val="8B8B8B"/>
                </a:solidFill>
                <a:effectLst/>
                <a:uLnTx/>
                <a:uFillTx/>
                <a:latin typeface="Calibri"/>
                <a:ea typeface="Arial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t>1</a:t>
            </a:fld>
            <a:endParaRPr kumimoji="0" lang="ru-RU" sz="17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33410" y="4615934"/>
            <a:ext cx="95321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ромежуточное совещание/</a:t>
            </a:r>
            <a:r>
              <a:rPr lang="en-US" sz="28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Kick-off</a:t>
            </a:r>
            <a:endParaRPr lang="ru-RU" sz="28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556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90600" y="2800336"/>
            <a:ext cx="14573352" cy="5572164"/>
          </a:xfrm>
        </p:spPr>
        <p:txBody>
          <a:bodyPr>
            <a:noAutofit/>
          </a:bodyPr>
          <a:lstStyle/>
          <a:p>
            <a:pPr algn="ctr"/>
            <a:r>
              <a:rPr lang="ru-RU" sz="6000" dirty="0" smtClean="0">
                <a:solidFill>
                  <a:schemeClr val="tx1"/>
                </a:solidFill>
              </a:rPr>
              <a:t>Проведение заседаний комиссии по предупреждению и ликвидации  чрезвычайных ситуаций и обеспечению пожарной безопасности Забайкальского края путем открытого и заочного голосования</a:t>
            </a:r>
            <a:endParaRPr lang="ru-RU" sz="6000" dirty="0">
              <a:solidFill>
                <a:schemeClr val="tx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5819757" y="1443014"/>
            <a:ext cx="4143404" cy="1500199"/>
          </a:xfrm>
        </p:spPr>
        <p:txBody>
          <a:bodyPr>
            <a:normAutofit/>
          </a:bodyPr>
          <a:lstStyle/>
          <a:p>
            <a:pPr algn="ctr"/>
            <a:r>
              <a:rPr lang="ru-RU" dirty="0"/>
              <a:t>Проект:</a:t>
            </a:r>
          </a:p>
        </p:txBody>
      </p:sp>
    </p:spTree>
    <p:extLst>
      <p:ext uri="{BB962C8B-B14F-4D97-AF65-F5344CB8AC3E}">
        <p14:creationId xmlns:p14="http://schemas.microsoft.com/office/powerpoint/2010/main" val="3244748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1007532" y="1300139"/>
            <a:ext cx="15242171" cy="857255"/>
          </a:xfrm>
        </p:spPr>
        <p:txBody>
          <a:bodyPr>
            <a:normAutofit/>
          </a:bodyPr>
          <a:lstStyle/>
          <a:p>
            <a:pPr algn="ctr"/>
            <a:r>
              <a:rPr lang="ru-RU" sz="4000" dirty="0" smtClean="0"/>
              <a:t>Организационно-распорядительные документы</a:t>
            </a:r>
            <a:endParaRPr lang="ru-RU" sz="4000" dirty="0"/>
          </a:p>
        </p:txBody>
      </p:sp>
      <p:pic>
        <p:nvPicPr>
          <p:cNvPr id="165890" name="Picture 2" descr="X:\7 ОТДЕЛ ГО\1. Петров И.Г\1 ГО ГО ГО\БЕРЕЖЛИВОЕ УПРАВЛЕН\3 Ответ №04-1175 от 07.04.23г\пр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47724" y="2228832"/>
            <a:ext cx="7429552" cy="6215106"/>
          </a:xfrm>
          <a:prstGeom prst="rect">
            <a:avLst/>
          </a:prstGeom>
          <a:noFill/>
        </p:spPr>
      </p:pic>
      <p:pic>
        <p:nvPicPr>
          <p:cNvPr id="165894" name="Picture 6" descr="X:\7 ОТДЕЛ ГО\1. Петров И.Г\1 ГО ГО ГО\БЕРЕЖЛИВОЕ УПРАВЛЕН\3 Ответ №04-1175 от 07.04.23г\пр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05839" y="2371708"/>
            <a:ext cx="7643865" cy="585791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1007532" y="1228701"/>
            <a:ext cx="14242039" cy="1428759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Команда проекта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033410" y="2657461"/>
          <a:ext cx="15359170" cy="600079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76795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795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0158">
                <a:tc>
                  <a:txBody>
                    <a:bodyPr/>
                    <a:lstStyle/>
                    <a:p>
                      <a:pPr algn="ctr"/>
                      <a:r>
                        <a:rPr lang="ru-RU" sz="3200" dirty="0" smtClean="0"/>
                        <a:t>ФИО</a:t>
                      </a:r>
                      <a:endParaRPr lang="ru-RU" sz="3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200" dirty="0" smtClean="0"/>
                        <a:t>Должность</a:t>
                      </a:r>
                      <a:endParaRPr lang="ru-RU" sz="3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00158">
                <a:tc>
                  <a:txBody>
                    <a:bodyPr/>
                    <a:lstStyle/>
                    <a:p>
                      <a:r>
                        <a:rPr lang="ru-RU" sz="3200" dirty="0" smtClean="0"/>
                        <a:t>Петров Игорь</a:t>
                      </a:r>
                      <a:r>
                        <a:rPr lang="ru-RU" sz="3200" baseline="0" dirty="0" smtClean="0"/>
                        <a:t> Геннадьевич</a:t>
                      </a:r>
                      <a:endParaRPr lang="ru-RU" sz="3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3200" dirty="0" smtClean="0"/>
                        <a:t>Заместитель</a:t>
                      </a:r>
                      <a:r>
                        <a:rPr lang="ru-RU" sz="3200" baseline="0" dirty="0" smtClean="0"/>
                        <a:t> начальника Департамента</a:t>
                      </a:r>
                      <a:endParaRPr lang="ru-RU" sz="3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00158">
                <a:tc>
                  <a:txBody>
                    <a:bodyPr/>
                    <a:lstStyle/>
                    <a:p>
                      <a:r>
                        <a:rPr lang="ru-RU" sz="3200" dirty="0" smtClean="0"/>
                        <a:t>Соколова Галина Юрьевна</a:t>
                      </a:r>
                      <a:endParaRPr lang="ru-RU" sz="3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3200" dirty="0" smtClean="0"/>
                        <a:t>Главный специалист-эксперт отдела ПБ</a:t>
                      </a:r>
                      <a:endParaRPr lang="ru-RU" sz="3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00158">
                <a:tc>
                  <a:txBody>
                    <a:bodyPr/>
                    <a:lstStyle/>
                    <a:p>
                      <a:r>
                        <a:rPr lang="ru-RU" sz="3200" dirty="0" smtClean="0"/>
                        <a:t>Соснина</a:t>
                      </a:r>
                      <a:r>
                        <a:rPr lang="ru-RU" sz="3200" baseline="0" dirty="0" smtClean="0"/>
                        <a:t> Наталья Вячеславовна</a:t>
                      </a:r>
                      <a:endParaRPr lang="ru-RU" sz="3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3200" dirty="0" smtClean="0"/>
                        <a:t>Консультант отдела</a:t>
                      </a:r>
                      <a:r>
                        <a:rPr lang="ru-RU" sz="3200" baseline="0" dirty="0" smtClean="0"/>
                        <a:t> ПБ</a:t>
                      </a:r>
                      <a:endParaRPr lang="ru-RU" sz="3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00158">
                <a:tc>
                  <a:txBody>
                    <a:bodyPr/>
                    <a:lstStyle/>
                    <a:p>
                      <a:r>
                        <a:rPr lang="ru-RU" sz="3200" dirty="0" smtClean="0"/>
                        <a:t>Ульянова Лариса Владимировна</a:t>
                      </a:r>
                      <a:endParaRPr lang="ru-RU" sz="3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3200" dirty="0" smtClean="0"/>
                        <a:t>Заместитель начальника отдела по гражданской обороне</a:t>
                      </a:r>
                      <a:endParaRPr lang="ru-RU" sz="3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1007532" y="1157263"/>
            <a:ext cx="15170733" cy="1214445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Паспорт проекта</a:t>
            </a:r>
            <a:endParaRPr lang="ru-RU" dirty="0"/>
          </a:p>
        </p:txBody>
      </p:sp>
      <p:graphicFrame>
        <p:nvGraphicFramePr>
          <p:cNvPr id="26626" name="Object 2"/>
          <p:cNvGraphicFramePr>
            <a:graphicFrameLocks noChangeAspect="1"/>
          </p:cNvGraphicFramePr>
          <p:nvPr/>
        </p:nvGraphicFramePr>
        <p:xfrm>
          <a:off x="533345" y="2300270"/>
          <a:ext cx="16002112" cy="69294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Acrobat Document" r:id="rId3" imgW="8124680" imgH="5819768" progId="AcroExch.Document.DC">
                  <p:embed/>
                </p:oleObj>
              </mc:Choice>
              <mc:Fallback>
                <p:oleObj name="Acrobat Document" r:id="rId3" imgW="8124680" imgH="5819768" progId="AcroExch.Document.DC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3345" y="2300270"/>
                        <a:ext cx="16002112" cy="69294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1007532" y="1300139"/>
            <a:ext cx="15027857" cy="1214445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Текущая карта проекта</a:t>
            </a:r>
            <a:endParaRPr lang="ru-RU" dirty="0"/>
          </a:p>
        </p:txBody>
      </p:sp>
      <p:pic>
        <p:nvPicPr>
          <p:cNvPr id="68627" name="Picture 19" descr="C:\Users\admin\Desktop\тек карта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90534" y="2443146"/>
            <a:ext cx="15573483" cy="642942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1007532" y="1157263"/>
            <a:ext cx="15242171" cy="1357321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Идеальная карта процесса</a:t>
            </a:r>
            <a:endParaRPr lang="ru-RU" dirty="0"/>
          </a:p>
        </p:txBody>
      </p:sp>
      <p:pic>
        <p:nvPicPr>
          <p:cNvPr id="67588" name="Picture 4" descr="C:\Users\admin\Desktop\идеал карта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61972" y="2371708"/>
            <a:ext cx="15287732" cy="664373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1007532" y="1371577"/>
            <a:ext cx="15242171" cy="857255"/>
          </a:xfrm>
        </p:spPr>
        <p:txBody>
          <a:bodyPr>
            <a:normAutofit fontScale="70000" lnSpcReduction="20000"/>
          </a:bodyPr>
          <a:lstStyle/>
          <a:p>
            <a:pPr algn="ctr"/>
            <a:r>
              <a:rPr lang="ru-RU" dirty="0" smtClean="0"/>
              <a:t>План мероприятий по реализации проекта 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819096" y="2228832"/>
          <a:ext cx="15216293" cy="7177982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1139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184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60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002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717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8581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600" b="1" dirty="0"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  <a:endParaRPr lang="ru-RU" sz="26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600" b="1" dirty="0">
                          <a:latin typeface="Times New Roman" pitchFamily="18" charset="0"/>
                          <a:cs typeface="Times New Roman" pitchFamily="18" charset="0"/>
                        </a:rPr>
                        <a:t>Предлагаемое решение</a:t>
                      </a:r>
                      <a:endParaRPr lang="ru-RU" sz="26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600" b="1" dirty="0">
                          <a:latin typeface="Times New Roman" pitchFamily="18" charset="0"/>
                          <a:cs typeface="Times New Roman" pitchFamily="18" charset="0"/>
                        </a:rPr>
                        <a:t>Ответственные </a:t>
                      </a:r>
                      <a:endParaRPr lang="ru-RU" sz="26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600" b="1" dirty="0">
                          <a:latin typeface="Times New Roman" pitchFamily="18" charset="0"/>
                          <a:cs typeface="Times New Roman" pitchFamily="18" charset="0"/>
                        </a:rPr>
                        <a:t>Срок</a:t>
                      </a:r>
                      <a:endParaRPr lang="ru-RU" sz="26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600" b="1" dirty="0">
                          <a:latin typeface="Times New Roman" pitchFamily="18" charset="0"/>
                          <a:cs typeface="Times New Roman" pitchFamily="18" charset="0"/>
                        </a:rPr>
                        <a:t>Исполнение</a:t>
                      </a:r>
                      <a:endParaRPr lang="ru-RU" sz="26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540" marR="2540" marT="254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289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26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Провести совещание </a:t>
                      </a:r>
                    </a:p>
                  </a:txBody>
                  <a:tcPr marL="5080" marR="5080" marT="508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Петров И.Г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Соколова Г.Ю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Соснина Н.В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Ульянова Л.В.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15.04.2023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26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540" marR="2540" marT="254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71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26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Разработать постановление Правительства Забайкальского края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Соколова Г.Ю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Соснина Н.В.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30.05.2023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26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540" marR="2540" marT="254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7304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26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Довести постановление до заинтересованных лиц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Соколова Г.Ю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Соснина Н.В.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15.05.2023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2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540" marR="2540" marT="254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7304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ru-RU" sz="26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Мониторинг достигнутых результатов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Петров И.Г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Ульянова Л.В.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24.05-21.07.2023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2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540" marR="2540" marT="254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289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ru-RU" sz="26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Промежуточное совещание и представление результатов проекта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Петров И.Г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Соколова Г.Ю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Соснина Н.В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Ульянова Л.В.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600" dirty="0">
                          <a:latin typeface="Times New Roman" pitchFamily="18" charset="0"/>
                          <a:cs typeface="Times New Roman" pitchFamily="18" charset="0"/>
                        </a:rPr>
                        <a:t>15.09.2023</a:t>
                      </a:r>
                    </a:p>
                  </a:txBody>
                  <a:tcPr marL="2540" marR="2540" marT="254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2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540" marR="2540" marT="2540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469504" y="1128192"/>
            <a:ext cx="9289032" cy="2592288"/>
          </a:xfrm>
        </p:spPr>
        <p:txBody>
          <a:bodyPr>
            <a:normAutofit/>
          </a:bodyPr>
          <a:lstStyle/>
          <a:p>
            <a:pPr marL="0" algn="ctr"/>
            <a:r>
              <a:rPr lang="ru-RU" sz="4800" dirty="0"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044465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ssKmaolleEHkHnNnh96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jpeg"/></Relationships>
</file>

<file path=ppt/theme/theme1.xml><?xml version="1.0" encoding="utf-8"?>
<a:theme xmlns:a="http://schemas.openxmlformats.org/drawingml/2006/main" name="Office Theme">
  <a:themeElements>
    <a:clrScheme name="Теплый синий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Тема 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Тема 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Другая 3">
        <a:dk1>
          <a:sysClr val="windowText" lastClr="000000"/>
        </a:dk1>
        <a:lt1>
          <a:sysClr val="window" lastClr="FFFFFF"/>
        </a:lt1>
        <a:dk2>
          <a:srgbClr val="44546A"/>
        </a:dk2>
        <a:lt2>
          <a:srgbClr val="E7E6E6"/>
        </a:lt2>
        <a:accent1>
          <a:srgbClr val="5B9BD5"/>
        </a:accent1>
        <a:accent2>
          <a:srgbClr val="BC4444"/>
        </a:accent2>
        <a:accent3>
          <a:srgbClr val="A5A5A5"/>
        </a:accent3>
        <a:accent4>
          <a:srgbClr val="E58179"/>
        </a:accent4>
        <a:accent5>
          <a:srgbClr val="4472C4"/>
        </a:accent5>
        <a:accent6>
          <a:srgbClr val="70AD47"/>
        </a:accent6>
        <a:hlink>
          <a:srgbClr val="0563C1"/>
        </a:hlink>
        <a:folHlink>
          <a:srgbClr val="954F72"/>
        </a:folHlink>
      </a:clrScheme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Sho-DIAG">
      <a:dk1>
        <a:sysClr val="windowText" lastClr="000000"/>
      </a:dk1>
      <a:lt1>
        <a:sysClr val="window" lastClr="FFFFFF"/>
      </a:lt1>
      <a:dk2>
        <a:srgbClr val="292D38"/>
      </a:dk2>
      <a:lt2>
        <a:srgbClr val="F1F2F2"/>
      </a:lt2>
      <a:accent1>
        <a:srgbClr val="414651"/>
      </a:accent1>
      <a:accent2>
        <a:srgbClr val="DC365B"/>
      </a:accent2>
      <a:accent3>
        <a:srgbClr val="CBCBCA"/>
      </a:accent3>
      <a:accent4>
        <a:srgbClr val="FFC000"/>
      </a:accent4>
      <a:accent5>
        <a:srgbClr val="DC365B"/>
      </a:accent5>
      <a:accent6>
        <a:srgbClr val="DC365B"/>
      </a:accent6>
      <a:hlink>
        <a:srgbClr val="DC365B"/>
      </a:hlink>
      <a:folHlink>
        <a:srgbClr val="DC365B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Поток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Поток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Другая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BC4444"/>
      </a:accent2>
      <a:accent3>
        <a:srgbClr val="A5A5A5"/>
      </a:accent3>
      <a:accent4>
        <a:srgbClr val="E58179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Тема 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232</TotalTime>
  <Words>174</Words>
  <Application>Microsoft Office PowerPoint</Application>
  <DocSecurity>0</DocSecurity>
  <PresentationFormat>Произвольный</PresentationFormat>
  <Paragraphs>60</Paragraphs>
  <Slides>9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9</vt:i4>
      </vt:variant>
    </vt:vector>
  </HeadingPairs>
  <TitlesOfParts>
    <vt:vector size="26" baseType="lpstr">
      <vt:lpstr>Arial</vt:lpstr>
      <vt:lpstr>Arial Nova</vt:lpstr>
      <vt:lpstr>Calibri</vt:lpstr>
      <vt:lpstr>Calibri Light</vt:lpstr>
      <vt:lpstr>Constantia</vt:lpstr>
      <vt:lpstr>Helvetica</vt:lpstr>
      <vt:lpstr>Helvetica Neue</vt:lpstr>
      <vt:lpstr>Open Sans</vt:lpstr>
      <vt:lpstr>Rosatom Light</vt:lpstr>
      <vt:lpstr>Times New Roman</vt:lpstr>
      <vt:lpstr>Wingdings 2</vt:lpstr>
      <vt:lpstr>Office Theme</vt:lpstr>
      <vt:lpstr>Custom Design</vt:lpstr>
      <vt:lpstr>Поток</vt:lpstr>
      <vt:lpstr>oleObj</vt:lpstr>
      <vt:lpstr>think-cell Slide</vt:lpstr>
      <vt:lpstr>Acrobat Document</vt:lpstr>
      <vt:lpstr>Презентация PowerPoint</vt:lpstr>
      <vt:lpstr>Проведение заседаний комиссии по предупреждению и ликвидации  чрезвычайных ситуаций и обеспечению пожарной безопасности Забайкальского края путем открытого и заочного голосова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перативное</dc:title>
  <dc:subject>Оперативное 2022</dc:subject>
  <dc:creator>Ковалев Д</dc:creator>
  <cp:lastModifiedBy>User</cp:lastModifiedBy>
  <cp:revision>2798</cp:revision>
  <cp:lastPrinted>2023-07-31T01:37:35Z</cp:lastPrinted>
  <dcterms:created xsi:type="dcterms:W3CDTF">2019-03-30T07:42:18Z</dcterms:created>
  <dcterms:modified xsi:type="dcterms:W3CDTF">2023-09-08T04:39:30Z</dcterms:modified>
  <dc:identifier/>
  <dc:language/>
  <cp:version/>
</cp:coreProperties>
</file>